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5.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6.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notesSlides/notesSlide2.xml" ContentType="application/vnd.openxmlformats-officedocument.presentationml.notesSlide+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730" r:id="rId6"/>
    <p:sldMasterId id="2147483783" r:id="rId7"/>
    <p:sldMasterId id="2147483789" r:id="rId8"/>
    <p:sldMasterId id="2147483813" r:id="rId9"/>
    <p:sldMasterId id="2147483872" r:id="rId10"/>
    <p:sldMasterId id="2147483908" r:id="rId11"/>
    <p:sldMasterId id="2147483660" r:id="rId12"/>
  </p:sldMasterIdLst>
  <p:notesMasterIdLst>
    <p:notesMasterId r:id="rId49"/>
  </p:notesMasterIdLst>
  <p:handoutMasterIdLst>
    <p:handoutMasterId r:id="rId50"/>
  </p:handoutMasterIdLst>
  <p:sldIdLst>
    <p:sldId id="258" r:id="rId13"/>
    <p:sldId id="256" r:id="rId14"/>
    <p:sldId id="2147480391" r:id="rId15"/>
    <p:sldId id="2147480381" r:id="rId16"/>
    <p:sldId id="2147480392" r:id="rId17"/>
    <p:sldId id="2147480393" r:id="rId18"/>
    <p:sldId id="2147480394" r:id="rId19"/>
    <p:sldId id="2147480395" r:id="rId20"/>
    <p:sldId id="2147480357" r:id="rId21"/>
    <p:sldId id="2147480397" r:id="rId22"/>
    <p:sldId id="2147480398" r:id="rId23"/>
    <p:sldId id="2147480399" r:id="rId24"/>
    <p:sldId id="2147480387" r:id="rId25"/>
    <p:sldId id="2147480383" r:id="rId26"/>
    <p:sldId id="2147480388" r:id="rId27"/>
    <p:sldId id="2147480389" r:id="rId28"/>
    <p:sldId id="2147480358" r:id="rId29"/>
    <p:sldId id="2147480377" r:id="rId30"/>
    <p:sldId id="2147480378" r:id="rId31"/>
    <p:sldId id="2147480384" r:id="rId32"/>
    <p:sldId id="2147480379" r:id="rId33"/>
    <p:sldId id="2147480371" r:id="rId34"/>
    <p:sldId id="277" r:id="rId35"/>
    <p:sldId id="276" r:id="rId36"/>
    <p:sldId id="271" r:id="rId37"/>
    <p:sldId id="2147480376" r:id="rId38"/>
    <p:sldId id="2147480360" r:id="rId39"/>
    <p:sldId id="2147480374" r:id="rId40"/>
    <p:sldId id="2147480365" r:id="rId41"/>
    <p:sldId id="2147480363" r:id="rId42"/>
    <p:sldId id="2147480372" r:id="rId43"/>
    <p:sldId id="2147480375" r:id="rId44"/>
    <p:sldId id="2147480369" r:id="rId45"/>
    <p:sldId id="2147480364" r:id="rId46"/>
    <p:sldId id="2147480370" r:id="rId47"/>
    <p:sldId id="2147480367" r:id="rId48"/>
  </p:sldIdLst>
  <p:sldSz cx="12192000" cy="6858000"/>
  <p:notesSz cx="6858000" cy="9144000"/>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7" pos="3840" userDrawn="1">
          <p15:clr>
            <a:srgbClr val="A4A3A4"/>
          </p15:clr>
        </p15:guide>
        <p15:guide id="38" orient="horz"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M" userId="Author" providerId="AD"/>
  <p188:author id="{BCA00F38-992F-DD5C-01E4-E02A2607A730}" name="Henry Mierzwa" initials="HM" userId="S::Henry.Mierzwa@nielseniq.com::97f609c2-d774-4b8a-835f-4972e08c298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8" name="Aut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8D1E"/>
    <a:srgbClr val="FFB500"/>
    <a:srgbClr val="2C6DF6"/>
    <a:srgbClr val="C13018"/>
    <a:srgbClr val="EF5F17"/>
    <a:srgbClr val="31D1FF"/>
    <a:srgbClr val="4CC1EF"/>
    <a:srgbClr val="BFBFBF"/>
    <a:srgbClr val="FFFFFF"/>
    <a:srgbClr val="DA2C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A28EE0-B152-DA9B-8140-E923FF9CE774}" v="231" dt="2024-10-21T08:30:32.969"/>
    <p1510:client id="{927F5701-30AF-6D88-74AB-E60F2025CD21}" v="290" dt="2024-10-21T06:18:20.396"/>
    <p1510:client id="{A5352E85-A282-38F6-EF8E-3BE15F862D31}" v="68" dt="2024-10-20T16:50:54.520"/>
    <p1510:client id="{E316BA54-6B60-1BF4-8F16-512DC68A7C66}" v="528" dt="2024-10-21T06:09:19.641"/>
    <p1510:client id="{E40DC47B-6CC9-4D14-ACBE-541BE98304DF}" v="175" dt="2024-10-21T08:10:14.377"/>
  </p1510:revLst>
</p1510:revInfo>
</file>

<file path=ppt/tableStyles.xml><?xml version="1.0" encoding="utf-8"?>
<a:tblStyleLst xmlns:a="http://schemas.openxmlformats.org/drawingml/2006/main" def="{C115FB49-3FBE-41CF-8DFC-A938FE5134F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115FB49-3FBE-41CF-8DFC-A938FE5134F0}" styleName="GfK">
    <a:wholeTbl>
      <a:tcTxStyle>
        <a:fontRef idx="minor">
          <a:scrgbClr r="0" g="0" b="0"/>
        </a:fontRef>
        <a:schemeClr val="tx1"/>
      </a:tcTxStyle>
      <a:tcStyle>
        <a:tcBdr>
          <a:left>
            <a:ln>
              <a:noFill/>
            </a:ln>
          </a:left>
          <a:right>
            <a:ln>
              <a:noFill/>
            </a:ln>
          </a:right>
          <a:top>
            <a:ln>
              <a:noFill/>
            </a:ln>
          </a:top>
          <a:bottom>
            <a:ln>
              <a:noFill/>
            </a:ln>
          </a:bottom>
          <a:insideH>
            <a:ln w="6350" cmpd="sng">
              <a:solidFill>
                <a:schemeClr val="tx1"/>
              </a:solid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5" d="100"/>
          <a:sy n="65" d="100"/>
        </p:scale>
        <p:origin x="700" y="60"/>
      </p:cViewPr>
      <p:guideLst>
        <p:guide pos="3840"/>
        <p:guide orient="horz"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6.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presProps" Target="presProps.xml"/><Relationship Id="rId58" Type="http://schemas.microsoft.com/office/2018/10/relationships/authors" Target="authors.xml"/><Relationship Id="rId5" Type="http://schemas.openxmlformats.org/officeDocument/2006/relationships/customXml" Target="../customXml/item5.xml"/><Relationship Id="rId19" Type="http://schemas.openxmlformats.org/officeDocument/2006/relationships/slide" Target="slides/slide7.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tableStyles" Target="tableStyles.xml"/><Relationship Id="rId8" Type="http://schemas.openxmlformats.org/officeDocument/2006/relationships/slideMaster" Target="slideMasters/slideMaster3.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notesMaster" Target="notesMasters/notesMaster1.xml"/><Relationship Id="rId57" Type="http://schemas.microsoft.com/office/2015/10/relationships/revisionInfo" Target="revisionInfo.xml"/><Relationship Id="rId10" Type="http://schemas.openxmlformats.org/officeDocument/2006/relationships/slideMaster" Target="slideMasters/slideMaster5.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76950A9-8A77-4B05-9745-E68D657690EC}" type="doc">
      <dgm:prSet loTypeId="urn:microsoft.com/office/officeart/2005/8/layout/chevron2" loCatId="process" qsTypeId="urn:microsoft.com/office/officeart/2005/8/quickstyle/3d4" qsCatId="3D" csTypeId="urn:microsoft.com/office/officeart/2005/8/colors/colorful3" csCatId="colorful" phldr="1"/>
      <dgm:spPr/>
      <dgm:t>
        <a:bodyPr/>
        <a:lstStyle/>
        <a:p>
          <a:endParaRPr lang="en-US"/>
        </a:p>
      </dgm:t>
    </dgm:pt>
    <dgm:pt modelId="{5F54AAF5-2529-45DA-B172-A19AE321F304}">
      <dgm:prSet phldrT="[Text]" phldr="0"/>
      <dgm:spPr/>
      <dgm:t>
        <a:bodyPr/>
        <a:lstStyle/>
        <a:p>
          <a:pPr rtl="0"/>
          <a:r>
            <a:rPr lang="en-US">
              <a:latin typeface="Arial" panose="020B0604020202020204"/>
            </a:rPr>
            <a:t>Datadog Limitation</a:t>
          </a:r>
          <a:endParaRPr lang="en-US"/>
        </a:p>
      </dgm:t>
    </dgm:pt>
    <dgm:pt modelId="{6AB2D274-5319-4F38-B978-E70D3B581468}" type="parTrans" cxnId="{0E7EF2E1-211A-46B8-8F3F-A65E1F1BEB48}">
      <dgm:prSet/>
      <dgm:spPr/>
      <dgm:t>
        <a:bodyPr/>
        <a:lstStyle/>
        <a:p>
          <a:endParaRPr lang="en-US"/>
        </a:p>
      </dgm:t>
    </dgm:pt>
    <dgm:pt modelId="{0F36DB0A-964E-4985-95FB-5BC18FCD7BF2}" type="sibTrans" cxnId="{0E7EF2E1-211A-46B8-8F3F-A65E1F1BEB48}">
      <dgm:prSet/>
      <dgm:spPr/>
      <dgm:t>
        <a:bodyPr/>
        <a:lstStyle/>
        <a:p>
          <a:endParaRPr lang="en-US"/>
        </a:p>
      </dgm:t>
    </dgm:pt>
    <dgm:pt modelId="{C46D5AAF-7327-461D-AA94-24799B32CCDB}">
      <dgm:prSet phldrT="[Text]" phldr="0"/>
      <dgm:spPr/>
      <dgm:t>
        <a:bodyPr/>
        <a:lstStyle/>
        <a:p>
          <a:pPr rtl="0"/>
          <a:r>
            <a:rPr lang="en-US" b="1">
              <a:latin typeface="Verdana Pro"/>
            </a:rPr>
            <a:t>Root cause analysis</a:t>
          </a:r>
          <a:r>
            <a:rPr lang="en-US">
              <a:latin typeface="Verdana Pro"/>
            </a:rPr>
            <a:t> is manual</a:t>
          </a:r>
        </a:p>
      </dgm:t>
    </dgm:pt>
    <dgm:pt modelId="{C42F0632-D76D-4261-91EB-559EE5A1CD5B}" type="parTrans" cxnId="{765F5548-37D8-49D5-88F5-68B0E4881E86}">
      <dgm:prSet/>
      <dgm:spPr/>
      <dgm:t>
        <a:bodyPr/>
        <a:lstStyle/>
        <a:p>
          <a:endParaRPr lang="en-US"/>
        </a:p>
      </dgm:t>
    </dgm:pt>
    <dgm:pt modelId="{EAB52E7A-0B48-4AB5-A786-FD8F5D22B2F7}" type="sibTrans" cxnId="{765F5548-37D8-49D5-88F5-68B0E4881E86}">
      <dgm:prSet/>
      <dgm:spPr/>
      <dgm:t>
        <a:bodyPr/>
        <a:lstStyle/>
        <a:p>
          <a:endParaRPr lang="en-US"/>
        </a:p>
      </dgm:t>
    </dgm:pt>
    <dgm:pt modelId="{D3C43B36-90C5-436A-A326-8EA37F2720F0}">
      <dgm:prSet phldrT="[Text]" phldr="0"/>
      <dgm:spPr/>
      <dgm:t>
        <a:bodyPr/>
        <a:lstStyle/>
        <a:p>
          <a:pPr rtl="0"/>
          <a:r>
            <a:rPr lang="en-US">
              <a:latin typeface="Verdana Pro"/>
            </a:rPr>
            <a:t>slows down identifying the cause of system issues.</a:t>
          </a:r>
        </a:p>
      </dgm:t>
    </dgm:pt>
    <dgm:pt modelId="{C195524D-B256-4A26-94B7-AE116C2D50F0}" type="parTrans" cxnId="{0489E79B-384F-492B-A4A1-690CB2CECFDE}">
      <dgm:prSet/>
      <dgm:spPr/>
      <dgm:t>
        <a:bodyPr/>
        <a:lstStyle/>
        <a:p>
          <a:endParaRPr lang="en-US"/>
        </a:p>
      </dgm:t>
    </dgm:pt>
    <dgm:pt modelId="{00295111-DCD4-49E0-A5A7-61F4A83455F9}" type="sibTrans" cxnId="{0489E79B-384F-492B-A4A1-690CB2CECFDE}">
      <dgm:prSet/>
      <dgm:spPr/>
      <dgm:t>
        <a:bodyPr/>
        <a:lstStyle/>
        <a:p>
          <a:endParaRPr lang="en-US"/>
        </a:p>
      </dgm:t>
    </dgm:pt>
    <dgm:pt modelId="{61781DFB-85F9-47BB-ABB6-EBD67CC7545F}">
      <dgm:prSet phldrT="[Text]" phldr="0"/>
      <dgm:spPr/>
      <dgm:t>
        <a:bodyPr/>
        <a:lstStyle/>
        <a:p>
          <a:r>
            <a:rPr lang="en-US">
              <a:latin typeface="Arial" panose="020B0604020202020204"/>
            </a:rPr>
            <a:t>Solution</a:t>
          </a:r>
          <a:endParaRPr lang="en-US"/>
        </a:p>
      </dgm:t>
    </dgm:pt>
    <dgm:pt modelId="{AECB6151-E9DE-4B0F-BC6B-E5CD088600D1}" type="parTrans" cxnId="{3B3E2FD3-A942-43BA-8C0E-26E6ED275EE3}">
      <dgm:prSet/>
      <dgm:spPr/>
      <dgm:t>
        <a:bodyPr/>
        <a:lstStyle/>
        <a:p>
          <a:endParaRPr lang="en-US"/>
        </a:p>
      </dgm:t>
    </dgm:pt>
    <dgm:pt modelId="{46C7CEC8-48AA-4359-AEB7-90E5E90B504E}" type="sibTrans" cxnId="{3B3E2FD3-A942-43BA-8C0E-26E6ED275EE3}">
      <dgm:prSet/>
      <dgm:spPr/>
      <dgm:t>
        <a:bodyPr/>
        <a:lstStyle/>
        <a:p>
          <a:endParaRPr lang="en-US"/>
        </a:p>
      </dgm:t>
    </dgm:pt>
    <dgm:pt modelId="{669EBD53-6541-4AAB-B832-62AB614E7C9B}">
      <dgm:prSet phldrT="[Text]" phldr="0"/>
      <dgm:spPr/>
      <dgm:t>
        <a:bodyPr/>
        <a:lstStyle/>
        <a:p>
          <a:pPr algn="l" rtl="0"/>
          <a:r>
            <a:rPr lang="en-US">
              <a:latin typeface="Verdana Pro"/>
            </a:rPr>
            <a:t>Implement Clustering Algorithm </a:t>
          </a:r>
        </a:p>
      </dgm:t>
    </dgm:pt>
    <dgm:pt modelId="{5AF96B01-730E-4C8F-AE05-EA418F661D9D}" type="parTrans" cxnId="{451CBDCE-2DD9-4634-8F7B-8C237F79BEF3}">
      <dgm:prSet/>
      <dgm:spPr/>
      <dgm:t>
        <a:bodyPr/>
        <a:lstStyle/>
        <a:p>
          <a:endParaRPr lang="en-US"/>
        </a:p>
      </dgm:t>
    </dgm:pt>
    <dgm:pt modelId="{F15585C6-36B8-4D49-AA9C-63CD3E2C9A4E}" type="sibTrans" cxnId="{451CBDCE-2DD9-4634-8F7B-8C237F79BEF3}">
      <dgm:prSet/>
      <dgm:spPr/>
      <dgm:t>
        <a:bodyPr/>
        <a:lstStyle/>
        <a:p>
          <a:endParaRPr lang="en-US"/>
        </a:p>
      </dgm:t>
    </dgm:pt>
    <dgm:pt modelId="{68C2C2F3-0996-4CCF-A5AA-4951477340D4}">
      <dgm:prSet phldrT="[Text]" phldr="0"/>
      <dgm:spPr/>
      <dgm:t>
        <a:bodyPr/>
        <a:lstStyle/>
        <a:p>
          <a:pPr rtl="0"/>
          <a:r>
            <a:rPr lang="en-US">
              <a:latin typeface="Verdana Pro"/>
            </a:rPr>
            <a:t>Analyze the specific content of log messages and cluster logs based on their context, enabling proactive issue identification.</a:t>
          </a:r>
        </a:p>
      </dgm:t>
    </dgm:pt>
    <dgm:pt modelId="{2853C901-0003-452B-A693-4E61E8DEDA6A}" type="parTrans" cxnId="{33267CBF-9166-4146-B8AD-FA91479AE326}">
      <dgm:prSet/>
      <dgm:spPr/>
      <dgm:t>
        <a:bodyPr/>
        <a:lstStyle/>
        <a:p>
          <a:endParaRPr lang="en-US"/>
        </a:p>
      </dgm:t>
    </dgm:pt>
    <dgm:pt modelId="{AFB5E7BF-27E8-462E-8D84-4956AC32B908}" type="sibTrans" cxnId="{33267CBF-9166-4146-B8AD-FA91479AE326}">
      <dgm:prSet/>
      <dgm:spPr/>
      <dgm:t>
        <a:bodyPr/>
        <a:lstStyle/>
        <a:p>
          <a:endParaRPr lang="en-US"/>
        </a:p>
      </dgm:t>
    </dgm:pt>
    <dgm:pt modelId="{DF1EAEF9-051C-4F4F-AF5B-25D66C6F42B1}">
      <dgm:prSet phldrT="[Text]" phldr="0"/>
      <dgm:spPr/>
      <dgm:t>
        <a:bodyPr/>
        <a:lstStyle/>
        <a:p>
          <a:pPr rtl="0"/>
          <a:r>
            <a:rPr lang="en-US">
              <a:latin typeface="Arial" panose="020B0604020202020204"/>
            </a:rPr>
            <a:t> Benefits</a:t>
          </a:r>
          <a:endParaRPr lang="en-US"/>
        </a:p>
      </dgm:t>
    </dgm:pt>
    <dgm:pt modelId="{9F62B886-1036-460B-8A51-1A0D4BEE3003}" type="parTrans" cxnId="{D54CE5A4-C685-4978-9B43-795A28CBF9ED}">
      <dgm:prSet/>
      <dgm:spPr/>
      <dgm:t>
        <a:bodyPr/>
        <a:lstStyle/>
        <a:p>
          <a:endParaRPr lang="en-US"/>
        </a:p>
      </dgm:t>
    </dgm:pt>
    <dgm:pt modelId="{D1A6BB31-B41F-4962-A36C-B6E8B6F25204}" type="sibTrans" cxnId="{D54CE5A4-C685-4978-9B43-795A28CBF9ED}">
      <dgm:prSet/>
      <dgm:spPr/>
      <dgm:t>
        <a:bodyPr/>
        <a:lstStyle/>
        <a:p>
          <a:endParaRPr lang="en-US"/>
        </a:p>
      </dgm:t>
    </dgm:pt>
    <dgm:pt modelId="{577A6327-0B8F-4F65-A150-07101F680218}">
      <dgm:prSet phldrT="[Text]" phldr="0"/>
      <dgm:spPr/>
      <dgm:t>
        <a:bodyPr/>
        <a:lstStyle/>
        <a:p>
          <a:pPr rtl="0"/>
          <a:r>
            <a:rPr lang="en-US">
              <a:latin typeface="Verdana Pro"/>
            </a:rPr>
            <a:t>Accelerates root cause identification by clustering related logs automatically </a:t>
          </a:r>
        </a:p>
      </dgm:t>
    </dgm:pt>
    <dgm:pt modelId="{F8AAA2ED-5400-40E4-98F6-556A07228584}" type="parTrans" cxnId="{0FE9E0D4-BEB4-497D-AB91-EF8E64D035D1}">
      <dgm:prSet/>
      <dgm:spPr/>
      <dgm:t>
        <a:bodyPr/>
        <a:lstStyle/>
        <a:p>
          <a:endParaRPr lang="en-US"/>
        </a:p>
      </dgm:t>
    </dgm:pt>
    <dgm:pt modelId="{D5EEF8B6-6440-4F78-8ADB-6FB325FC4D0B}" type="sibTrans" cxnId="{0FE9E0D4-BEB4-497D-AB91-EF8E64D035D1}">
      <dgm:prSet/>
      <dgm:spPr/>
      <dgm:t>
        <a:bodyPr/>
        <a:lstStyle/>
        <a:p>
          <a:endParaRPr lang="en-US"/>
        </a:p>
      </dgm:t>
    </dgm:pt>
    <dgm:pt modelId="{9CED6952-ED7B-41AB-8433-4C483096D51C}">
      <dgm:prSet phldr="0"/>
      <dgm:spPr/>
      <dgm:t>
        <a:bodyPr/>
        <a:lstStyle/>
        <a:p>
          <a:pPr rtl="0"/>
          <a:r>
            <a:rPr lang="en-US" b="0">
              <a:latin typeface="Verdana Pro"/>
            </a:rPr>
            <a:t>Azure Cognitive Services, Azure ML &amp; Clustering Algorithms</a:t>
          </a:r>
        </a:p>
      </dgm:t>
    </dgm:pt>
    <dgm:pt modelId="{CC1A52A0-735D-4DE1-82B3-06BFEB1DB31C}" type="parTrans" cxnId="{B2D83F56-50DD-4AFC-BB77-F266B5C3115F}">
      <dgm:prSet/>
      <dgm:spPr/>
      <dgm:t>
        <a:bodyPr/>
        <a:lstStyle/>
        <a:p>
          <a:endParaRPr lang="en-US"/>
        </a:p>
      </dgm:t>
    </dgm:pt>
    <dgm:pt modelId="{C33F2FF2-016C-475B-AA1F-62E0A9B58DC8}" type="sibTrans" cxnId="{B2D83F56-50DD-4AFC-BB77-F266B5C3115F}">
      <dgm:prSet/>
      <dgm:spPr/>
      <dgm:t>
        <a:bodyPr/>
        <a:lstStyle/>
        <a:p>
          <a:endParaRPr lang="en-US"/>
        </a:p>
      </dgm:t>
    </dgm:pt>
    <dgm:pt modelId="{C3398BBA-1515-460D-BCD7-83248AAD75C9}">
      <dgm:prSet phldr="0"/>
      <dgm:spPr/>
      <dgm:t>
        <a:bodyPr/>
        <a:lstStyle/>
        <a:p>
          <a:pPr rtl="0"/>
          <a:r>
            <a:rPr lang="en-US">
              <a:latin typeface="Verdana Pro"/>
            </a:rPr>
            <a:t>Reduces manual investigation efforts, improving response times </a:t>
          </a:r>
        </a:p>
      </dgm:t>
    </dgm:pt>
    <dgm:pt modelId="{7AECCB77-106B-4896-8358-656F2C369672}" type="parTrans" cxnId="{7307F7EC-3F66-4AC4-8F9D-289BAB732157}">
      <dgm:prSet/>
      <dgm:spPr/>
      <dgm:t>
        <a:bodyPr/>
        <a:lstStyle/>
        <a:p>
          <a:endParaRPr lang="en-US"/>
        </a:p>
      </dgm:t>
    </dgm:pt>
    <dgm:pt modelId="{E872636F-31BC-40D2-9518-23F9701AF2A7}" type="sibTrans" cxnId="{7307F7EC-3F66-4AC4-8F9D-289BAB732157}">
      <dgm:prSet/>
      <dgm:spPr/>
      <dgm:t>
        <a:bodyPr/>
        <a:lstStyle/>
        <a:p>
          <a:endParaRPr lang="en-US"/>
        </a:p>
      </dgm:t>
    </dgm:pt>
    <dgm:pt modelId="{40FA7427-8EF0-48D8-B378-244D9A369131}">
      <dgm:prSet phldr="0"/>
      <dgm:spPr/>
      <dgm:t>
        <a:bodyPr/>
        <a:lstStyle/>
        <a:p>
          <a:pPr rtl="0"/>
          <a:r>
            <a:rPr lang="en-US">
              <a:latin typeface="Arial" panose="020B0604020202020204"/>
            </a:rPr>
            <a:t>K Means Clustering</a:t>
          </a:r>
        </a:p>
      </dgm:t>
    </dgm:pt>
    <dgm:pt modelId="{C04C84D0-F75B-4197-AC9B-E16FD6969BE9}" type="parTrans" cxnId="{323BEB24-3C1B-4E2C-8CD8-DAF32672D559}">
      <dgm:prSet/>
      <dgm:spPr/>
      <dgm:t>
        <a:bodyPr/>
        <a:lstStyle/>
        <a:p>
          <a:endParaRPr lang="en-US"/>
        </a:p>
      </dgm:t>
    </dgm:pt>
    <dgm:pt modelId="{698CD191-32FC-4757-9C73-2BC4DCF2D0D6}" type="sibTrans" cxnId="{323BEB24-3C1B-4E2C-8CD8-DAF32672D559}">
      <dgm:prSet/>
      <dgm:spPr/>
      <dgm:t>
        <a:bodyPr/>
        <a:lstStyle/>
        <a:p>
          <a:endParaRPr lang="en-US"/>
        </a:p>
      </dgm:t>
    </dgm:pt>
    <dgm:pt modelId="{4B3BDDD4-20E0-4BCE-97F5-76A6D121D36C}">
      <dgm:prSet phldr="0"/>
      <dgm:spPr/>
      <dgm:t>
        <a:bodyPr/>
        <a:lstStyle/>
        <a:p>
          <a:pPr rtl="0"/>
          <a:r>
            <a:rPr lang="en-US">
              <a:latin typeface="Arial" panose="020B0604020202020204"/>
            </a:rPr>
            <a:t> </a:t>
          </a:r>
          <a:r>
            <a:rPr lang="en-US" b="0">
              <a:latin typeface="Verdana Pro"/>
            </a:rPr>
            <a:t>Automatic Clustering</a:t>
          </a:r>
          <a:r>
            <a:rPr lang="en-US">
              <a:latin typeface="Verdana Pro"/>
            </a:rPr>
            <a:t> by  K means Clustering to group logs based on their context.</a:t>
          </a:r>
        </a:p>
      </dgm:t>
    </dgm:pt>
    <dgm:pt modelId="{0EEA9A83-0C86-47BB-BB51-3B80F7D27C5B}" type="parTrans" cxnId="{99717DCE-82FB-4B70-A56A-2E0377C2BBE6}">
      <dgm:prSet/>
      <dgm:spPr/>
      <dgm:t>
        <a:bodyPr/>
        <a:lstStyle/>
        <a:p>
          <a:endParaRPr lang="en-US"/>
        </a:p>
      </dgm:t>
    </dgm:pt>
    <dgm:pt modelId="{5D5F7963-F72C-49D0-AC9E-C4BDF4B1F294}" type="sibTrans" cxnId="{99717DCE-82FB-4B70-A56A-2E0377C2BBE6}">
      <dgm:prSet/>
      <dgm:spPr/>
      <dgm:t>
        <a:bodyPr/>
        <a:lstStyle/>
        <a:p>
          <a:endParaRPr lang="en-US"/>
        </a:p>
      </dgm:t>
    </dgm:pt>
    <dgm:pt modelId="{F12AB6C9-BE6D-4340-ABF3-85255BC0192B}">
      <dgm:prSet phldr="0"/>
      <dgm:spPr/>
      <dgm:t>
        <a:bodyPr/>
        <a:lstStyle/>
        <a:p>
          <a:pPr rtl="0"/>
          <a:r>
            <a:rPr lang="en-US">
              <a:latin typeface="Verdana Pro"/>
            </a:rPr>
            <a:t>The number of clusters are determined by </a:t>
          </a:r>
          <a:r>
            <a:rPr lang="en-US" err="1">
              <a:latin typeface="Verdana Pro"/>
            </a:rPr>
            <a:t>silhouette_score</a:t>
          </a:r>
          <a:endParaRPr lang="en-US">
            <a:latin typeface="Verdana Pro"/>
          </a:endParaRPr>
        </a:p>
      </dgm:t>
    </dgm:pt>
    <dgm:pt modelId="{788004C5-99C3-4BD0-8CB7-4D49382EFC69}" type="parTrans" cxnId="{DC9B1DBC-37B6-4306-A4B1-D912D1F40BE4}">
      <dgm:prSet/>
      <dgm:spPr/>
      <dgm:t>
        <a:bodyPr/>
        <a:lstStyle/>
        <a:p>
          <a:endParaRPr lang="en-US"/>
        </a:p>
      </dgm:t>
    </dgm:pt>
    <dgm:pt modelId="{7132178D-75C7-4AA1-B4F5-BB1F3C3640EF}" type="sibTrans" cxnId="{DC9B1DBC-37B6-4306-A4B1-D912D1F40BE4}">
      <dgm:prSet/>
      <dgm:spPr/>
      <dgm:t>
        <a:bodyPr/>
        <a:lstStyle/>
        <a:p>
          <a:endParaRPr lang="en-US"/>
        </a:p>
      </dgm:t>
    </dgm:pt>
    <dgm:pt modelId="{FCC0B1A2-7C9D-4255-8E96-51835F8100FB}" type="pres">
      <dgm:prSet presAssocID="{476950A9-8A77-4B05-9745-E68D657690EC}" presName="linearFlow" presStyleCnt="0">
        <dgm:presLayoutVars>
          <dgm:dir/>
          <dgm:animLvl val="lvl"/>
          <dgm:resizeHandles val="exact"/>
        </dgm:presLayoutVars>
      </dgm:prSet>
      <dgm:spPr/>
    </dgm:pt>
    <dgm:pt modelId="{E94B6188-3ED9-4AB9-B548-C422C12A1115}" type="pres">
      <dgm:prSet presAssocID="{5F54AAF5-2529-45DA-B172-A19AE321F304}" presName="composite" presStyleCnt="0"/>
      <dgm:spPr/>
    </dgm:pt>
    <dgm:pt modelId="{4DD7229F-8124-49D4-AB41-287835075241}" type="pres">
      <dgm:prSet presAssocID="{5F54AAF5-2529-45DA-B172-A19AE321F304}" presName="parentText" presStyleLbl="alignNode1" presStyleIdx="0" presStyleCnt="4">
        <dgm:presLayoutVars>
          <dgm:chMax val="1"/>
          <dgm:bulletEnabled val="1"/>
        </dgm:presLayoutVars>
      </dgm:prSet>
      <dgm:spPr/>
    </dgm:pt>
    <dgm:pt modelId="{9FD2F3C5-AF27-4524-BC62-0457B36EF273}" type="pres">
      <dgm:prSet presAssocID="{5F54AAF5-2529-45DA-B172-A19AE321F304}" presName="descendantText" presStyleLbl="alignAcc1" presStyleIdx="0" presStyleCnt="4">
        <dgm:presLayoutVars>
          <dgm:bulletEnabled val="1"/>
        </dgm:presLayoutVars>
      </dgm:prSet>
      <dgm:spPr/>
    </dgm:pt>
    <dgm:pt modelId="{11B96B77-E21E-4C52-A634-584E3B525F88}" type="pres">
      <dgm:prSet presAssocID="{0F36DB0A-964E-4985-95FB-5BC18FCD7BF2}" presName="sp" presStyleCnt="0"/>
      <dgm:spPr/>
    </dgm:pt>
    <dgm:pt modelId="{096A82DF-D6E0-4937-8206-D8C995E7C6A9}" type="pres">
      <dgm:prSet presAssocID="{61781DFB-85F9-47BB-ABB6-EBD67CC7545F}" presName="composite" presStyleCnt="0"/>
      <dgm:spPr/>
    </dgm:pt>
    <dgm:pt modelId="{6876C323-97DD-45BE-8A57-C216227E87A0}" type="pres">
      <dgm:prSet presAssocID="{61781DFB-85F9-47BB-ABB6-EBD67CC7545F}" presName="parentText" presStyleLbl="alignNode1" presStyleIdx="1" presStyleCnt="4">
        <dgm:presLayoutVars>
          <dgm:chMax val="1"/>
          <dgm:bulletEnabled val="1"/>
        </dgm:presLayoutVars>
      </dgm:prSet>
      <dgm:spPr/>
    </dgm:pt>
    <dgm:pt modelId="{33BCF0A0-27B2-4F45-9EEF-C022BC40424E}" type="pres">
      <dgm:prSet presAssocID="{61781DFB-85F9-47BB-ABB6-EBD67CC7545F}" presName="descendantText" presStyleLbl="alignAcc1" presStyleIdx="1" presStyleCnt="4">
        <dgm:presLayoutVars>
          <dgm:bulletEnabled val="1"/>
        </dgm:presLayoutVars>
      </dgm:prSet>
      <dgm:spPr/>
    </dgm:pt>
    <dgm:pt modelId="{5409598E-7628-4D9D-B338-6976AF351CBD}" type="pres">
      <dgm:prSet presAssocID="{46C7CEC8-48AA-4359-AEB7-90E5E90B504E}" presName="sp" presStyleCnt="0"/>
      <dgm:spPr/>
    </dgm:pt>
    <dgm:pt modelId="{494EF24B-CCA3-4F68-8180-41313FB6C2EA}" type="pres">
      <dgm:prSet presAssocID="{40FA7427-8EF0-48D8-B378-244D9A369131}" presName="composite" presStyleCnt="0"/>
      <dgm:spPr/>
    </dgm:pt>
    <dgm:pt modelId="{2B648793-2EB1-4B7E-B421-A73260CE365C}" type="pres">
      <dgm:prSet presAssocID="{40FA7427-8EF0-48D8-B378-244D9A369131}" presName="parentText" presStyleLbl="alignNode1" presStyleIdx="2" presStyleCnt="4">
        <dgm:presLayoutVars>
          <dgm:chMax val="1"/>
          <dgm:bulletEnabled val="1"/>
        </dgm:presLayoutVars>
      </dgm:prSet>
      <dgm:spPr/>
    </dgm:pt>
    <dgm:pt modelId="{D6735816-6D4C-429C-A0BA-AB258B320B09}" type="pres">
      <dgm:prSet presAssocID="{40FA7427-8EF0-48D8-B378-244D9A369131}" presName="descendantText" presStyleLbl="alignAcc1" presStyleIdx="2" presStyleCnt="4">
        <dgm:presLayoutVars>
          <dgm:bulletEnabled val="1"/>
        </dgm:presLayoutVars>
      </dgm:prSet>
      <dgm:spPr/>
    </dgm:pt>
    <dgm:pt modelId="{A6A260A9-E3D3-4125-849D-B4079AAE3322}" type="pres">
      <dgm:prSet presAssocID="{698CD191-32FC-4757-9C73-2BC4DCF2D0D6}" presName="sp" presStyleCnt="0"/>
      <dgm:spPr/>
    </dgm:pt>
    <dgm:pt modelId="{CA50FA59-1F2E-48F7-92D9-E7DEAE8D0172}" type="pres">
      <dgm:prSet presAssocID="{DF1EAEF9-051C-4F4F-AF5B-25D66C6F42B1}" presName="composite" presStyleCnt="0"/>
      <dgm:spPr/>
    </dgm:pt>
    <dgm:pt modelId="{E80B5F3D-A622-4F80-839D-BC0C2417CD69}" type="pres">
      <dgm:prSet presAssocID="{DF1EAEF9-051C-4F4F-AF5B-25D66C6F42B1}" presName="parentText" presStyleLbl="alignNode1" presStyleIdx="3" presStyleCnt="4">
        <dgm:presLayoutVars>
          <dgm:chMax val="1"/>
          <dgm:bulletEnabled val="1"/>
        </dgm:presLayoutVars>
      </dgm:prSet>
      <dgm:spPr/>
    </dgm:pt>
    <dgm:pt modelId="{E7338295-CC63-4F2A-BED1-F4B9BBAE9CC1}" type="pres">
      <dgm:prSet presAssocID="{DF1EAEF9-051C-4F4F-AF5B-25D66C6F42B1}" presName="descendantText" presStyleLbl="alignAcc1" presStyleIdx="3" presStyleCnt="4">
        <dgm:presLayoutVars>
          <dgm:bulletEnabled val="1"/>
        </dgm:presLayoutVars>
      </dgm:prSet>
      <dgm:spPr/>
    </dgm:pt>
  </dgm:ptLst>
  <dgm:cxnLst>
    <dgm:cxn modelId="{A8444C19-6D26-4909-BBB2-926DB53E1962}" type="presOf" srcId="{F12AB6C9-BE6D-4340-ABF3-85255BC0192B}" destId="{D6735816-6D4C-429C-A0BA-AB258B320B09}" srcOrd="0" destOrd="1" presId="urn:microsoft.com/office/officeart/2005/8/layout/chevron2"/>
    <dgm:cxn modelId="{ACB2C719-0328-4ACD-970F-990ABCB857B6}" type="presOf" srcId="{669EBD53-6541-4AAB-B832-62AB614E7C9B}" destId="{33BCF0A0-27B2-4F45-9EEF-C022BC40424E}" srcOrd="0" destOrd="1" presId="urn:microsoft.com/office/officeart/2005/8/layout/chevron2"/>
    <dgm:cxn modelId="{323BEB24-3C1B-4E2C-8CD8-DAF32672D559}" srcId="{476950A9-8A77-4B05-9745-E68D657690EC}" destId="{40FA7427-8EF0-48D8-B378-244D9A369131}" srcOrd="2" destOrd="0" parTransId="{C04C84D0-F75B-4197-AC9B-E16FD6969BE9}" sibTransId="{698CD191-32FC-4757-9C73-2BC4DCF2D0D6}"/>
    <dgm:cxn modelId="{013E6F2E-F8EE-4345-BB17-BF455502A1C0}" type="presOf" srcId="{5F54AAF5-2529-45DA-B172-A19AE321F304}" destId="{4DD7229F-8124-49D4-AB41-287835075241}" srcOrd="0" destOrd="0" presId="urn:microsoft.com/office/officeart/2005/8/layout/chevron2"/>
    <dgm:cxn modelId="{FDC15D32-1824-4654-9680-1863D82FBC7D}" type="presOf" srcId="{577A6327-0B8F-4F65-A150-07101F680218}" destId="{E7338295-CC63-4F2A-BED1-F4B9BBAE9CC1}" srcOrd="0" destOrd="0" presId="urn:microsoft.com/office/officeart/2005/8/layout/chevron2"/>
    <dgm:cxn modelId="{EEC4D735-49E9-4FC5-805E-52923F1CA3C4}" type="presOf" srcId="{68C2C2F3-0996-4CCF-A5AA-4951477340D4}" destId="{33BCF0A0-27B2-4F45-9EEF-C022BC40424E}" srcOrd="0" destOrd="2" presId="urn:microsoft.com/office/officeart/2005/8/layout/chevron2"/>
    <dgm:cxn modelId="{14F8D036-6AE1-44D5-979D-5D401CFF9DB6}" type="presOf" srcId="{C3398BBA-1515-460D-BCD7-83248AAD75C9}" destId="{E7338295-CC63-4F2A-BED1-F4B9BBAE9CC1}" srcOrd="0" destOrd="1" presId="urn:microsoft.com/office/officeart/2005/8/layout/chevron2"/>
    <dgm:cxn modelId="{9B66B35D-F4B4-488D-856D-B3E36CD1BCB0}" type="presOf" srcId="{61781DFB-85F9-47BB-ABB6-EBD67CC7545F}" destId="{6876C323-97DD-45BE-8A57-C216227E87A0}" srcOrd="0" destOrd="0" presId="urn:microsoft.com/office/officeart/2005/8/layout/chevron2"/>
    <dgm:cxn modelId="{8064C15D-397D-4354-8E0F-BFEF2B4CEA99}" type="presOf" srcId="{D3C43B36-90C5-436A-A326-8EA37F2720F0}" destId="{9FD2F3C5-AF27-4524-BC62-0457B36EF273}" srcOrd="0" destOrd="1" presId="urn:microsoft.com/office/officeart/2005/8/layout/chevron2"/>
    <dgm:cxn modelId="{765F5548-37D8-49D5-88F5-68B0E4881E86}" srcId="{5F54AAF5-2529-45DA-B172-A19AE321F304}" destId="{C46D5AAF-7327-461D-AA94-24799B32CCDB}" srcOrd="0" destOrd="0" parTransId="{C42F0632-D76D-4261-91EB-559EE5A1CD5B}" sibTransId="{EAB52E7A-0B48-4AB5-A786-FD8F5D22B2F7}"/>
    <dgm:cxn modelId="{DB016C6B-3A44-47E0-9393-AFC00BDA9F66}" type="presOf" srcId="{C46D5AAF-7327-461D-AA94-24799B32CCDB}" destId="{9FD2F3C5-AF27-4524-BC62-0457B36EF273}" srcOrd="0" destOrd="0" presId="urn:microsoft.com/office/officeart/2005/8/layout/chevron2"/>
    <dgm:cxn modelId="{B2D83F56-50DD-4AFC-BB77-F266B5C3115F}" srcId="{61781DFB-85F9-47BB-ABB6-EBD67CC7545F}" destId="{9CED6952-ED7B-41AB-8433-4C483096D51C}" srcOrd="0" destOrd="0" parTransId="{CC1A52A0-735D-4DE1-82B3-06BFEB1DB31C}" sibTransId="{C33F2FF2-016C-475B-AA1F-62E0A9B58DC8}"/>
    <dgm:cxn modelId="{A324135A-33A6-4095-B630-50223E6C3B90}" type="presOf" srcId="{40FA7427-8EF0-48D8-B378-244D9A369131}" destId="{2B648793-2EB1-4B7E-B421-A73260CE365C}" srcOrd="0" destOrd="0" presId="urn:microsoft.com/office/officeart/2005/8/layout/chevron2"/>
    <dgm:cxn modelId="{0489E79B-384F-492B-A4A1-690CB2CECFDE}" srcId="{5F54AAF5-2529-45DA-B172-A19AE321F304}" destId="{D3C43B36-90C5-436A-A326-8EA37F2720F0}" srcOrd="1" destOrd="0" parTransId="{C195524D-B256-4A26-94B7-AE116C2D50F0}" sibTransId="{00295111-DCD4-49E0-A5A7-61F4A83455F9}"/>
    <dgm:cxn modelId="{D54CE5A4-C685-4978-9B43-795A28CBF9ED}" srcId="{476950A9-8A77-4B05-9745-E68D657690EC}" destId="{DF1EAEF9-051C-4F4F-AF5B-25D66C6F42B1}" srcOrd="3" destOrd="0" parTransId="{9F62B886-1036-460B-8A51-1A0D4BEE3003}" sibTransId="{D1A6BB31-B41F-4962-A36C-B6E8B6F25204}"/>
    <dgm:cxn modelId="{BB4FFEA8-E799-4ACF-95D5-1D477526959C}" type="presOf" srcId="{4B3BDDD4-20E0-4BCE-97F5-76A6D121D36C}" destId="{D6735816-6D4C-429C-A0BA-AB258B320B09}" srcOrd="0" destOrd="0" presId="urn:microsoft.com/office/officeart/2005/8/layout/chevron2"/>
    <dgm:cxn modelId="{0C463DAB-8A35-476E-8662-C5E0CBF1A04B}" type="presOf" srcId="{DF1EAEF9-051C-4F4F-AF5B-25D66C6F42B1}" destId="{E80B5F3D-A622-4F80-839D-BC0C2417CD69}" srcOrd="0" destOrd="0" presId="urn:microsoft.com/office/officeart/2005/8/layout/chevron2"/>
    <dgm:cxn modelId="{837E83B7-3A62-4EFB-A032-4EDDC6A2AED7}" type="presOf" srcId="{9CED6952-ED7B-41AB-8433-4C483096D51C}" destId="{33BCF0A0-27B2-4F45-9EEF-C022BC40424E}" srcOrd="0" destOrd="0" presId="urn:microsoft.com/office/officeart/2005/8/layout/chevron2"/>
    <dgm:cxn modelId="{DC9B1DBC-37B6-4306-A4B1-D912D1F40BE4}" srcId="{40FA7427-8EF0-48D8-B378-244D9A369131}" destId="{F12AB6C9-BE6D-4340-ABF3-85255BC0192B}" srcOrd="1" destOrd="0" parTransId="{788004C5-99C3-4BD0-8CB7-4D49382EFC69}" sibTransId="{7132178D-75C7-4AA1-B4F5-BB1F3C3640EF}"/>
    <dgm:cxn modelId="{33267CBF-9166-4146-B8AD-FA91479AE326}" srcId="{61781DFB-85F9-47BB-ABB6-EBD67CC7545F}" destId="{68C2C2F3-0996-4CCF-A5AA-4951477340D4}" srcOrd="2" destOrd="0" parTransId="{2853C901-0003-452B-A693-4E61E8DEDA6A}" sibTransId="{AFB5E7BF-27E8-462E-8D84-4956AC32B908}"/>
    <dgm:cxn modelId="{99717DCE-82FB-4B70-A56A-2E0377C2BBE6}" srcId="{40FA7427-8EF0-48D8-B378-244D9A369131}" destId="{4B3BDDD4-20E0-4BCE-97F5-76A6D121D36C}" srcOrd="0" destOrd="0" parTransId="{0EEA9A83-0C86-47BB-BB51-3B80F7D27C5B}" sibTransId="{5D5F7963-F72C-49D0-AC9E-C4BDF4B1F294}"/>
    <dgm:cxn modelId="{451CBDCE-2DD9-4634-8F7B-8C237F79BEF3}" srcId="{61781DFB-85F9-47BB-ABB6-EBD67CC7545F}" destId="{669EBD53-6541-4AAB-B832-62AB614E7C9B}" srcOrd="1" destOrd="0" parTransId="{5AF96B01-730E-4C8F-AE05-EA418F661D9D}" sibTransId="{F15585C6-36B8-4D49-AA9C-63CD3E2C9A4E}"/>
    <dgm:cxn modelId="{3B3E2FD3-A942-43BA-8C0E-26E6ED275EE3}" srcId="{476950A9-8A77-4B05-9745-E68D657690EC}" destId="{61781DFB-85F9-47BB-ABB6-EBD67CC7545F}" srcOrd="1" destOrd="0" parTransId="{AECB6151-E9DE-4B0F-BC6B-E5CD088600D1}" sibTransId="{46C7CEC8-48AA-4359-AEB7-90E5E90B504E}"/>
    <dgm:cxn modelId="{0FE9E0D4-BEB4-497D-AB91-EF8E64D035D1}" srcId="{DF1EAEF9-051C-4F4F-AF5B-25D66C6F42B1}" destId="{577A6327-0B8F-4F65-A150-07101F680218}" srcOrd="0" destOrd="0" parTransId="{F8AAA2ED-5400-40E4-98F6-556A07228584}" sibTransId="{D5EEF8B6-6440-4F78-8ADB-6FB325FC4D0B}"/>
    <dgm:cxn modelId="{0E7EF2E1-211A-46B8-8F3F-A65E1F1BEB48}" srcId="{476950A9-8A77-4B05-9745-E68D657690EC}" destId="{5F54AAF5-2529-45DA-B172-A19AE321F304}" srcOrd="0" destOrd="0" parTransId="{6AB2D274-5319-4F38-B978-E70D3B581468}" sibTransId="{0F36DB0A-964E-4985-95FB-5BC18FCD7BF2}"/>
    <dgm:cxn modelId="{7307F7EC-3F66-4AC4-8F9D-289BAB732157}" srcId="{DF1EAEF9-051C-4F4F-AF5B-25D66C6F42B1}" destId="{C3398BBA-1515-460D-BCD7-83248AAD75C9}" srcOrd="1" destOrd="0" parTransId="{7AECCB77-106B-4896-8358-656F2C369672}" sibTransId="{E872636F-31BC-40D2-9518-23F9701AF2A7}"/>
    <dgm:cxn modelId="{12CF32F2-8097-416F-A8D4-B3AE38270017}" type="presOf" srcId="{476950A9-8A77-4B05-9745-E68D657690EC}" destId="{FCC0B1A2-7C9D-4255-8E96-51835F8100FB}" srcOrd="0" destOrd="0" presId="urn:microsoft.com/office/officeart/2005/8/layout/chevron2"/>
    <dgm:cxn modelId="{323F1721-566E-4C8B-85DC-88501F5307F8}" type="presParOf" srcId="{FCC0B1A2-7C9D-4255-8E96-51835F8100FB}" destId="{E94B6188-3ED9-4AB9-B548-C422C12A1115}" srcOrd="0" destOrd="0" presId="urn:microsoft.com/office/officeart/2005/8/layout/chevron2"/>
    <dgm:cxn modelId="{F51E47FD-5314-4002-A26A-53418E977EFB}" type="presParOf" srcId="{E94B6188-3ED9-4AB9-B548-C422C12A1115}" destId="{4DD7229F-8124-49D4-AB41-287835075241}" srcOrd="0" destOrd="0" presId="urn:microsoft.com/office/officeart/2005/8/layout/chevron2"/>
    <dgm:cxn modelId="{2E766B8F-AD0D-45F7-BAE9-60DE142A537A}" type="presParOf" srcId="{E94B6188-3ED9-4AB9-B548-C422C12A1115}" destId="{9FD2F3C5-AF27-4524-BC62-0457B36EF273}" srcOrd="1" destOrd="0" presId="urn:microsoft.com/office/officeart/2005/8/layout/chevron2"/>
    <dgm:cxn modelId="{39F0743B-DBF7-4439-9FF3-37ECFD399E20}" type="presParOf" srcId="{FCC0B1A2-7C9D-4255-8E96-51835F8100FB}" destId="{11B96B77-E21E-4C52-A634-584E3B525F88}" srcOrd="1" destOrd="0" presId="urn:microsoft.com/office/officeart/2005/8/layout/chevron2"/>
    <dgm:cxn modelId="{4D54962A-F6DF-471F-86F1-DD3CA0DD9178}" type="presParOf" srcId="{FCC0B1A2-7C9D-4255-8E96-51835F8100FB}" destId="{096A82DF-D6E0-4937-8206-D8C995E7C6A9}" srcOrd="2" destOrd="0" presId="urn:microsoft.com/office/officeart/2005/8/layout/chevron2"/>
    <dgm:cxn modelId="{16D3645C-0DF7-46B0-A5A0-9C0F7FC9019E}" type="presParOf" srcId="{096A82DF-D6E0-4937-8206-D8C995E7C6A9}" destId="{6876C323-97DD-45BE-8A57-C216227E87A0}" srcOrd="0" destOrd="0" presId="urn:microsoft.com/office/officeart/2005/8/layout/chevron2"/>
    <dgm:cxn modelId="{CD0FECC6-68E8-4267-9216-C46B41712710}" type="presParOf" srcId="{096A82DF-D6E0-4937-8206-D8C995E7C6A9}" destId="{33BCF0A0-27B2-4F45-9EEF-C022BC40424E}" srcOrd="1" destOrd="0" presId="urn:microsoft.com/office/officeart/2005/8/layout/chevron2"/>
    <dgm:cxn modelId="{393F1131-3DFD-4F8E-AA20-8A9995F89FE2}" type="presParOf" srcId="{FCC0B1A2-7C9D-4255-8E96-51835F8100FB}" destId="{5409598E-7628-4D9D-B338-6976AF351CBD}" srcOrd="3" destOrd="0" presId="urn:microsoft.com/office/officeart/2005/8/layout/chevron2"/>
    <dgm:cxn modelId="{746D38B0-C1DD-48DE-BF44-2272EC410DA3}" type="presParOf" srcId="{FCC0B1A2-7C9D-4255-8E96-51835F8100FB}" destId="{494EF24B-CCA3-4F68-8180-41313FB6C2EA}" srcOrd="4" destOrd="0" presId="urn:microsoft.com/office/officeart/2005/8/layout/chevron2"/>
    <dgm:cxn modelId="{FADA506A-FA10-4032-A58B-4FE03FEF887E}" type="presParOf" srcId="{494EF24B-CCA3-4F68-8180-41313FB6C2EA}" destId="{2B648793-2EB1-4B7E-B421-A73260CE365C}" srcOrd="0" destOrd="0" presId="urn:microsoft.com/office/officeart/2005/8/layout/chevron2"/>
    <dgm:cxn modelId="{44C11DA1-6CF5-46C2-8ABC-6C7C102879E9}" type="presParOf" srcId="{494EF24B-CCA3-4F68-8180-41313FB6C2EA}" destId="{D6735816-6D4C-429C-A0BA-AB258B320B09}" srcOrd="1" destOrd="0" presId="urn:microsoft.com/office/officeart/2005/8/layout/chevron2"/>
    <dgm:cxn modelId="{273C8A63-90DC-46F7-B97A-50EF13955862}" type="presParOf" srcId="{FCC0B1A2-7C9D-4255-8E96-51835F8100FB}" destId="{A6A260A9-E3D3-4125-849D-B4079AAE3322}" srcOrd="5" destOrd="0" presId="urn:microsoft.com/office/officeart/2005/8/layout/chevron2"/>
    <dgm:cxn modelId="{DDEAD2C7-814C-4AA0-968B-C00DFA089591}" type="presParOf" srcId="{FCC0B1A2-7C9D-4255-8E96-51835F8100FB}" destId="{CA50FA59-1F2E-48F7-92D9-E7DEAE8D0172}" srcOrd="6" destOrd="0" presId="urn:microsoft.com/office/officeart/2005/8/layout/chevron2"/>
    <dgm:cxn modelId="{38A626B7-BD8A-4A7F-B3C5-9B097CE0BFB9}" type="presParOf" srcId="{CA50FA59-1F2E-48F7-92D9-E7DEAE8D0172}" destId="{E80B5F3D-A622-4F80-839D-BC0C2417CD69}" srcOrd="0" destOrd="0" presId="urn:microsoft.com/office/officeart/2005/8/layout/chevron2"/>
    <dgm:cxn modelId="{70A588B1-182B-4ECB-80FE-6564C3E42B9B}" type="presParOf" srcId="{CA50FA59-1F2E-48F7-92D9-E7DEAE8D0172}" destId="{E7338295-CC63-4F2A-BED1-F4B9BBAE9CC1}" srcOrd="1" destOrd="0" presId="urn:microsoft.com/office/officeart/2005/8/layout/chevron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76950A9-8A77-4B05-9745-E68D657690EC}" type="doc">
      <dgm:prSet loTypeId="urn:microsoft.com/office/officeart/2005/8/layout/chevron2" loCatId="process" qsTypeId="urn:microsoft.com/office/officeart/2005/8/quickstyle/3d4" qsCatId="3D" csTypeId="urn:microsoft.com/office/officeart/2005/8/colors/colorful3" csCatId="colorful" phldr="1"/>
      <dgm:spPr/>
      <dgm:t>
        <a:bodyPr/>
        <a:lstStyle/>
        <a:p>
          <a:endParaRPr lang="en-US"/>
        </a:p>
      </dgm:t>
    </dgm:pt>
    <dgm:pt modelId="{5F54AAF5-2529-45DA-B172-A19AE321F304}">
      <dgm:prSet phldrT="[Text]" phldr="0"/>
      <dgm:spPr/>
      <dgm:t>
        <a:bodyPr/>
        <a:lstStyle/>
        <a:p>
          <a:pPr rtl="0"/>
          <a:r>
            <a:rPr lang="en-US">
              <a:latin typeface="Arial" panose="020B0604020202020204"/>
            </a:rPr>
            <a:t>Datadog Limitation</a:t>
          </a:r>
          <a:endParaRPr lang="en-US"/>
        </a:p>
      </dgm:t>
    </dgm:pt>
    <dgm:pt modelId="{6AB2D274-5319-4F38-B978-E70D3B581468}" type="parTrans" cxnId="{0E7EF2E1-211A-46B8-8F3F-A65E1F1BEB48}">
      <dgm:prSet/>
      <dgm:spPr/>
      <dgm:t>
        <a:bodyPr/>
        <a:lstStyle/>
        <a:p>
          <a:endParaRPr lang="en-US"/>
        </a:p>
      </dgm:t>
    </dgm:pt>
    <dgm:pt modelId="{0F36DB0A-964E-4985-95FB-5BC18FCD7BF2}" type="sibTrans" cxnId="{0E7EF2E1-211A-46B8-8F3F-A65E1F1BEB48}">
      <dgm:prSet/>
      <dgm:spPr/>
      <dgm:t>
        <a:bodyPr/>
        <a:lstStyle/>
        <a:p>
          <a:endParaRPr lang="en-US"/>
        </a:p>
      </dgm:t>
    </dgm:pt>
    <dgm:pt modelId="{C46D5AAF-7327-461D-AA94-24799B32CCDB}">
      <dgm:prSet phldrT="[Text]" phldr="0"/>
      <dgm:spPr/>
      <dgm:t>
        <a:bodyPr/>
        <a:lstStyle/>
        <a:p>
          <a:pPr rtl="0"/>
          <a:r>
            <a:rPr lang="en-US" b="0">
              <a:solidFill>
                <a:schemeClr val="tx1"/>
              </a:solidFill>
              <a:latin typeface="Verdana Pro"/>
            </a:rPr>
            <a:t>Logs are tagged only by severity levels (Error, </a:t>
          </a:r>
          <a:r>
            <a:rPr lang="en-US">
              <a:solidFill>
                <a:schemeClr val="tx1"/>
              </a:solidFill>
              <a:latin typeface="Verdana Pro"/>
            </a:rPr>
            <a:t>Warning, Info)</a:t>
          </a:r>
        </a:p>
      </dgm:t>
    </dgm:pt>
    <dgm:pt modelId="{C42F0632-D76D-4261-91EB-559EE5A1CD5B}" type="parTrans" cxnId="{765F5548-37D8-49D5-88F5-68B0E4881E86}">
      <dgm:prSet/>
      <dgm:spPr/>
      <dgm:t>
        <a:bodyPr/>
        <a:lstStyle/>
        <a:p>
          <a:endParaRPr lang="en-US"/>
        </a:p>
      </dgm:t>
    </dgm:pt>
    <dgm:pt modelId="{EAB52E7A-0B48-4AB5-A786-FD8F5D22B2F7}" type="sibTrans" cxnId="{765F5548-37D8-49D5-88F5-68B0E4881E86}">
      <dgm:prSet/>
      <dgm:spPr/>
      <dgm:t>
        <a:bodyPr/>
        <a:lstStyle/>
        <a:p>
          <a:endParaRPr lang="en-US"/>
        </a:p>
      </dgm:t>
    </dgm:pt>
    <dgm:pt modelId="{61781DFB-85F9-47BB-ABB6-EBD67CC7545F}">
      <dgm:prSet phldrT="[Text]" phldr="0"/>
      <dgm:spPr/>
      <dgm:t>
        <a:bodyPr/>
        <a:lstStyle/>
        <a:p>
          <a:r>
            <a:rPr lang="en-US">
              <a:latin typeface="Arial" panose="020B0604020202020204"/>
            </a:rPr>
            <a:t>Solution</a:t>
          </a:r>
          <a:endParaRPr lang="en-US"/>
        </a:p>
      </dgm:t>
    </dgm:pt>
    <dgm:pt modelId="{AECB6151-E9DE-4B0F-BC6B-E5CD088600D1}" type="parTrans" cxnId="{3B3E2FD3-A942-43BA-8C0E-26E6ED275EE3}">
      <dgm:prSet/>
      <dgm:spPr/>
      <dgm:t>
        <a:bodyPr/>
        <a:lstStyle/>
        <a:p>
          <a:endParaRPr lang="en-US"/>
        </a:p>
      </dgm:t>
    </dgm:pt>
    <dgm:pt modelId="{46C7CEC8-48AA-4359-AEB7-90E5E90B504E}" type="sibTrans" cxnId="{3B3E2FD3-A942-43BA-8C0E-26E6ED275EE3}">
      <dgm:prSet/>
      <dgm:spPr/>
      <dgm:t>
        <a:bodyPr/>
        <a:lstStyle/>
        <a:p>
          <a:endParaRPr lang="en-US"/>
        </a:p>
      </dgm:t>
    </dgm:pt>
    <dgm:pt modelId="{669EBD53-6541-4AAB-B832-62AB614E7C9B}">
      <dgm:prSet phldrT="[Text]" phldr="0"/>
      <dgm:spPr/>
      <dgm:t>
        <a:bodyPr/>
        <a:lstStyle/>
        <a:p>
          <a:pPr algn="l"/>
          <a:r>
            <a:rPr lang="en-US">
              <a:solidFill>
                <a:schemeClr val="tx1">
                  <a:lumMod val="75000"/>
                  <a:lumOff val="25000"/>
                </a:schemeClr>
              </a:solidFill>
              <a:latin typeface="Verdana Pro"/>
            </a:rPr>
            <a:t>Analyze the specific content of log messages for enhanced categorization</a:t>
          </a:r>
          <a:endParaRPr lang="en-US"/>
        </a:p>
      </dgm:t>
    </dgm:pt>
    <dgm:pt modelId="{5AF96B01-730E-4C8F-AE05-EA418F661D9D}" type="parTrans" cxnId="{451CBDCE-2DD9-4634-8F7B-8C237F79BEF3}">
      <dgm:prSet/>
      <dgm:spPr/>
      <dgm:t>
        <a:bodyPr/>
        <a:lstStyle/>
        <a:p>
          <a:endParaRPr lang="en-US"/>
        </a:p>
      </dgm:t>
    </dgm:pt>
    <dgm:pt modelId="{F15585C6-36B8-4D49-AA9C-63CD3E2C9A4E}" type="sibTrans" cxnId="{451CBDCE-2DD9-4634-8F7B-8C237F79BEF3}">
      <dgm:prSet/>
      <dgm:spPr/>
      <dgm:t>
        <a:bodyPr/>
        <a:lstStyle/>
        <a:p>
          <a:endParaRPr lang="en-US"/>
        </a:p>
      </dgm:t>
    </dgm:pt>
    <dgm:pt modelId="{DF1EAEF9-051C-4F4F-AF5B-25D66C6F42B1}">
      <dgm:prSet phldrT="[Text]" phldr="0"/>
      <dgm:spPr/>
      <dgm:t>
        <a:bodyPr/>
        <a:lstStyle/>
        <a:p>
          <a:pPr rtl="0"/>
          <a:r>
            <a:rPr lang="en-US">
              <a:latin typeface="Arial" panose="020B0604020202020204"/>
            </a:rPr>
            <a:t> Benefits</a:t>
          </a:r>
          <a:endParaRPr lang="en-US"/>
        </a:p>
      </dgm:t>
    </dgm:pt>
    <dgm:pt modelId="{9F62B886-1036-460B-8A51-1A0D4BEE3003}" type="parTrans" cxnId="{D54CE5A4-C685-4978-9B43-795A28CBF9ED}">
      <dgm:prSet/>
      <dgm:spPr/>
      <dgm:t>
        <a:bodyPr/>
        <a:lstStyle/>
        <a:p>
          <a:endParaRPr lang="en-US"/>
        </a:p>
      </dgm:t>
    </dgm:pt>
    <dgm:pt modelId="{D1A6BB31-B41F-4962-A36C-B6E8B6F25204}" type="sibTrans" cxnId="{D54CE5A4-C685-4978-9B43-795A28CBF9ED}">
      <dgm:prSet/>
      <dgm:spPr/>
      <dgm:t>
        <a:bodyPr/>
        <a:lstStyle/>
        <a:p>
          <a:endParaRPr lang="en-US"/>
        </a:p>
      </dgm:t>
    </dgm:pt>
    <dgm:pt modelId="{577A6327-0B8F-4F65-A150-07101F680218}">
      <dgm:prSet phldrT="[Text]" phldr="0"/>
      <dgm:spPr/>
      <dgm:t>
        <a:bodyPr/>
        <a:lstStyle/>
        <a:p>
          <a:r>
            <a:rPr lang="en-US">
              <a:solidFill>
                <a:schemeClr val="tx1"/>
              </a:solidFill>
              <a:latin typeface="Verdana Pro"/>
            </a:rPr>
            <a:t>Enables context-aware categories that go beyond basic severity levels</a:t>
          </a:r>
        </a:p>
      </dgm:t>
    </dgm:pt>
    <dgm:pt modelId="{F8AAA2ED-5400-40E4-98F6-556A07228584}" type="parTrans" cxnId="{0FE9E0D4-BEB4-497D-AB91-EF8E64D035D1}">
      <dgm:prSet/>
      <dgm:spPr/>
      <dgm:t>
        <a:bodyPr/>
        <a:lstStyle/>
        <a:p>
          <a:endParaRPr lang="en-US"/>
        </a:p>
      </dgm:t>
    </dgm:pt>
    <dgm:pt modelId="{D5EEF8B6-6440-4F78-8ADB-6FB325FC4D0B}" type="sibTrans" cxnId="{0FE9E0D4-BEB4-497D-AB91-EF8E64D035D1}">
      <dgm:prSet/>
      <dgm:spPr/>
      <dgm:t>
        <a:bodyPr/>
        <a:lstStyle/>
        <a:p>
          <a:endParaRPr lang="en-US"/>
        </a:p>
      </dgm:t>
    </dgm:pt>
    <dgm:pt modelId="{9CED6952-ED7B-41AB-8433-4C483096D51C}">
      <dgm:prSet phldr="0"/>
      <dgm:spPr/>
      <dgm:t>
        <a:bodyPr/>
        <a:lstStyle/>
        <a:p>
          <a:pPr rtl="0"/>
          <a:r>
            <a:rPr lang="en-US" b="0">
              <a:latin typeface="Verdana Pro"/>
            </a:rPr>
            <a:t>Azure Cognitive Service</a:t>
          </a:r>
        </a:p>
      </dgm:t>
    </dgm:pt>
    <dgm:pt modelId="{CC1A52A0-735D-4DE1-82B3-06BFEB1DB31C}" type="parTrans" cxnId="{B2D83F56-50DD-4AFC-BB77-F266B5C3115F}">
      <dgm:prSet/>
      <dgm:spPr/>
    </dgm:pt>
    <dgm:pt modelId="{C33F2FF2-016C-475B-AA1F-62E0A9B58DC8}" type="sibTrans" cxnId="{B2D83F56-50DD-4AFC-BB77-F266B5C3115F}">
      <dgm:prSet/>
      <dgm:spPr/>
    </dgm:pt>
    <dgm:pt modelId="{C3398BBA-1515-460D-BCD7-83248AAD75C9}">
      <dgm:prSet phldr="0"/>
      <dgm:spPr/>
      <dgm:t>
        <a:bodyPr/>
        <a:lstStyle/>
        <a:p>
          <a:pPr rtl="0"/>
          <a:r>
            <a:rPr lang="en-US">
              <a:solidFill>
                <a:schemeClr val="tx1"/>
              </a:solidFill>
              <a:latin typeface="Verdana Pro"/>
            </a:rPr>
            <a:t>Provides direct insights within logs for quicker resolutions</a:t>
          </a:r>
        </a:p>
      </dgm:t>
    </dgm:pt>
    <dgm:pt modelId="{7AECCB77-106B-4896-8358-656F2C369672}" type="parTrans" cxnId="{7307F7EC-3F66-4AC4-8F9D-289BAB732157}">
      <dgm:prSet/>
      <dgm:spPr/>
    </dgm:pt>
    <dgm:pt modelId="{E872636F-31BC-40D2-9518-23F9701AF2A7}" type="sibTrans" cxnId="{7307F7EC-3F66-4AC4-8F9D-289BAB732157}">
      <dgm:prSet/>
      <dgm:spPr/>
    </dgm:pt>
    <dgm:pt modelId="{90B8CA06-8E65-4387-B363-AED4F26709F6}">
      <dgm:prSet phldr="0"/>
      <dgm:spPr/>
      <dgm:t>
        <a:bodyPr/>
        <a:lstStyle/>
        <a:p>
          <a:pPr algn="l" rtl="0"/>
          <a:r>
            <a:rPr lang="en-US">
              <a:solidFill>
                <a:schemeClr val="tx1">
                  <a:lumMod val="75000"/>
                  <a:lumOff val="25000"/>
                </a:schemeClr>
              </a:solidFill>
              <a:latin typeface="Verdana Pro"/>
            </a:rPr>
            <a:t>Implement custom log categories (e.g., Cache Error, Server Error, Connection Error)</a:t>
          </a:r>
          <a:endParaRPr lang="en-US">
            <a:solidFill>
              <a:srgbClr val="555555"/>
            </a:solidFill>
            <a:latin typeface="Verdana Pro"/>
          </a:endParaRPr>
        </a:p>
      </dgm:t>
    </dgm:pt>
    <dgm:pt modelId="{AE264B6A-7CFE-4638-97E0-61719058501C}" type="parTrans" cxnId="{CB8B3997-5D49-40D7-B26B-957522435836}">
      <dgm:prSet/>
      <dgm:spPr/>
    </dgm:pt>
    <dgm:pt modelId="{7A63148A-DA7E-49B9-9858-F55AA928C1D3}" type="sibTrans" cxnId="{CB8B3997-5D49-40D7-B26B-957522435836}">
      <dgm:prSet/>
      <dgm:spPr/>
    </dgm:pt>
    <dgm:pt modelId="{AF0A4DF5-FE68-47E3-920A-4B3D87967773}">
      <dgm:prSet phldr="0"/>
      <dgm:spPr/>
      <dgm:t>
        <a:bodyPr/>
        <a:lstStyle/>
        <a:p>
          <a:pPr rtl="0"/>
          <a:r>
            <a:rPr lang="en-US">
              <a:solidFill>
                <a:schemeClr val="tx1"/>
              </a:solidFill>
              <a:latin typeface="Verdana Pro"/>
            </a:rPr>
            <a:t>Lack of Context: No in-depth understanding of the impact or context of log messages</a:t>
          </a:r>
        </a:p>
      </dgm:t>
    </dgm:pt>
    <dgm:pt modelId="{CF57699A-200C-469D-AA68-54D498DC3E46}" type="parTrans" cxnId="{2EF0565F-E868-42C9-9E4B-37BF6475F0C6}">
      <dgm:prSet/>
      <dgm:spPr/>
    </dgm:pt>
    <dgm:pt modelId="{856CDC99-FB98-47B8-B8F4-A8147729B187}" type="sibTrans" cxnId="{2EF0565F-E868-42C9-9E4B-37BF6475F0C6}">
      <dgm:prSet/>
      <dgm:spPr/>
    </dgm:pt>
    <dgm:pt modelId="{BDA9BE1E-E92B-43A4-9EB9-83339920DDFF}">
      <dgm:prSet phldr="0"/>
      <dgm:spPr/>
      <dgm:t>
        <a:bodyPr/>
        <a:lstStyle/>
        <a:p>
          <a:pPr algn="l" rtl="0"/>
          <a:r>
            <a:rPr lang="en-US">
              <a:solidFill>
                <a:schemeClr val="tx1">
                  <a:lumMod val="75000"/>
                  <a:lumOff val="25000"/>
                </a:schemeClr>
              </a:solidFill>
              <a:latin typeface="Verdana Pro"/>
            </a:rPr>
            <a:t>Tag logs based on these analyses for better context</a:t>
          </a:r>
          <a:endParaRPr lang="en-US">
            <a:latin typeface="Verdana Pro"/>
          </a:endParaRPr>
        </a:p>
      </dgm:t>
    </dgm:pt>
    <dgm:pt modelId="{78F3A067-9B6C-4C32-B22B-7257DC97B5F5}" type="parTrans" cxnId="{4789F296-A10A-43C8-8034-A8C0C6C8935C}">
      <dgm:prSet/>
      <dgm:spPr/>
    </dgm:pt>
    <dgm:pt modelId="{7EEFB0CA-9023-4992-BDD5-30160B7F6CFA}" type="sibTrans" cxnId="{4789F296-A10A-43C8-8034-A8C0C6C8935C}">
      <dgm:prSet/>
      <dgm:spPr/>
    </dgm:pt>
    <dgm:pt modelId="{FCC0B1A2-7C9D-4255-8E96-51835F8100FB}" type="pres">
      <dgm:prSet presAssocID="{476950A9-8A77-4B05-9745-E68D657690EC}" presName="linearFlow" presStyleCnt="0">
        <dgm:presLayoutVars>
          <dgm:dir/>
          <dgm:animLvl val="lvl"/>
          <dgm:resizeHandles val="exact"/>
        </dgm:presLayoutVars>
      </dgm:prSet>
      <dgm:spPr/>
    </dgm:pt>
    <dgm:pt modelId="{E94B6188-3ED9-4AB9-B548-C422C12A1115}" type="pres">
      <dgm:prSet presAssocID="{5F54AAF5-2529-45DA-B172-A19AE321F304}" presName="composite" presStyleCnt="0"/>
      <dgm:spPr/>
    </dgm:pt>
    <dgm:pt modelId="{4DD7229F-8124-49D4-AB41-287835075241}" type="pres">
      <dgm:prSet presAssocID="{5F54AAF5-2529-45DA-B172-A19AE321F304}" presName="parentText" presStyleLbl="alignNode1" presStyleIdx="0" presStyleCnt="3">
        <dgm:presLayoutVars>
          <dgm:chMax val="1"/>
          <dgm:bulletEnabled val="1"/>
        </dgm:presLayoutVars>
      </dgm:prSet>
      <dgm:spPr/>
    </dgm:pt>
    <dgm:pt modelId="{9FD2F3C5-AF27-4524-BC62-0457B36EF273}" type="pres">
      <dgm:prSet presAssocID="{5F54AAF5-2529-45DA-B172-A19AE321F304}" presName="descendantText" presStyleLbl="alignAcc1" presStyleIdx="0" presStyleCnt="3">
        <dgm:presLayoutVars>
          <dgm:bulletEnabled val="1"/>
        </dgm:presLayoutVars>
      </dgm:prSet>
      <dgm:spPr/>
    </dgm:pt>
    <dgm:pt modelId="{11B96B77-E21E-4C52-A634-584E3B525F88}" type="pres">
      <dgm:prSet presAssocID="{0F36DB0A-964E-4985-95FB-5BC18FCD7BF2}" presName="sp" presStyleCnt="0"/>
      <dgm:spPr/>
    </dgm:pt>
    <dgm:pt modelId="{096A82DF-D6E0-4937-8206-D8C995E7C6A9}" type="pres">
      <dgm:prSet presAssocID="{61781DFB-85F9-47BB-ABB6-EBD67CC7545F}" presName="composite" presStyleCnt="0"/>
      <dgm:spPr/>
    </dgm:pt>
    <dgm:pt modelId="{6876C323-97DD-45BE-8A57-C216227E87A0}" type="pres">
      <dgm:prSet presAssocID="{61781DFB-85F9-47BB-ABB6-EBD67CC7545F}" presName="parentText" presStyleLbl="alignNode1" presStyleIdx="1" presStyleCnt="3">
        <dgm:presLayoutVars>
          <dgm:chMax val="1"/>
          <dgm:bulletEnabled val="1"/>
        </dgm:presLayoutVars>
      </dgm:prSet>
      <dgm:spPr/>
    </dgm:pt>
    <dgm:pt modelId="{33BCF0A0-27B2-4F45-9EEF-C022BC40424E}" type="pres">
      <dgm:prSet presAssocID="{61781DFB-85F9-47BB-ABB6-EBD67CC7545F}" presName="descendantText" presStyleLbl="alignAcc1" presStyleIdx="1" presStyleCnt="3">
        <dgm:presLayoutVars>
          <dgm:bulletEnabled val="1"/>
        </dgm:presLayoutVars>
      </dgm:prSet>
      <dgm:spPr/>
    </dgm:pt>
    <dgm:pt modelId="{5409598E-7628-4D9D-B338-6976AF351CBD}" type="pres">
      <dgm:prSet presAssocID="{46C7CEC8-48AA-4359-AEB7-90E5E90B504E}" presName="sp" presStyleCnt="0"/>
      <dgm:spPr/>
    </dgm:pt>
    <dgm:pt modelId="{CA50FA59-1F2E-48F7-92D9-E7DEAE8D0172}" type="pres">
      <dgm:prSet presAssocID="{DF1EAEF9-051C-4F4F-AF5B-25D66C6F42B1}" presName="composite" presStyleCnt="0"/>
      <dgm:spPr/>
    </dgm:pt>
    <dgm:pt modelId="{E80B5F3D-A622-4F80-839D-BC0C2417CD69}" type="pres">
      <dgm:prSet presAssocID="{DF1EAEF9-051C-4F4F-AF5B-25D66C6F42B1}" presName="parentText" presStyleLbl="alignNode1" presStyleIdx="2" presStyleCnt="3">
        <dgm:presLayoutVars>
          <dgm:chMax val="1"/>
          <dgm:bulletEnabled val="1"/>
        </dgm:presLayoutVars>
      </dgm:prSet>
      <dgm:spPr/>
    </dgm:pt>
    <dgm:pt modelId="{E7338295-CC63-4F2A-BED1-F4B9BBAE9CC1}" type="pres">
      <dgm:prSet presAssocID="{DF1EAEF9-051C-4F4F-AF5B-25D66C6F42B1}" presName="descendantText" presStyleLbl="alignAcc1" presStyleIdx="2" presStyleCnt="3">
        <dgm:presLayoutVars>
          <dgm:bulletEnabled val="1"/>
        </dgm:presLayoutVars>
      </dgm:prSet>
      <dgm:spPr/>
    </dgm:pt>
  </dgm:ptLst>
  <dgm:cxnLst>
    <dgm:cxn modelId="{3BB6B91E-DDEE-4B47-A0F9-396EC4F294CF}" type="presOf" srcId="{BDA9BE1E-E92B-43A4-9EB9-83339920DDFF}" destId="{33BCF0A0-27B2-4F45-9EEF-C022BC40424E}" srcOrd="0" destOrd="3" presId="urn:microsoft.com/office/officeart/2005/8/layout/chevron2"/>
    <dgm:cxn modelId="{B053E629-6A4B-4C1F-920A-E0752B50EA4A}" type="presOf" srcId="{577A6327-0B8F-4F65-A150-07101F680218}" destId="{E7338295-CC63-4F2A-BED1-F4B9BBAE9CC1}" srcOrd="0" destOrd="0" presId="urn:microsoft.com/office/officeart/2005/8/layout/chevron2"/>
    <dgm:cxn modelId="{2EF0565F-E868-42C9-9E4B-37BF6475F0C6}" srcId="{5F54AAF5-2529-45DA-B172-A19AE321F304}" destId="{AF0A4DF5-FE68-47E3-920A-4B3D87967773}" srcOrd="1" destOrd="0" parTransId="{CF57699A-200C-469D-AA68-54D498DC3E46}" sibTransId="{856CDC99-FB98-47B8-B8F4-A8147729B187}"/>
    <dgm:cxn modelId="{765F5548-37D8-49D5-88F5-68B0E4881E86}" srcId="{5F54AAF5-2529-45DA-B172-A19AE321F304}" destId="{C46D5AAF-7327-461D-AA94-24799B32CCDB}" srcOrd="0" destOrd="0" parTransId="{C42F0632-D76D-4261-91EB-559EE5A1CD5B}" sibTransId="{EAB52E7A-0B48-4AB5-A786-FD8F5D22B2F7}"/>
    <dgm:cxn modelId="{EFF00771-BC81-4FBD-AF61-364157CE1EF9}" type="presOf" srcId="{9CED6952-ED7B-41AB-8433-4C483096D51C}" destId="{33BCF0A0-27B2-4F45-9EEF-C022BC40424E}" srcOrd="0" destOrd="0" presId="urn:microsoft.com/office/officeart/2005/8/layout/chevron2"/>
    <dgm:cxn modelId="{75EC1E56-ACD3-435B-BBC2-AE8F307C5B53}" type="presOf" srcId="{C46D5AAF-7327-461D-AA94-24799B32CCDB}" destId="{9FD2F3C5-AF27-4524-BC62-0457B36EF273}" srcOrd="0" destOrd="0" presId="urn:microsoft.com/office/officeart/2005/8/layout/chevron2"/>
    <dgm:cxn modelId="{B2D83F56-50DD-4AFC-BB77-F266B5C3115F}" srcId="{61781DFB-85F9-47BB-ABB6-EBD67CC7545F}" destId="{9CED6952-ED7B-41AB-8433-4C483096D51C}" srcOrd="0" destOrd="0" parTransId="{CC1A52A0-735D-4DE1-82B3-06BFEB1DB31C}" sibTransId="{C33F2FF2-016C-475B-AA1F-62E0A9B58DC8}"/>
    <dgm:cxn modelId="{C8A29579-E774-4B49-8CB2-7B2877DBDFCA}" type="presOf" srcId="{AF0A4DF5-FE68-47E3-920A-4B3D87967773}" destId="{9FD2F3C5-AF27-4524-BC62-0457B36EF273}" srcOrd="0" destOrd="1" presId="urn:microsoft.com/office/officeart/2005/8/layout/chevron2"/>
    <dgm:cxn modelId="{8222A47A-815C-4EB6-BB79-C988B856E35D}" type="presOf" srcId="{C3398BBA-1515-460D-BCD7-83248AAD75C9}" destId="{E7338295-CC63-4F2A-BED1-F4B9BBAE9CC1}" srcOrd="0" destOrd="1" presId="urn:microsoft.com/office/officeart/2005/8/layout/chevron2"/>
    <dgm:cxn modelId="{E2FEF989-5F85-4803-AC4E-AAD2E724DAD7}" type="presOf" srcId="{669EBD53-6541-4AAB-B832-62AB614E7C9B}" destId="{33BCF0A0-27B2-4F45-9EEF-C022BC40424E}" srcOrd="0" destOrd="2" presId="urn:microsoft.com/office/officeart/2005/8/layout/chevron2"/>
    <dgm:cxn modelId="{C716748A-26BC-40EE-AF70-68392158A098}" type="presOf" srcId="{90B8CA06-8E65-4387-B363-AED4F26709F6}" destId="{33BCF0A0-27B2-4F45-9EEF-C022BC40424E}" srcOrd="0" destOrd="1" presId="urn:microsoft.com/office/officeart/2005/8/layout/chevron2"/>
    <dgm:cxn modelId="{4789F296-A10A-43C8-8034-A8C0C6C8935C}" srcId="{61781DFB-85F9-47BB-ABB6-EBD67CC7545F}" destId="{BDA9BE1E-E92B-43A4-9EB9-83339920DDFF}" srcOrd="3" destOrd="0" parTransId="{78F3A067-9B6C-4C32-B22B-7257DC97B5F5}" sibTransId="{7EEFB0CA-9023-4992-BDD5-30160B7F6CFA}"/>
    <dgm:cxn modelId="{CB8B3997-5D49-40D7-B26B-957522435836}" srcId="{61781DFB-85F9-47BB-ABB6-EBD67CC7545F}" destId="{90B8CA06-8E65-4387-B363-AED4F26709F6}" srcOrd="1" destOrd="0" parTransId="{AE264B6A-7CFE-4638-97E0-61719058501C}" sibTransId="{7A63148A-DA7E-49B9-9858-F55AA928C1D3}"/>
    <dgm:cxn modelId="{5D57D599-410D-4F5F-9589-2EC7A73A392B}" type="presOf" srcId="{61781DFB-85F9-47BB-ABB6-EBD67CC7545F}" destId="{6876C323-97DD-45BE-8A57-C216227E87A0}" srcOrd="0" destOrd="0" presId="urn:microsoft.com/office/officeart/2005/8/layout/chevron2"/>
    <dgm:cxn modelId="{3D3041A4-318A-48E5-A888-330A217A4913}" type="presOf" srcId="{5F54AAF5-2529-45DA-B172-A19AE321F304}" destId="{4DD7229F-8124-49D4-AB41-287835075241}" srcOrd="0" destOrd="0" presId="urn:microsoft.com/office/officeart/2005/8/layout/chevron2"/>
    <dgm:cxn modelId="{D54CE5A4-C685-4978-9B43-795A28CBF9ED}" srcId="{476950A9-8A77-4B05-9745-E68D657690EC}" destId="{DF1EAEF9-051C-4F4F-AF5B-25D66C6F42B1}" srcOrd="2" destOrd="0" parTransId="{9F62B886-1036-460B-8A51-1A0D4BEE3003}" sibTransId="{D1A6BB31-B41F-4962-A36C-B6E8B6F25204}"/>
    <dgm:cxn modelId="{451CBDCE-2DD9-4634-8F7B-8C237F79BEF3}" srcId="{61781DFB-85F9-47BB-ABB6-EBD67CC7545F}" destId="{669EBD53-6541-4AAB-B832-62AB614E7C9B}" srcOrd="2" destOrd="0" parTransId="{5AF96B01-730E-4C8F-AE05-EA418F661D9D}" sibTransId="{F15585C6-36B8-4D49-AA9C-63CD3E2C9A4E}"/>
    <dgm:cxn modelId="{3B3E2FD3-A942-43BA-8C0E-26E6ED275EE3}" srcId="{476950A9-8A77-4B05-9745-E68D657690EC}" destId="{61781DFB-85F9-47BB-ABB6-EBD67CC7545F}" srcOrd="1" destOrd="0" parTransId="{AECB6151-E9DE-4B0F-BC6B-E5CD088600D1}" sibTransId="{46C7CEC8-48AA-4359-AEB7-90E5E90B504E}"/>
    <dgm:cxn modelId="{0FE9E0D4-BEB4-497D-AB91-EF8E64D035D1}" srcId="{DF1EAEF9-051C-4F4F-AF5B-25D66C6F42B1}" destId="{577A6327-0B8F-4F65-A150-07101F680218}" srcOrd="0" destOrd="0" parTransId="{F8AAA2ED-5400-40E4-98F6-556A07228584}" sibTransId="{D5EEF8B6-6440-4F78-8ADB-6FB325FC4D0B}"/>
    <dgm:cxn modelId="{53B6FBDD-7829-47B3-B4E6-8A4E426DB29E}" type="presOf" srcId="{DF1EAEF9-051C-4F4F-AF5B-25D66C6F42B1}" destId="{E80B5F3D-A622-4F80-839D-BC0C2417CD69}" srcOrd="0" destOrd="0" presId="urn:microsoft.com/office/officeart/2005/8/layout/chevron2"/>
    <dgm:cxn modelId="{0E7EF2E1-211A-46B8-8F3F-A65E1F1BEB48}" srcId="{476950A9-8A77-4B05-9745-E68D657690EC}" destId="{5F54AAF5-2529-45DA-B172-A19AE321F304}" srcOrd="0" destOrd="0" parTransId="{6AB2D274-5319-4F38-B978-E70D3B581468}" sibTransId="{0F36DB0A-964E-4985-95FB-5BC18FCD7BF2}"/>
    <dgm:cxn modelId="{7307F7EC-3F66-4AC4-8F9D-289BAB732157}" srcId="{DF1EAEF9-051C-4F4F-AF5B-25D66C6F42B1}" destId="{C3398BBA-1515-460D-BCD7-83248AAD75C9}" srcOrd="1" destOrd="0" parTransId="{7AECCB77-106B-4896-8358-656F2C369672}" sibTransId="{E872636F-31BC-40D2-9518-23F9701AF2A7}"/>
    <dgm:cxn modelId="{12CF32F2-8097-416F-A8D4-B3AE38270017}" type="presOf" srcId="{476950A9-8A77-4B05-9745-E68D657690EC}" destId="{FCC0B1A2-7C9D-4255-8E96-51835F8100FB}" srcOrd="0" destOrd="0" presId="urn:microsoft.com/office/officeart/2005/8/layout/chevron2"/>
    <dgm:cxn modelId="{4D1BC1BC-45CC-43C0-8C2C-619493CAAF84}" type="presParOf" srcId="{FCC0B1A2-7C9D-4255-8E96-51835F8100FB}" destId="{E94B6188-3ED9-4AB9-B548-C422C12A1115}" srcOrd="0" destOrd="0" presId="urn:microsoft.com/office/officeart/2005/8/layout/chevron2"/>
    <dgm:cxn modelId="{C503D893-BAB1-4379-80B6-007F680AC18C}" type="presParOf" srcId="{E94B6188-3ED9-4AB9-B548-C422C12A1115}" destId="{4DD7229F-8124-49D4-AB41-287835075241}" srcOrd="0" destOrd="0" presId="urn:microsoft.com/office/officeart/2005/8/layout/chevron2"/>
    <dgm:cxn modelId="{0A8BBA50-13DD-4487-A61C-00AFBF23234E}" type="presParOf" srcId="{E94B6188-3ED9-4AB9-B548-C422C12A1115}" destId="{9FD2F3C5-AF27-4524-BC62-0457B36EF273}" srcOrd="1" destOrd="0" presId="urn:microsoft.com/office/officeart/2005/8/layout/chevron2"/>
    <dgm:cxn modelId="{906DC1CB-BBD6-4257-A589-26C9FD5CFE18}" type="presParOf" srcId="{FCC0B1A2-7C9D-4255-8E96-51835F8100FB}" destId="{11B96B77-E21E-4C52-A634-584E3B525F88}" srcOrd="1" destOrd="0" presId="urn:microsoft.com/office/officeart/2005/8/layout/chevron2"/>
    <dgm:cxn modelId="{70C545B5-013C-441F-B14F-96CC4F5B20F5}" type="presParOf" srcId="{FCC0B1A2-7C9D-4255-8E96-51835F8100FB}" destId="{096A82DF-D6E0-4937-8206-D8C995E7C6A9}" srcOrd="2" destOrd="0" presId="urn:microsoft.com/office/officeart/2005/8/layout/chevron2"/>
    <dgm:cxn modelId="{0BEC6FC8-1432-44CD-AC63-1C64A7CC8703}" type="presParOf" srcId="{096A82DF-D6E0-4937-8206-D8C995E7C6A9}" destId="{6876C323-97DD-45BE-8A57-C216227E87A0}" srcOrd="0" destOrd="0" presId="urn:microsoft.com/office/officeart/2005/8/layout/chevron2"/>
    <dgm:cxn modelId="{E565B71C-2CF2-451C-BB20-CA5C6D0B899F}" type="presParOf" srcId="{096A82DF-D6E0-4937-8206-D8C995E7C6A9}" destId="{33BCF0A0-27B2-4F45-9EEF-C022BC40424E}" srcOrd="1" destOrd="0" presId="urn:microsoft.com/office/officeart/2005/8/layout/chevron2"/>
    <dgm:cxn modelId="{7F7664E8-8B35-4F24-9746-498CBD6C3EF6}" type="presParOf" srcId="{FCC0B1A2-7C9D-4255-8E96-51835F8100FB}" destId="{5409598E-7628-4D9D-B338-6976AF351CBD}" srcOrd="3" destOrd="0" presId="urn:microsoft.com/office/officeart/2005/8/layout/chevron2"/>
    <dgm:cxn modelId="{74671906-5B85-446C-A1FE-9100785D4039}" type="presParOf" srcId="{FCC0B1A2-7C9D-4255-8E96-51835F8100FB}" destId="{CA50FA59-1F2E-48F7-92D9-E7DEAE8D0172}" srcOrd="4" destOrd="0" presId="urn:microsoft.com/office/officeart/2005/8/layout/chevron2"/>
    <dgm:cxn modelId="{8DB4E9E9-E291-49CE-80A5-8E5B41AA5ADE}" type="presParOf" srcId="{CA50FA59-1F2E-48F7-92D9-E7DEAE8D0172}" destId="{E80B5F3D-A622-4F80-839D-BC0C2417CD69}" srcOrd="0" destOrd="0" presId="urn:microsoft.com/office/officeart/2005/8/layout/chevron2"/>
    <dgm:cxn modelId="{DB2EBE1F-0F53-46A0-BD40-485A6A71B7EE}" type="presParOf" srcId="{CA50FA59-1F2E-48F7-92D9-E7DEAE8D0172}" destId="{E7338295-CC63-4F2A-BED1-F4B9BBAE9CC1}"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76950A9-8A77-4B05-9745-E68D657690EC}" type="doc">
      <dgm:prSet loTypeId="urn:microsoft.com/office/officeart/2005/8/layout/chevron2" loCatId="process" qsTypeId="urn:microsoft.com/office/officeart/2005/8/quickstyle/3d4" qsCatId="3D" csTypeId="urn:microsoft.com/office/officeart/2005/8/colors/colorful3" csCatId="colorful" phldr="1"/>
      <dgm:spPr/>
      <dgm:t>
        <a:bodyPr/>
        <a:lstStyle/>
        <a:p>
          <a:endParaRPr lang="en-US"/>
        </a:p>
      </dgm:t>
    </dgm:pt>
    <dgm:pt modelId="{5F54AAF5-2529-45DA-B172-A19AE321F304}">
      <dgm:prSet phldrT="[Text]" phldr="0"/>
      <dgm:spPr/>
      <dgm:t>
        <a:bodyPr/>
        <a:lstStyle/>
        <a:p>
          <a:pPr rtl="0"/>
          <a:r>
            <a:rPr lang="en-US">
              <a:latin typeface="Arial" panose="020B0604020202020204"/>
            </a:rPr>
            <a:t>Datadog Limitation</a:t>
          </a:r>
          <a:endParaRPr lang="en-US"/>
        </a:p>
      </dgm:t>
    </dgm:pt>
    <dgm:pt modelId="{6AB2D274-5319-4F38-B978-E70D3B581468}" type="parTrans" cxnId="{0E7EF2E1-211A-46B8-8F3F-A65E1F1BEB48}">
      <dgm:prSet/>
      <dgm:spPr/>
      <dgm:t>
        <a:bodyPr/>
        <a:lstStyle/>
        <a:p>
          <a:endParaRPr lang="en-US"/>
        </a:p>
      </dgm:t>
    </dgm:pt>
    <dgm:pt modelId="{0F36DB0A-964E-4985-95FB-5BC18FCD7BF2}" type="sibTrans" cxnId="{0E7EF2E1-211A-46B8-8F3F-A65E1F1BEB48}">
      <dgm:prSet/>
      <dgm:spPr/>
      <dgm:t>
        <a:bodyPr/>
        <a:lstStyle/>
        <a:p>
          <a:endParaRPr lang="en-US"/>
        </a:p>
      </dgm:t>
    </dgm:pt>
    <dgm:pt modelId="{C46D5AAF-7327-461D-AA94-24799B32CCDB}">
      <dgm:prSet phldrT="[Text]" phldr="0"/>
      <dgm:spPr/>
      <dgm:t>
        <a:bodyPr/>
        <a:lstStyle/>
        <a:p>
          <a:pPr rtl="0"/>
          <a:r>
            <a:rPr lang="en-US" b="0">
              <a:solidFill>
                <a:schemeClr val="tx1"/>
              </a:solidFill>
              <a:latin typeface="Verdana Pro"/>
            </a:rPr>
            <a:t>Logs are tagged only by severity levels (Error, </a:t>
          </a:r>
          <a:r>
            <a:rPr lang="en-US">
              <a:solidFill>
                <a:schemeClr val="tx1"/>
              </a:solidFill>
              <a:latin typeface="Verdana Pro"/>
            </a:rPr>
            <a:t>Warning, Info)</a:t>
          </a:r>
        </a:p>
      </dgm:t>
    </dgm:pt>
    <dgm:pt modelId="{C42F0632-D76D-4261-91EB-559EE5A1CD5B}" type="parTrans" cxnId="{765F5548-37D8-49D5-88F5-68B0E4881E86}">
      <dgm:prSet/>
      <dgm:spPr/>
      <dgm:t>
        <a:bodyPr/>
        <a:lstStyle/>
        <a:p>
          <a:endParaRPr lang="en-US"/>
        </a:p>
      </dgm:t>
    </dgm:pt>
    <dgm:pt modelId="{EAB52E7A-0B48-4AB5-A786-FD8F5D22B2F7}" type="sibTrans" cxnId="{765F5548-37D8-49D5-88F5-68B0E4881E86}">
      <dgm:prSet/>
      <dgm:spPr/>
      <dgm:t>
        <a:bodyPr/>
        <a:lstStyle/>
        <a:p>
          <a:endParaRPr lang="en-US"/>
        </a:p>
      </dgm:t>
    </dgm:pt>
    <dgm:pt modelId="{61781DFB-85F9-47BB-ABB6-EBD67CC7545F}">
      <dgm:prSet phldrT="[Text]" phldr="0"/>
      <dgm:spPr/>
      <dgm:t>
        <a:bodyPr/>
        <a:lstStyle/>
        <a:p>
          <a:r>
            <a:rPr lang="en-US">
              <a:latin typeface="Arial" panose="020B0604020202020204"/>
            </a:rPr>
            <a:t>Solution</a:t>
          </a:r>
          <a:endParaRPr lang="en-US"/>
        </a:p>
      </dgm:t>
    </dgm:pt>
    <dgm:pt modelId="{AECB6151-E9DE-4B0F-BC6B-E5CD088600D1}" type="parTrans" cxnId="{3B3E2FD3-A942-43BA-8C0E-26E6ED275EE3}">
      <dgm:prSet/>
      <dgm:spPr/>
      <dgm:t>
        <a:bodyPr/>
        <a:lstStyle/>
        <a:p>
          <a:endParaRPr lang="en-US"/>
        </a:p>
      </dgm:t>
    </dgm:pt>
    <dgm:pt modelId="{46C7CEC8-48AA-4359-AEB7-90E5E90B504E}" type="sibTrans" cxnId="{3B3E2FD3-A942-43BA-8C0E-26E6ED275EE3}">
      <dgm:prSet/>
      <dgm:spPr/>
      <dgm:t>
        <a:bodyPr/>
        <a:lstStyle/>
        <a:p>
          <a:endParaRPr lang="en-US"/>
        </a:p>
      </dgm:t>
    </dgm:pt>
    <dgm:pt modelId="{669EBD53-6541-4AAB-B832-62AB614E7C9B}">
      <dgm:prSet phldrT="[Text]" phldr="0"/>
      <dgm:spPr/>
      <dgm:t>
        <a:bodyPr/>
        <a:lstStyle/>
        <a:p>
          <a:pPr algn="l"/>
          <a:r>
            <a:rPr lang="en-US">
              <a:solidFill>
                <a:schemeClr val="tx1">
                  <a:lumMod val="75000"/>
                  <a:lumOff val="25000"/>
                </a:schemeClr>
              </a:solidFill>
              <a:latin typeface="Verdana Pro"/>
            </a:rPr>
            <a:t>Analyze the specific content of log messages for enhanced categorization</a:t>
          </a:r>
          <a:endParaRPr lang="en-US"/>
        </a:p>
      </dgm:t>
    </dgm:pt>
    <dgm:pt modelId="{5AF96B01-730E-4C8F-AE05-EA418F661D9D}" type="parTrans" cxnId="{451CBDCE-2DD9-4634-8F7B-8C237F79BEF3}">
      <dgm:prSet/>
      <dgm:spPr/>
      <dgm:t>
        <a:bodyPr/>
        <a:lstStyle/>
        <a:p>
          <a:endParaRPr lang="en-US"/>
        </a:p>
      </dgm:t>
    </dgm:pt>
    <dgm:pt modelId="{F15585C6-36B8-4D49-AA9C-63CD3E2C9A4E}" type="sibTrans" cxnId="{451CBDCE-2DD9-4634-8F7B-8C237F79BEF3}">
      <dgm:prSet/>
      <dgm:spPr/>
      <dgm:t>
        <a:bodyPr/>
        <a:lstStyle/>
        <a:p>
          <a:endParaRPr lang="en-US"/>
        </a:p>
      </dgm:t>
    </dgm:pt>
    <dgm:pt modelId="{DF1EAEF9-051C-4F4F-AF5B-25D66C6F42B1}">
      <dgm:prSet phldrT="[Text]" phldr="0"/>
      <dgm:spPr/>
      <dgm:t>
        <a:bodyPr/>
        <a:lstStyle/>
        <a:p>
          <a:pPr rtl="0"/>
          <a:r>
            <a:rPr lang="en-US">
              <a:latin typeface="Arial" panose="020B0604020202020204"/>
            </a:rPr>
            <a:t> Benefits</a:t>
          </a:r>
          <a:endParaRPr lang="en-US"/>
        </a:p>
      </dgm:t>
    </dgm:pt>
    <dgm:pt modelId="{9F62B886-1036-460B-8A51-1A0D4BEE3003}" type="parTrans" cxnId="{D54CE5A4-C685-4978-9B43-795A28CBF9ED}">
      <dgm:prSet/>
      <dgm:spPr/>
      <dgm:t>
        <a:bodyPr/>
        <a:lstStyle/>
        <a:p>
          <a:endParaRPr lang="en-US"/>
        </a:p>
      </dgm:t>
    </dgm:pt>
    <dgm:pt modelId="{D1A6BB31-B41F-4962-A36C-B6E8B6F25204}" type="sibTrans" cxnId="{D54CE5A4-C685-4978-9B43-795A28CBF9ED}">
      <dgm:prSet/>
      <dgm:spPr/>
      <dgm:t>
        <a:bodyPr/>
        <a:lstStyle/>
        <a:p>
          <a:endParaRPr lang="en-US"/>
        </a:p>
      </dgm:t>
    </dgm:pt>
    <dgm:pt modelId="{577A6327-0B8F-4F65-A150-07101F680218}">
      <dgm:prSet phldrT="[Text]" phldr="0"/>
      <dgm:spPr/>
      <dgm:t>
        <a:bodyPr/>
        <a:lstStyle/>
        <a:p>
          <a:r>
            <a:rPr lang="en-US">
              <a:solidFill>
                <a:schemeClr val="tx1"/>
              </a:solidFill>
              <a:latin typeface="Verdana Pro"/>
            </a:rPr>
            <a:t>Enables context-aware categories that go beyond basic severity levels</a:t>
          </a:r>
        </a:p>
      </dgm:t>
    </dgm:pt>
    <dgm:pt modelId="{F8AAA2ED-5400-40E4-98F6-556A07228584}" type="parTrans" cxnId="{0FE9E0D4-BEB4-497D-AB91-EF8E64D035D1}">
      <dgm:prSet/>
      <dgm:spPr/>
      <dgm:t>
        <a:bodyPr/>
        <a:lstStyle/>
        <a:p>
          <a:endParaRPr lang="en-US"/>
        </a:p>
      </dgm:t>
    </dgm:pt>
    <dgm:pt modelId="{D5EEF8B6-6440-4F78-8ADB-6FB325FC4D0B}" type="sibTrans" cxnId="{0FE9E0D4-BEB4-497D-AB91-EF8E64D035D1}">
      <dgm:prSet/>
      <dgm:spPr/>
      <dgm:t>
        <a:bodyPr/>
        <a:lstStyle/>
        <a:p>
          <a:endParaRPr lang="en-US"/>
        </a:p>
      </dgm:t>
    </dgm:pt>
    <dgm:pt modelId="{9CED6952-ED7B-41AB-8433-4C483096D51C}">
      <dgm:prSet phldr="0"/>
      <dgm:spPr/>
      <dgm:t>
        <a:bodyPr/>
        <a:lstStyle/>
        <a:p>
          <a:pPr rtl="0"/>
          <a:r>
            <a:rPr lang="en-US" b="0">
              <a:latin typeface="Verdana Pro"/>
            </a:rPr>
            <a:t>Azure Cognitive Service</a:t>
          </a:r>
        </a:p>
      </dgm:t>
    </dgm:pt>
    <dgm:pt modelId="{CC1A52A0-735D-4DE1-82B3-06BFEB1DB31C}" type="parTrans" cxnId="{B2D83F56-50DD-4AFC-BB77-F266B5C3115F}">
      <dgm:prSet/>
      <dgm:spPr/>
    </dgm:pt>
    <dgm:pt modelId="{C33F2FF2-016C-475B-AA1F-62E0A9B58DC8}" type="sibTrans" cxnId="{B2D83F56-50DD-4AFC-BB77-F266B5C3115F}">
      <dgm:prSet/>
      <dgm:spPr/>
    </dgm:pt>
    <dgm:pt modelId="{C3398BBA-1515-460D-BCD7-83248AAD75C9}">
      <dgm:prSet phldr="0"/>
      <dgm:spPr/>
      <dgm:t>
        <a:bodyPr/>
        <a:lstStyle/>
        <a:p>
          <a:pPr rtl="0"/>
          <a:r>
            <a:rPr lang="en-US">
              <a:solidFill>
                <a:schemeClr val="tx1"/>
              </a:solidFill>
              <a:latin typeface="Verdana Pro"/>
            </a:rPr>
            <a:t>Provides direct insights within logs for quicker resolutions</a:t>
          </a:r>
        </a:p>
      </dgm:t>
    </dgm:pt>
    <dgm:pt modelId="{7AECCB77-106B-4896-8358-656F2C369672}" type="parTrans" cxnId="{7307F7EC-3F66-4AC4-8F9D-289BAB732157}">
      <dgm:prSet/>
      <dgm:spPr/>
    </dgm:pt>
    <dgm:pt modelId="{E872636F-31BC-40D2-9518-23F9701AF2A7}" type="sibTrans" cxnId="{7307F7EC-3F66-4AC4-8F9D-289BAB732157}">
      <dgm:prSet/>
      <dgm:spPr/>
    </dgm:pt>
    <dgm:pt modelId="{90B8CA06-8E65-4387-B363-AED4F26709F6}">
      <dgm:prSet phldr="0"/>
      <dgm:spPr/>
      <dgm:t>
        <a:bodyPr/>
        <a:lstStyle/>
        <a:p>
          <a:pPr algn="l" rtl="0"/>
          <a:r>
            <a:rPr lang="en-US">
              <a:solidFill>
                <a:schemeClr val="tx1">
                  <a:lumMod val="75000"/>
                  <a:lumOff val="25000"/>
                </a:schemeClr>
              </a:solidFill>
              <a:latin typeface="Verdana Pro"/>
            </a:rPr>
            <a:t>Implement custom log categories (e.g., Cache Error, Server Error, Connection Error)</a:t>
          </a:r>
          <a:endParaRPr lang="en-US">
            <a:solidFill>
              <a:srgbClr val="555555"/>
            </a:solidFill>
            <a:latin typeface="Verdana Pro"/>
          </a:endParaRPr>
        </a:p>
      </dgm:t>
    </dgm:pt>
    <dgm:pt modelId="{AE264B6A-7CFE-4638-97E0-61719058501C}" type="parTrans" cxnId="{CB8B3997-5D49-40D7-B26B-957522435836}">
      <dgm:prSet/>
      <dgm:spPr/>
    </dgm:pt>
    <dgm:pt modelId="{7A63148A-DA7E-49B9-9858-F55AA928C1D3}" type="sibTrans" cxnId="{CB8B3997-5D49-40D7-B26B-957522435836}">
      <dgm:prSet/>
      <dgm:spPr/>
    </dgm:pt>
    <dgm:pt modelId="{AF0A4DF5-FE68-47E3-920A-4B3D87967773}">
      <dgm:prSet phldr="0"/>
      <dgm:spPr/>
      <dgm:t>
        <a:bodyPr/>
        <a:lstStyle/>
        <a:p>
          <a:pPr rtl="0"/>
          <a:r>
            <a:rPr lang="en-US">
              <a:solidFill>
                <a:schemeClr val="tx1"/>
              </a:solidFill>
              <a:latin typeface="Verdana Pro"/>
            </a:rPr>
            <a:t>Lack of Context: No in-depth understanding of the impact or context of log messages</a:t>
          </a:r>
        </a:p>
      </dgm:t>
    </dgm:pt>
    <dgm:pt modelId="{CF57699A-200C-469D-AA68-54D498DC3E46}" type="parTrans" cxnId="{2EF0565F-E868-42C9-9E4B-37BF6475F0C6}">
      <dgm:prSet/>
      <dgm:spPr/>
    </dgm:pt>
    <dgm:pt modelId="{856CDC99-FB98-47B8-B8F4-A8147729B187}" type="sibTrans" cxnId="{2EF0565F-E868-42C9-9E4B-37BF6475F0C6}">
      <dgm:prSet/>
      <dgm:spPr/>
    </dgm:pt>
    <dgm:pt modelId="{BDA9BE1E-E92B-43A4-9EB9-83339920DDFF}">
      <dgm:prSet phldr="0"/>
      <dgm:spPr/>
      <dgm:t>
        <a:bodyPr/>
        <a:lstStyle/>
        <a:p>
          <a:pPr algn="l" rtl="0"/>
          <a:r>
            <a:rPr lang="en-US">
              <a:solidFill>
                <a:schemeClr val="tx1">
                  <a:lumMod val="75000"/>
                  <a:lumOff val="25000"/>
                </a:schemeClr>
              </a:solidFill>
              <a:latin typeface="Verdana Pro"/>
            </a:rPr>
            <a:t>Tag logs based on these analyses for better context</a:t>
          </a:r>
          <a:endParaRPr lang="en-US">
            <a:latin typeface="Verdana Pro"/>
          </a:endParaRPr>
        </a:p>
      </dgm:t>
    </dgm:pt>
    <dgm:pt modelId="{78F3A067-9B6C-4C32-B22B-7257DC97B5F5}" type="parTrans" cxnId="{4789F296-A10A-43C8-8034-A8C0C6C8935C}">
      <dgm:prSet/>
      <dgm:spPr/>
    </dgm:pt>
    <dgm:pt modelId="{7EEFB0CA-9023-4992-BDD5-30160B7F6CFA}" type="sibTrans" cxnId="{4789F296-A10A-43C8-8034-A8C0C6C8935C}">
      <dgm:prSet/>
      <dgm:spPr/>
    </dgm:pt>
    <dgm:pt modelId="{FCC0B1A2-7C9D-4255-8E96-51835F8100FB}" type="pres">
      <dgm:prSet presAssocID="{476950A9-8A77-4B05-9745-E68D657690EC}" presName="linearFlow" presStyleCnt="0">
        <dgm:presLayoutVars>
          <dgm:dir/>
          <dgm:animLvl val="lvl"/>
          <dgm:resizeHandles val="exact"/>
        </dgm:presLayoutVars>
      </dgm:prSet>
      <dgm:spPr/>
    </dgm:pt>
    <dgm:pt modelId="{E94B6188-3ED9-4AB9-B548-C422C12A1115}" type="pres">
      <dgm:prSet presAssocID="{5F54AAF5-2529-45DA-B172-A19AE321F304}" presName="composite" presStyleCnt="0"/>
      <dgm:spPr/>
    </dgm:pt>
    <dgm:pt modelId="{4DD7229F-8124-49D4-AB41-287835075241}" type="pres">
      <dgm:prSet presAssocID="{5F54AAF5-2529-45DA-B172-A19AE321F304}" presName="parentText" presStyleLbl="alignNode1" presStyleIdx="0" presStyleCnt="3">
        <dgm:presLayoutVars>
          <dgm:chMax val="1"/>
          <dgm:bulletEnabled val="1"/>
        </dgm:presLayoutVars>
      </dgm:prSet>
      <dgm:spPr/>
    </dgm:pt>
    <dgm:pt modelId="{9FD2F3C5-AF27-4524-BC62-0457B36EF273}" type="pres">
      <dgm:prSet presAssocID="{5F54AAF5-2529-45DA-B172-A19AE321F304}" presName="descendantText" presStyleLbl="alignAcc1" presStyleIdx="0" presStyleCnt="3">
        <dgm:presLayoutVars>
          <dgm:bulletEnabled val="1"/>
        </dgm:presLayoutVars>
      </dgm:prSet>
      <dgm:spPr/>
    </dgm:pt>
    <dgm:pt modelId="{11B96B77-E21E-4C52-A634-584E3B525F88}" type="pres">
      <dgm:prSet presAssocID="{0F36DB0A-964E-4985-95FB-5BC18FCD7BF2}" presName="sp" presStyleCnt="0"/>
      <dgm:spPr/>
    </dgm:pt>
    <dgm:pt modelId="{096A82DF-D6E0-4937-8206-D8C995E7C6A9}" type="pres">
      <dgm:prSet presAssocID="{61781DFB-85F9-47BB-ABB6-EBD67CC7545F}" presName="composite" presStyleCnt="0"/>
      <dgm:spPr/>
    </dgm:pt>
    <dgm:pt modelId="{6876C323-97DD-45BE-8A57-C216227E87A0}" type="pres">
      <dgm:prSet presAssocID="{61781DFB-85F9-47BB-ABB6-EBD67CC7545F}" presName="parentText" presStyleLbl="alignNode1" presStyleIdx="1" presStyleCnt="3">
        <dgm:presLayoutVars>
          <dgm:chMax val="1"/>
          <dgm:bulletEnabled val="1"/>
        </dgm:presLayoutVars>
      </dgm:prSet>
      <dgm:spPr/>
    </dgm:pt>
    <dgm:pt modelId="{33BCF0A0-27B2-4F45-9EEF-C022BC40424E}" type="pres">
      <dgm:prSet presAssocID="{61781DFB-85F9-47BB-ABB6-EBD67CC7545F}" presName="descendantText" presStyleLbl="alignAcc1" presStyleIdx="1" presStyleCnt="3">
        <dgm:presLayoutVars>
          <dgm:bulletEnabled val="1"/>
        </dgm:presLayoutVars>
      </dgm:prSet>
      <dgm:spPr/>
    </dgm:pt>
    <dgm:pt modelId="{5409598E-7628-4D9D-B338-6976AF351CBD}" type="pres">
      <dgm:prSet presAssocID="{46C7CEC8-48AA-4359-AEB7-90E5E90B504E}" presName="sp" presStyleCnt="0"/>
      <dgm:spPr/>
    </dgm:pt>
    <dgm:pt modelId="{CA50FA59-1F2E-48F7-92D9-E7DEAE8D0172}" type="pres">
      <dgm:prSet presAssocID="{DF1EAEF9-051C-4F4F-AF5B-25D66C6F42B1}" presName="composite" presStyleCnt="0"/>
      <dgm:spPr/>
    </dgm:pt>
    <dgm:pt modelId="{E80B5F3D-A622-4F80-839D-BC0C2417CD69}" type="pres">
      <dgm:prSet presAssocID="{DF1EAEF9-051C-4F4F-AF5B-25D66C6F42B1}" presName="parentText" presStyleLbl="alignNode1" presStyleIdx="2" presStyleCnt="3">
        <dgm:presLayoutVars>
          <dgm:chMax val="1"/>
          <dgm:bulletEnabled val="1"/>
        </dgm:presLayoutVars>
      </dgm:prSet>
      <dgm:spPr/>
    </dgm:pt>
    <dgm:pt modelId="{E7338295-CC63-4F2A-BED1-F4B9BBAE9CC1}" type="pres">
      <dgm:prSet presAssocID="{DF1EAEF9-051C-4F4F-AF5B-25D66C6F42B1}" presName="descendantText" presStyleLbl="alignAcc1" presStyleIdx="2" presStyleCnt="3">
        <dgm:presLayoutVars>
          <dgm:bulletEnabled val="1"/>
        </dgm:presLayoutVars>
      </dgm:prSet>
      <dgm:spPr/>
    </dgm:pt>
  </dgm:ptLst>
  <dgm:cxnLst>
    <dgm:cxn modelId="{3BB6B91E-DDEE-4B47-A0F9-396EC4F294CF}" type="presOf" srcId="{BDA9BE1E-E92B-43A4-9EB9-83339920DDFF}" destId="{33BCF0A0-27B2-4F45-9EEF-C022BC40424E}" srcOrd="0" destOrd="3" presId="urn:microsoft.com/office/officeart/2005/8/layout/chevron2"/>
    <dgm:cxn modelId="{B053E629-6A4B-4C1F-920A-E0752B50EA4A}" type="presOf" srcId="{577A6327-0B8F-4F65-A150-07101F680218}" destId="{E7338295-CC63-4F2A-BED1-F4B9BBAE9CC1}" srcOrd="0" destOrd="0" presId="urn:microsoft.com/office/officeart/2005/8/layout/chevron2"/>
    <dgm:cxn modelId="{2EF0565F-E868-42C9-9E4B-37BF6475F0C6}" srcId="{5F54AAF5-2529-45DA-B172-A19AE321F304}" destId="{AF0A4DF5-FE68-47E3-920A-4B3D87967773}" srcOrd="1" destOrd="0" parTransId="{CF57699A-200C-469D-AA68-54D498DC3E46}" sibTransId="{856CDC99-FB98-47B8-B8F4-A8147729B187}"/>
    <dgm:cxn modelId="{765F5548-37D8-49D5-88F5-68B0E4881E86}" srcId="{5F54AAF5-2529-45DA-B172-A19AE321F304}" destId="{C46D5AAF-7327-461D-AA94-24799B32CCDB}" srcOrd="0" destOrd="0" parTransId="{C42F0632-D76D-4261-91EB-559EE5A1CD5B}" sibTransId="{EAB52E7A-0B48-4AB5-A786-FD8F5D22B2F7}"/>
    <dgm:cxn modelId="{EFF00771-BC81-4FBD-AF61-364157CE1EF9}" type="presOf" srcId="{9CED6952-ED7B-41AB-8433-4C483096D51C}" destId="{33BCF0A0-27B2-4F45-9EEF-C022BC40424E}" srcOrd="0" destOrd="0" presId="urn:microsoft.com/office/officeart/2005/8/layout/chevron2"/>
    <dgm:cxn modelId="{75EC1E56-ACD3-435B-BBC2-AE8F307C5B53}" type="presOf" srcId="{C46D5AAF-7327-461D-AA94-24799B32CCDB}" destId="{9FD2F3C5-AF27-4524-BC62-0457B36EF273}" srcOrd="0" destOrd="0" presId="urn:microsoft.com/office/officeart/2005/8/layout/chevron2"/>
    <dgm:cxn modelId="{B2D83F56-50DD-4AFC-BB77-F266B5C3115F}" srcId="{61781DFB-85F9-47BB-ABB6-EBD67CC7545F}" destId="{9CED6952-ED7B-41AB-8433-4C483096D51C}" srcOrd="0" destOrd="0" parTransId="{CC1A52A0-735D-4DE1-82B3-06BFEB1DB31C}" sibTransId="{C33F2FF2-016C-475B-AA1F-62E0A9B58DC8}"/>
    <dgm:cxn modelId="{C8A29579-E774-4B49-8CB2-7B2877DBDFCA}" type="presOf" srcId="{AF0A4DF5-FE68-47E3-920A-4B3D87967773}" destId="{9FD2F3C5-AF27-4524-BC62-0457B36EF273}" srcOrd="0" destOrd="1" presId="urn:microsoft.com/office/officeart/2005/8/layout/chevron2"/>
    <dgm:cxn modelId="{8222A47A-815C-4EB6-BB79-C988B856E35D}" type="presOf" srcId="{C3398BBA-1515-460D-BCD7-83248AAD75C9}" destId="{E7338295-CC63-4F2A-BED1-F4B9BBAE9CC1}" srcOrd="0" destOrd="1" presId="urn:microsoft.com/office/officeart/2005/8/layout/chevron2"/>
    <dgm:cxn modelId="{E2FEF989-5F85-4803-AC4E-AAD2E724DAD7}" type="presOf" srcId="{669EBD53-6541-4AAB-B832-62AB614E7C9B}" destId="{33BCF0A0-27B2-4F45-9EEF-C022BC40424E}" srcOrd="0" destOrd="2" presId="urn:microsoft.com/office/officeart/2005/8/layout/chevron2"/>
    <dgm:cxn modelId="{C716748A-26BC-40EE-AF70-68392158A098}" type="presOf" srcId="{90B8CA06-8E65-4387-B363-AED4F26709F6}" destId="{33BCF0A0-27B2-4F45-9EEF-C022BC40424E}" srcOrd="0" destOrd="1" presId="urn:microsoft.com/office/officeart/2005/8/layout/chevron2"/>
    <dgm:cxn modelId="{4789F296-A10A-43C8-8034-A8C0C6C8935C}" srcId="{61781DFB-85F9-47BB-ABB6-EBD67CC7545F}" destId="{BDA9BE1E-E92B-43A4-9EB9-83339920DDFF}" srcOrd="3" destOrd="0" parTransId="{78F3A067-9B6C-4C32-B22B-7257DC97B5F5}" sibTransId="{7EEFB0CA-9023-4992-BDD5-30160B7F6CFA}"/>
    <dgm:cxn modelId="{CB8B3997-5D49-40D7-B26B-957522435836}" srcId="{61781DFB-85F9-47BB-ABB6-EBD67CC7545F}" destId="{90B8CA06-8E65-4387-B363-AED4F26709F6}" srcOrd="1" destOrd="0" parTransId="{AE264B6A-7CFE-4638-97E0-61719058501C}" sibTransId="{7A63148A-DA7E-49B9-9858-F55AA928C1D3}"/>
    <dgm:cxn modelId="{5D57D599-410D-4F5F-9589-2EC7A73A392B}" type="presOf" srcId="{61781DFB-85F9-47BB-ABB6-EBD67CC7545F}" destId="{6876C323-97DD-45BE-8A57-C216227E87A0}" srcOrd="0" destOrd="0" presId="urn:microsoft.com/office/officeart/2005/8/layout/chevron2"/>
    <dgm:cxn modelId="{3D3041A4-318A-48E5-A888-330A217A4913}" type="presOf" srcId="{5F54AAF5-2529-45DA-B172-A19AE321F304}" destId="{4DD7229F-8124-49D4-AB41-287835075241}" srcOrd="0" destOrd="0" presId="urn:microsoft.com/office/officeart/2005/8/layout/chevron2"/>
    <dgm:cxn modelId="{D54CE5A4-C685-4978-9B43-795A28CBF9ED}" srcId="{476950A9-8A77-4B05-9745-E68D657690EC}" destId="{DF1EAEF9-051C-4F4F-AF5B-25D66C6F42B1}" srcOrd="2" destOrd="0" parTransId="{9F62B886-1036-460B-8A51-1A0D4BEE3003}" sibTransId="{D1A6BB31-B41F-4962-A36C-B6E8B6F25204}"/>
    <dgm:cxn modelId="{451CBDCE-2DD9-4634-8F7B-8C237F79BEF3}" srcId="{61781DFB-85F9-47BB-ABB6-EBD67CC7545F}" destId="{669EBD53-6541-4AAB-B832-62AB614E7C9B}" srcOrd="2" destOrd="0" parTransId="{5AF96B01-730E-4C8F-AE05-EA418F661D9D}" sibTransId="{F15585C6-36B8-4D49-AA9C-63CD3E2C9A4E}"/>
    <dgm:cxn modelId="{3B3E2FD3-A942-43BA-8C0E-26E6ED275EE3}" srcId="{476950A9-8A77-4B05-9745-E68D657690EC}" destId="{61781DFB-85F9-47BB-ABB6-EBD67CC7545F}" srcOrd="1" destOrd="0" parTransId="{AECB6151-E9DE-4B0F-BC6B-E5CD088600D1}" sibTransId="{46C7CEC8-48AA-4359-AEB7-90E5E90B504E}"/>
    <dgm:cxn modelId="{0FE9E0D4-BEB4-497D-AB91-EF8E64D035D1}" srcId="{DF1EAEF9-051C-4F4F-AF5B-25D66C6F42B1}" destId="{577A6327-0B8F-4F65-A150-07101F680218}" srcOrd="0" destOrd="0" parTransId="{F8AAA2ED-5400-40E4-98F6-556A07228584}" sibTransId="{D5EEF8B6-6440-4F78-8ADB-6FB325FC4D0B}"/>
    <dgm:cxn modelId="{53B6FBDD-7829-47B3-B4E6-8A4E426DB29E}" type="presOf" srcId="{DF1EAEF9-051C-4F4F-AF5B-25D66C6F42B1}" destId="{E80B5F3D-A622-4F80-839D-BC0C2417CD69}" srcOrd="0" destOrd="0" presId="urn:microsoft.com/office/officeart/2005/8/layout/chevron2"/>
    <dgm:cxn modelId="{0E7EF2E1-211A-46B8-8F3F-A65E1F1BEB48}" srcId="{476950A9-8A77-4B05-9745-E68D657690EC}" destId="{5F54AAF5-2529-45DA-B172-A19AE321F304}" srcOrd="0" destOrd="0" parTransId="{6AB2D274-5319-4F38-B978-E70D3B581468}" sibTransId="{0F36DB0A-964E-4985-95FB-5BC18FCD7BF2}"/>
    <dgm:cxn modelId="{7307F7EC-3F66-4AC4-8F9D-289BAB732157}" srcId="{DF1EAEF9-051C-4F4F-AF5B-25D66C6F42B1}" destId="{C3398BBA-1515-460D-BCD7-83248AAD75C9}" srcOrd="1" destOrd="0" parTransId="{7AECCB77-106B-4896-8358-656F2C369672}" sibTransId="{E872636F-31BC-40D2-9518-23F9701AF2A7}"/>
    <dgm:cxn modelId="{12CF32F2-8097-416F-A8D4-B3AE38270017}" type="presOf" srcId="{476950A9-8A77-4B05-9745-E68D657690EC}" destId="{FCC0B1A2-7C9D-4255-8E96-51835F8100FB}" srcOrd="0" destOrd="0" presId="urn:microsoft.com/office/officeart/2005/8/layout/chevron2"/>
    <dgm:cxn modelId="{4D1BC1BC-45CC-43C0-8C2C-619493CAAF84}" type="presParOf" srcId="{FCC0B1A2-7C9D-4255-8E96-51835F8100FB}" destId="{E94B6188-3ED9-4AB9-B548-C422C12A1115}" srcOrd="0" destOrd="0" presId="urn:microsoft.com/office/officeart/2005/8/layout/chevron2"/>
    <dgm:cxn modelId="{C503D893-BAB1-4379-80B6-007F680AC18C}" type="presParOf" srcId="{E94B6188-3ED9-4AB9-B548-C422C12A1115}" destId="{4DD7229F-8124-49D4-AB41-287835075241}" srcOrd="0" destOrd="0" presId="urn:microsoft.com/office/officeart/2005/8/layout/chevron2"/>
    <dgm:cxn modelId="{0A8BBA50-13DD-4487-A61C-00AFBF23234E}" type="presParOf" srcId="{E94B6188-3ED9-4AB9-B548-C422C12A1115}" destId="{9FD2F3C5-AF27-4524-BC62-0457B36EF273}" srcOrd="1" destOrd="0" presId="urn:microsoft.com/office/officeart/2005/8/layout/chevron2"/>
    <dgm:cxn modelId="{906DC1CB-BBD6-4257-A589-26C9FD5CFE18}" type="presParOf" srcId="{FCC0B1A2-7C9D-4255-8E96-51835F8100FB}" destId="{11B96B77-E21E-4C52-A634-584E3B525F88}" srcOrd="1" destOrd="0" presId="urn:microsoft.com/office/officeart/2005/8/layout/chevron2"/>
    <dgm:cxn modelId="{70C545B5-013C-441F-B14F-96CC4F5B20F5}" type="presParOf" srcId="{FCC0B1A2-7C9D-4255-8E96-51835F8100FB}" destId="{096A82DF-D6E0-4937-8206-D8C995E7C6A9}" srcOrd="2" destOrd="0" presId="urn:microsoft.com/office/officeart/2005/8/layout/chevron2"/>
    <dgm:cxn modelId="{0BEC6FC8-1432-44CD-AC63-1C64A7CC8703}" type="presParOf" srcId="{096A82DF-D6E0-4937-8206-D8C995E7C6A9}" destId="{6876C323-97DD-45BE-8A57-C216227E87A0}" srcOrd="0" destOrd="0" presId="urn:microsoft.com/office/officeart/2005/8/layout/chevron2"/>
    <dgm:cxn modelId="{E565B71C-2CF2-451C-BB20-CA5C6D0B899F}" type="presParOf" srcId="{096A82DF-D6E0-4937-8206-D8C995E7C6A9}" destId="{33BCF0A0-27B2-4F45-9EEF-C022BC40424E}" srcOrd="1" destOrd="0" presId="urn:microsoft.com/office/officeart/2005/8/layout/chevron2"/>
    <dgm:cxn modelId="{7F7664E8-8B35-4F24-9746-498CBD6C3EF6}" type="presParOf" srcId="{FCC0B1A2-7C9D-4255-8E96-51835F8100FB}" destId="{5409598E-7628-4D9D-B338-6976AF351CBD}" srcOrd="3" destOrd="0" presId="urn:microsoft.com/office/officeart/2005/8/layout/chevron2"/>
    <dgm:cxn modelId="{74671906-5B85-446C-A1FE-9100785D4039}" type="presParOf" srcId="{FCC0B1A2-7C9D-4255-8E96-51835F8100FB}" destId="{CA50FA59-1F2E-48F7-92D9-E7DEAE8D0172}" srcOrd="4" destOrd="0" presId="urn:microsoft.com/office/officeart/2005/8/layout/chevron2"/>
    <dgm:cxn modelId="{8DB4E9E9-E291-49CE-80A5-8E5B41AA5ADE}" type="presParOf" srcId="{CA50FA59-1F2E-48F7-92D9-E7DEAE8D0172}" destId="{E80B5F3D-A622-4F80-839D-BC0C2417CD69}" srcOrd="0" destOrd="0" presId="urn:microsoft.com/office/officeart/2005/8/layout/chevron2"/>
    <dgm:cxn modelId="{DB2EBE1F-0F53-46A0-BD40-485A6A71B7EE}" type="presParOf" srcId="{CA50FA59-1F2E-48F7-92D9-E7DEAE8D0172}" destId="{E7338295-CC63-4F2A-BED1-F4B9BBAE9CC1}"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76950A9-8A77-4B05-9745-E68D657690EC}" type="doc">
      <dgm:prSet loTypeId="urn:microsoft.com/office/officeart/2005/8/layout/chevron2" loCatId="process" qsTypeId="urn:microsoft.com/office/officeart/2005/8/quickstyle/3d4" qsCatId="3D" csTypeId="urn:microsoft.com/office/officeart/2005/8/colors/colorful3" csCatId="colorful" phldr="1"/>
      <dgm:spPr/>
      <dgm:t>
        <a:bodyPr/>
        <a:lstStyle/>
        <a:p>
          <a:endParaRPr lang="en-US"/>
        </a:p>
      </dgm:t>
    </dgm:pt>
    <dgm:pt modelId="{5F54AAF5-2529-45DA-B172-A19AE321F304}">
      <dgm:prSet phldrT="[Text]" phldr="0"/>
      <dgm:spPr/>
      <dgm:t>
        <a:bodyPr/>
        <a:lstStyle/>
        <a:p>
          <a:pPr rtl="0"/>
          <a:r>
            <a:rPr lang="en-US">
              <a:latin typeface="Arial" panose="020B0604020202020204"/>
            </a:rPr>
            <a:t>Datadog Limitation</a:t>
          </a:r>
          <a:endParaRPr lang="en-US"/>
        </a:p>
      </dgm:t>
    </dgm:pt>
    <dgm:pt modelId="{6AB2D274-5319-4F38-B978-E70D3B581468}" type="parTrans" cxnId="{0E7EF2E1-211A-46B8-8F3F-A65E1F1BEB48}">
      <dgm:prSet/>
      <dgm:spPr/>
      <dgm:t>
        <a:bodyPr/>
        <a:lstStyle/>
        <a:p>
          <a:endParaRPr lang="en-US"/>
        </a:p>
      </dgm:t>
    </dgm:pt>
    <dgm:pt modelId="{0F36DB0A-964E-4985-95FB-5BC18FCD7BF2}" type="sibTrans" cxnId="{0E7EF2E1-211A-46B8-8F3F-A65E1F1BEB48}">
      <dgm:prSet/>
      <dgm:spPr/>
      <dgm:t>
        <a:bodyPr/>
        <a:lstStyle/>
        <a:p>
          <a:endParaRPr lang="en-US"/>
        </a:p>
      </dgm:t>
    </dgm:pt>
    <dgm:pt modelId="{C46D5AAF-7327-461D-AA94-24799B32CCDB}">
      <dgm:prSet phldrT="[Text]" phldr="0"/>
      <dgm:spPr/>
      <dgm:t>
        <a:bodyPr/>
        <a:lstStyle/>
        <a:p>
          <a:pPr rtl="0"/>
          <a:r>
            <a:rPr lang="en-US" b="0">
              <a:solidFill>
                <a:schemeClr val="tx1">
                  <a:lumMod val="75000"/>
                  <a:lumOff val="25000"/>
                </a:schemeClr>
              </a:solidFill>
              <a:latin typeface="Arial"/>
              <a:cs typeface="Arial"/>
            </a:rPr>
            <a:t>Grouping logs by user email across services </a:t>
          </a:r>
          <a:r>
            <a:rPr lang="en-US">
              <a:solidFill>
                <a:schemeClr val="tx1">
                  <a:lumMod val="75000"/>
                  <a:lumOff val="25000"/>
                </a:schemeClr>
              </a:solidFill>
              <a:latin typeface="Arial"/>
              <a:cs typeface="Arial"/>
            </a:rPr>
            <a:t>is not possible in Datadog</a:t>
          </a:r>
        </a:p>
      </dgm:t>
    </dgm:pt>
    <dgm:pt modelId="{C42F0632-D76D-4261-91EB-559EE5A1CD5B}" type="parTrans" cxnId="{765F5548-37D8-49D5-88F5-68B0E4881E86}">
      <dgm:prSet/>
      <dgm:spPr/>
      <dgm:t>
        <a:bodyPr/>
        <a:lstStyle/>
        <a:p>
          <a:endParaRPr lang="en-US"/>
        </a:p>
      </dgm:t>
    </dgm:pt>
    <dgm:pt modelId="{EAB52E7A-0B48-4AB5-A786-FD8F5D22B2F7}" type="sibTrans" cxnId="{765F5548-37D8-49D5-88F5-68B0E4881E86}">
      <dgm:prSet/>
      <dgm:spPr/>
      <dgm:t>
        <a:bodyPr/>
        <a:lstStyle/>
        <a:p>
          <a:endParaRPr lang="en-US"/>
        </a:p>
      </dgm:t>
    </dgm:pt>
    <dgm:pt modelId="{D3C43B36-90C5-436A-A326-8EA37F2720F0}">
      <dgm:prSet phldrT="[Text]" phldr="0"/>
      <dgm:spPr/>
      <dgm:t>
        <a:bodyPr/>
        <a:lstStyle/>
        <a:p>
          <a:pPr rtl="0"/>
          <a:r>
            <a:rPr lang="en-US">
              <a:solidFill>
                <a:schemeClr val="tx1">
                  <a:lumMod val="75000"/>
                  <a:lumOff val="25000"/>
                </a:schemeClr>
              </a:solidFill>
              <a:latin typeface="Arial"/>
              <a:cs typeface="Arial"/>
            </a:rPr>
            <a:t>It relies on transaction IDs, and few logs contain user email information</a:t>
          </a:r>
        </a:p>
      </dgm:t>
    </dgm:pt>
    <dgm:pt modelId="{C195524D-B256-4A26-94B7-AE116C2D50F0}" type="parTrans" cxnId="{0489E79B-384F-492B-A4A1-690CB2CECFDE}">
      <dgm:prSet/>
      <dgm:spPr/>
      <dgm:t>
        <a:bodyPr/>
        <a:lstStyle/>
        <a:p>
          <a:endParaRPr lang="en-US"/>
        </a:p>
      </dgm:t>
    </dgm:pt>
    <dgm:pt modelId="{00295111-DCD4-49E0-A5A7-61F4A83455F9}" type="sibTrans" cxnId="{0489E79B-384F-492B-A4A1-690CB2CECFDE}">
      <dgm:prSet/>
      <dgm:spPr/>
      <dgm:t>
        <a:bodyPr/>
        <a:lstStyle/>
        <a:p>
          <a:endParaRPr lang="en-US"/>
        </a:p>
      </dgm:t>
    </dgm:pt>
    <dgm:pt modelId="{61781DFB-85F9-47BB-ABB6-EBD67CC7545F}">
      <dgm:prSet phldrT="[Text]" phldr="0"/>
      <dgm:spPr/>
      <dgm:t>
        <a:bodyPr/>
        <a:lstStyle/>
        <a:p>
          <a:r>
            <a:rPr lang="en-US">
              <a:latin typeface="Arial" panose="020B0604020202020204"/>
            </a:rPr>
            <a:t>Solution</a:t>
          </a:r>
          <a:endParaRPr lang="en-US"/>
        </a:p>
      </dgm:t>
    </dgm:pt>
    <dgm:pt modelId="{AECB6151-E9DE-4B0F-BC6B-E5CD088600D1}" type="parTrans" cxnId="{3B3E2FD3-A942-43BA-8C0E-26E6ED275EE3}">
      <dgm:prSet/>
      <dgm:spPr/>
      <dgm:t>
        <a:bodyPr/>
        <a:lstStyle/>
        <a:p>
          <a:endParaRPr lang="en-US"/>
        </a:p>
      </dgm:t>
    </dgm:pt>
    <dgm:pt modelId="{46C7CEC8-48AA-4359-AEB7-90E5E90B504E}" type="sibTrans" cxnId="{3B3E2FD3-A942-43BA-8C0E-26E6ED275EE3}">
      <dgm:prSet/>
      <dgm:spPr/>
      <dgm:t>
        <a:bodyPr/>
        <a:lstStyle/>
        <a:p>
          <a:endParaRPr lang="en-US"/>
        </a:p>
      </dgm:t>
    </dgm:pt>
    <dgm:pt modelId="{68C2C2F3-0996-4CCF-A5AA-4951477340D4}">
      <dgm:prSet phldrT="[Text]" phldr="0"/>
      <dgm:spPr/>
      <dgm:t>
        <a:bodyPr/>
        <a:lstStyle/>
        <a:p>
          <a:r>
            <a:rPr lang="en-US">
              <a:solidFill>
                <a:schemeClr val="tx1">
                  <a:lumMod val="75000"/>
                  <a:lumOff val="25000"/>
                </a:schemeClr>
              </a:solidFill>
              <a:latin typeface="Arial"/>
              <a:cs typeface="Arial"/>
            </a:rPr>
            <a:t>Azure Cognitive Services groups logs based on user email, enabling better tracking across services.</a:t>
          </a:r>
        </a:p>
      </dgm:t>
    </dgm:pt>
    <dgm:pt modelId="{2853C901-0003-452B-A693-4E61E8DEDA6A}" type="parTrans" cxnId="{33267CBF-9166-4146-B8AD-FA91479AE326}">
      <dgm:prSet/>
      <dgm:spPr/>
      <dgm:t>
        <a:bodyPr/>
        <a:lstStyle/>
        <a:p>
          <a:endParaRPr lang="en-US"/>
        </a:p>
      </dgm:t>
    </dgm:pt>
    <dgm:pt modelId="{AFB5E7BF-27E8-462E-8D84-4956AC32B908}" type="sibTrans" cxnId="{33267CBF-9166-4146-B8AD-FA91479AE326}">
      <dgm:prSet/>
      <dgm:spPr/>
      <dgm:t>
        <a:bodyPr/>
        <a:lstStyle/>
        <a:p>
          <a:endParaRPr lang="en-US"/>
        </a:p>
      </dgm:t>
    </dgm:pt>
    <dgm:pt modelId="{DF1EAEF9-051C-4F4F-AF5B-25D66C6F42B1}">
      <dgm:prSet phldrT="[Text]" phldr="0"/>
      <dgm:spPr/>
      <dgm:t>
        <a:bodyPr/>
        <a:lstStyle/>
        <a:p>
          <a:pPr rtl="0"/>
          <a:r>
            <a:rPr lang="en-US">
              <a:latin typeface="Arial" panose="020B0604020202020204"/>
            </a:rPr>
            <a:t> Benefits</a:t>
          </a:r>
          <a:endParaRPr lang="en-US"/>
        </a:p>
      </dgm:t>
    </dgm:pt>
    <dgm:pt modelId="{9F62B886-1036-460B-8A51-1A0D4BEE3003}" type="parTrans" cxnId="{D54CE5A4-C685-4978-9B43-795A28CBF9ED}">
      <dgm:prSet/>
      <dgm:spPr/>
      <dgm:t>
        <a:bodyPr/>
        <a:lstStyle/>
        <a:p>
          <a:endParaRPr lang="en-US"/>
        </a:p>
      </dgm:t>
    </dgm:pt>
    <dgm:pt modelId="{D1A6BB31-B41F-4962-A36C-B6E8B6F25204}" type="sibTrans" cxnId="{D54CE5A4-C685-4978-9B43-795A28CBF9ED}">
      <dgm:prSet/>
      <dgm:spPr/>
      <dgm:t>
        <a:bodyPr/>
        <a:lstStyle/>
        <a:p>
          <a:endParaRPr lang="en-US"/>
        </a:p>
      </dgm:t>
    </dgm:pt>
    <dgm:pt modelId="{577A6327-0B8F-4F65-A150-07101F680218}">
      <dgm:prSet phldrT="[Text]" phldr="0"/>
      <dgm:spPr/>
      <dgm:t>
        <a:bodyPr/>
        <a:lstStyle/>
        <a:p>
          <a:pPr rtl="0"/>
          <a:r>
            <a:rPr lang="en-US">
              <a:latin typeface="Verdana Pro"/>
            </a:rPr>
            <a:t>Accelerates root cause identification by clustering related logs automatically </a:t>
          </a:r>
        </a:p>
      </dgm:t>
    </dgm:pt>
    <dgm:pt modelId="{F8AAA2ED-5400-40E4-98F6-556A07228584}" type="parTrans" cxnId="{0FE9E0D4-BEB4-497D-AB91-EF8E64D035D1}">
      <dgm:prSet/>
      <dgm:spPr/>
      <dgm:t>
        <a:bodyPr/>
        <a:lstStyle/>
        <a:p>
          <a:endParaRPr lang="en-US"/>
        </a:p>
      </dgm:t>
    </dgm:pt>
    <dgm:pt modelId="{D5EEF8B6-6440-4F78-8ADB-6FB325FC4D0B}" type="sibTrans" cxnId="{0FE9E0D4-BEB4-497D-AB91-EF8E64D035D1}">
      <dgm:prSet/>
      <dgm:spPr/>
      <dgm:t>
        <a:bodyPr/>
        <a:lstStyle/>
        <a:p>
          <a:endParaRPr lang="en-US"/>
        </a:p>
      </dgm:t>
    </dgm:pt>
    <dgm:pt modelId="{9CED6952-ED7B-41AB-8433-4C483096D51C}">
      <dgm:prSet phldr="0"/>
      <dgm:spPr/>
      <dgm:t>
        <a:bodyPr/>
        <a:lstStyle/>
        <a:p>
          <a:pPr rtl="0"/>
          <a:r>
            <a:rPr lang="en-US" b="0">
              <a:latin typeface="Verdana Pro"/>
            </a:rPr>
            <a:t>Azure Cognitive Services</a:t>
          </a:r>
        </a:p>
      </dgm:t>
    </dgm:pt>
    <dgm:pt modelId="{CC1A52A0-735D-4DE1-82B3-06BFEB1DB31C}" type="parTrans" cxnId="{B2D83F56-50DD-4AFC-BB77-F266B5C3115F}">
      <dgm:prSet/>
      <dgm:spPr/>
    </dgm:pt>
    <dgm:pt modelId="{C33F2FF2-016C-475B-AA1F-62E0A9B58DC8}" type="sibTrans" cxnId="{B2D83F56-50DD-4AFC-BB77-F266B5C3115F}">
      <dgm:prSet/>
      <dgm:spPr/>
    </dgm:pt>
    <dgm:pt modelId="{C3398BBA-1515-460D-BCD7-83248AAD75C9}">
      <dgm:prSet phldr="0"/>
      <dgm:spPr/>
      <dgm:t>
        <a:bodyPr/>
        <a:lstStyle/>
        <a:p>
          <a:pPr rtl="0"/>
          <a:r>
            <a:rPr lang="en-US">
              <a:latin typeface="Verdana Pro"/>
            </a:rPr>
            <a:t>Reduces manual investigation efforts, improving response times </a:t>
          </a:r>
        </a:p>
      </dgm:t>
    </dgm:pt>
    <dgm:pt modelId="{7AECCB77-106B-4896-8358-656F2C369672}" type="parTrans" cxnId="{7307F7EC-3F66-4AC4-8F9D-289BAB732157}">
      <dgm:prSet/>
      <dgm:spPr/>
    </dgm:pt>
    <dgm:pt modelId="{E872636F-31BC-40D2-9518-23F9701AF2A7}" type="sibTrans" cxnId="{7307F7EC-3F66-4AC4-8F9D-289BAB732157}">
      <dgm:prSet/>
      <dgm:spPr/>
    </dgm:pt>
    <dgm:pt modelId="{2F18486D-DBBC-4D1E-A2C1-FC0EC43687A6}">
      <dgm:prSet phldr="0"/>
      <dgm:spPr/>
      <dgm:t>
        <a:bodyPr/>
        <a:lstStyle/>
        <a:p>
          <a:pPr rtl="0"/>
          <a:r>
            <a:rPr lang="en-US">
              <a:solidFill>
                <a:schemeClr val="tx1">
                  <a:lumMod val="75000"/>
                  <a:lumOff val="25000"/>
                </a:schemeClr>
              </a:solidFill>
              <a:latin typeface="Verdana Pro"/>
            </a:rPr>
            <a:t>Log  Analysis to recognize </a:t>
          </a:r>
          <a:r>
            <a:rPr lang="en-US" b="1">
              <a:solidFill>
                <a:schemeClr val="tx1">
                  <a:lumMod val="75000"/>
                  <a:lumOff val="25000"/>
                </a:schemeClr>
              </a:solidFill>
              <a:latin typeface="Verdana Pro"/>
            </a:rPr>
            <a:t>entities </a:t>
          </a:r>
          <a:r>
            <a:rPr lang="en-US">
              <a:solidFill>
                <a:schemeClr val="tx1">
                  <a:lumMod val="75000"/>
                  <a:lumOff val="25000"/>
                </a:schemeClr>
              </a:solidFill>
              <a:latin typeface="Verdana Pro"/>
            </a:rPr>
            <a:t>especially </a:t>
          </a:r>
          <a:r>
            <a:rPr lang="en-US" b="1">
              <a:solidFill>
                <a:schemeClr val="tx1">
                  <a:lumMod val="75000"/>
                  <a:lumOff val="25000"/>
                </a:schemeClr>
              </a:solidFill>
              <a:latin typeface="Verdana Pro"/>
            </a:rPr>
            <a:t>user </a:t>
          </a:r>
          <a:r>
            <a:rPr lang="en-US" b="1">
              <a:latin typeface="Verdana Pro"/>
              <a:cs typeface="Arial" panose="020B0604020202020204"/>
            </a:rPr>
            <a:t>info</a:t>
          </a:r>
        </a:p>
      </dgm:t>
    </dgm:pt>
    <dgm:pt modelId="{407CAC50-3866-4C8B-9013-C7DC076FFE8F}" type="parTrans" cxnId="{D8FF5220-F168-494C-86B2-C2E94CA62EE9}">
      <dgm:prSet/>
      <dgm:spPr/>
    </dgm:pt>
    <dgm:pt modelId="{DD983B1D-F091-487F-A490-6A80579344B3}" type="sibTrans" cxnId="{D8FF5220-F168-494C-86B2-C2E94CA62EE9}">
      <dgm:prSet/>
      <dgm:spPr/>
    </dgm:pt>
    <dgm:pt modelId="{3B688F32-8FC9-479A-AE0B-21F1453BE4B1}">
      <dgm:prSet phldr="0"/>
      <dgm:spPr/>
      <dgm:t>
        <a:bodyPr/>
        <a:lstStyle/>
        <a:p>
          <a:pPr rtl="0"/>
          <a:r>
            <a:rPr lang="en-US" b="0">
              <a:solidFill>
                <a:schemeClr val="tx1">
                  <a:lumMod val="75000"/>
                  <a:lumOff val="25000"/>
                </a:schemeClr>
              </a:solidFill>
              <a:latin typeface="Arial"/>
              <a:cs typeface="Arial"/>
            </a:rPr>
            <a:t>Use </a:t>
          </a:r>
          <a:r>
            <a:rPr lang="en-US" b="1">
              <a:solidFill>
                <a:schemeClr val="tx1">
                  <a:lumMod val="75000"/>
                  <a:lumOff val="25000"/>
                </a:schemeClr>
              </a:solidFill>
              <a:latin typeface="Arial"/>
              <a:cs typeface="Arial"/>
            </a:rPr>
            <a:t>Automatic Grouping</a:t>
          </a:r>
          <a:r>
            <a:rPr lang="en-US" b="0">
              <a:solidFill>
                <a:schemeClr val="tx1">
                  <a:lumMod val="75000"/>
                  <a:lumOff val="25000"/>
                </a:schemeClr>
              </a:solidFill>
              <a:latin typeface="Arial"/>
              <a:cs typeface="Arial"/>
            </a:rPr>
            <a:t> by user email to track logs even when user info is limited.</a:t>
          </a:r>
          <a:endParaRPr lang="en-US" b="1">
            <a:latin typeface="Verdana Pro"/>
          </a:endParaRPr>
        </a:p>
      </dgm:t>
    </dgm:pt>
    <dgm:pt modelId="{1A139A26-09A9-404D-9B99-52C6146A3B49}" type="parTrans" cxnId="{BE0DF119-89E4-4D8A-AAE7-C95C1D79B535}">
      <dgm:prSet/>
      <dgm:spPr/>
    </dgm:pt>
    <dgm:pt modelId="{420CBDE7-6577-469C-8C02-BEB0283B3B8A}" type="sibTrans" cxnId="{BE0DF119-89E4-4D8A-AAE7-C95C1D79B535}">
      <dgm:prSet/>
      <dgm:spPr/>
    </dgm:pt>
    <dgm:pt modelId="{FCC0B1A2-7C9D-4255-8E96-51835F8100FB}" type="pres">
      <dgm:prSet presAssocID="{476950A9-8A77-4B05-9745-E68D657690EC}" presName="linearFlow" presStyleCnt="0">
        <dgm:presLayoutVars>
          <dgm:dir/>
          <dgm:animLvl val="lvl"/>
          <dgm:resizeHandles val="exact"/>
        </dgm:presLayoutVars>
      </dgm:prSet>
      <dgm:spPr/>
    </dgm:pt>
    <dgm:pt modelId="{E94B6188-3ED9-4AB9-B548-C422C12A1115}" type="pres">
      <dgm:prSet presAssocID="{5F54AAF5-2529-45DA-B172-A19AE321F304}" presName="composite" presStyleCnt="0"/>
      <dgm:spPr/>
    </dgm:pt>
    <dgm:pt modelId="{4DD7229F-8124-49D4-AB41-287835075241}" type="pres">
      <dgm:prSet presAssocID="{5F54AAF5-2529-45DA-B172-A19AE321F304}" presName="parentText" presStyleLbl="alignNode1" presStyleIdx="0" presStyleCnt="3">
        <dgm:presLayoutVars>
          <dgm:chMax val="1"/>
          <dgm:bulletEnabled val="1"/>
        </dgm:presLayoutVars>
      </dgm:prSet>
      <dgm:spPr/>
    </dgm:pt>
    <dgm:pt modelId="{9FD2F3C5-AF27-4524-BC62-0457B36EF273}" type="pres">
      <dgm:prSet presAssocID="{5F54AAF5-2529-45DA-B172-A19AE321F304}" presName="descendantText" presStyleLbl="alignAcc1" presStyleIdx="0" presStyleCnt="3">
        <dgm:presLayoutVars>
          <dgm:bulletEnabled val="1"/>
        </dgm:presLayoutVars>
      </dgm:prSet>
      <dgm:spPr/>
    </dgm:pt>
    <dgm:pt modelId="{11B96B77-E21E-4C52-A634-584E3B525F88}" type="pres">
      <dgm:prSet presAssocID="{0F36DB0A-964E-4985-95FB-5BC18FCD7BF2}" presName="sp" presStyleCnt="0"/>
      <dgm:spPr/>
    </dgm:pt>
    <dgm:pt modelId="{096A82DF-D6E0-4937-8206-D8C995E7C6A9}" type="pres">
      <dgm:prSet presAssocID="{61781DFB-85F9-47BB-ABB6-EBD67CC7545F}" presName="composite" presStyleCnt="0"/>
      <dgm:spPr/>
    </dgm:pt>
    <dgm:pt modelId="{6876C323-97DD-45BE-8A57-C216227E87A0}" type="pres">
      <dgm:prSet presAssocID="{61781DFB-85F9-47BB-ABB6-EBD67CC7545F}" presName="parentText" presStyleLbl="alignNode1" presStyleIdx="1" presStyleCnt="3">
        <dgm:presLayoutVars>
          <dgm:chMax val="1"/>
          <dgm:bulletEnabled val="1"/>
        </dgm:presLayoutVars>
      </dgm:prSet>
      <dgm:spPr/>
    </dgm:pt>
    <dgm:pt modelId="{33BCF0A0-27B2-4F45-9EEF-C022BC40424E}" type="pres">
      <dgm:prSet presAssocID="{61781DFB-85F9-47BB-ABB6-EBD67CC7545F}" presName="descendantText" presStyleLbl="alignAcc1" presStyleIdx="1" presStyleCnt="3">
        <dgm:presLayoutVars>
          <dgm:bulletEnabled val="1"/>
        </dgm:presLayoutVars>
      </dgm:prSet>
      <dgm:spPr/>
    </dgm:pt>
    <dgm:pt modelId="{5409598E-7628-4D9D-B338-6976AF351CBD}" type="pres">
      <dgm:prSet presAssocID="{46C7CEC8-48AA-4359-AEB7-90E5E90B504E}" presName="sp" presStyleCnt="0"/>
      <dgm:spPr/>
    </dgm:pt>
    <dgm:pt modelId="{CA50FA59-1F2E-48F7-92D9-E7DEAE8D0172}" type="pres">
      <dgm:prSet presAssocID="{DF1EAEF9-051C-4F4F-AF5B-25D66C6F42B1}" presName="composite" presStyleCnt="0"/>
      <dgm:spPr/>
    </dgm:pt>
    <dgm:pt modelId="{E80B5F3D-A622-4F80-839D-BC0C2417CD69}" type="pres">
      <dgm:prSet presAssocID="{DF1EAEF9-051C-4F4F-AF5B-25D66C6F42B1}" presName="parentText" presStyleLbl="alignNode1" presStyleIdx="2" presStyleCnt="3">
        <dgm:presLayoutVars>
          <dgm:chMax val="1"/>
          <dgm:bulletEnabled val="1"/>
        </dgm:presLayoutVars>
      </dgm:prSet>
      <dgm:spPr/>
    </dgm:pt>
    <dgm:pt modelId="{E7338295-CC63-4F2A-BED1-F4B9BBAE9CC1}" type="pres">
      <dgm:prSet presAssocID="{DF1EAEF9-051C-4F4F-AF5B-25D66C6F42B1}" presName="descendantText" presStyleLbl="alignAcc1" presStyleIdx="2" presStyleCnt="3">
        <dgm:presLayoutVars>
          <dgm:bulletEnabled val="1"/>
        </dgm:presLayoutVars>
      </dgm:prSet>
      <dgm:spPr/>
    </dgm:pt>
  </dgm:ptLst>
  <dgm:cxnLst>
    <dgm:cxn modelId="{CA9A7F11-AC8B-4450-89CF-6270815528DA}" type="presOf" srcId="{DF1EAEF9-051C-4F4F-AF5B-25D66C6F42B1}" destId="{E80B5F3D-A622-4F80-839D-BC0C2417CD69}" srcOrd="0" destOrd="0" presId="urn:microsoft.com/office/officeart/2005/8/layout/chevron2"/>
    <dgm:cxn modelId="{08ACD619-7E7E-46F4-A4C8-AE37C60E5D78}" type="presOf" srcId="{D3C43B36-90C5-436A-A326-8EA37F2720F0}" destId="{9FD2F3C5-AF27-4524-BC62-0457B36EF273}" srcOrd="0" destOrd="1" presId="urn:microsoft.com/office/officeart/2005/8/layout/chevron2"/>
    <dgm:cxn modelId="{BE0DF119-89E4-4D8A-AAE7-C95C1D79B535}" srcId="{61781DFB-85F9-47BB-ABB6-EBD67CC7545F}" destId="{3B688F32-8FC9-479A-AE0B-21F1453BE4B1}" srcOrd="3" destOrd="0" parTransId="{1A139A26-09A9-404D-9B99-52C6146A3B49}" sibTransId="{420CBDE7-6577-469C-8C02-BEB0283B3B8A}"/>
    <dgm:cxn modelId="{D8FF5220-F168-494C-86B2-C2E94CA62EE9}" srcId="{61781DFB-85F9-47BB-ABB6-EBD67CC7545F}" destId="{2F18486D-DBBC-4D1E-A2C1-FC0EC43687A6}" srcOrd="2" destOrd="0" parTransId="{407CAC50-3866-4C8B-9013-C7DC076FFE8F}" sibTransId="{DD983B1D-F091-487F-A490-6A80579344B3}"/>
    <dgm:cxn modelId="{765F5548-37D8-49D5-88F5-68B0E4881E86}" srcId="{5F54AAF5-2529-45DA-B172-A19AE321F304}" destId="{C46D5AAF-7327-461D-AA94-24799B32CCDB}" srcOrd="0" destOrd="0" parTransId="{C42F0632-D76D-4261-91EB-559EE5A1CD5B}" sibTransId="{EAB52E7A-0B48-4AB5-A786-FD8F5D22B2F7}"/>
    <dgm:cxn modelId="{AE07846E-C16C-4BD1-B66A-7E85FAEB5717}" type="presOf" srcId="{C3398BBA-1515-460D-BCD7-83248AAD75C9}" destId="{E7338295-CC63-4F2A-BED1-F4B9BBAE9CC1}" srcOrd="0" destOrd="1" presId="urn:microsoft.com/office/officeart/2005/8/layout/chevron2"/>
    <dgm:cxn modelId="{3C85F552-ED82-42DF-A3C3-32890C63AFD6}" type="presOf" srcId="{5F54AAF5-2529-45DA-B172-A19AE321F304}" destId="{4DD7229F-8124-49D4-AB41-287835075241}" srcOrd="0" destOrd="0" presId="urn:microsoft.com/office/officeart/2005/8/layout/chevron2"/>
    <dgm:cxn modelId="{B2D83F56-50DD-4AFC-BB77-F266B5C3115F}" srcId="{61781DFB-85F9-47BB-ABB6-EBD67CC7545F}" destId="{9CED6952-ED7B-41AB-8433-4C483096D51C}" srcOrd="0" destOrd="0" parTransId="{CC1A52A0-735D-4DE1-82B3-06BFEB1DB31C}" sibTransId="{C33F2FF2-016C-475B-AA1F-62E0A9B58DC8}"/>
    <dgm:cxn modelId="{B63EF657-6098-43DF-B9B6-5AB154836449}" type="presOf" srcId="{577A6327-0B8F-4F65-A150-07101F680218}" destId="{E7338295-CC63-4F2A-BED1-F4B9BBAE9CC1}" srcOrd="0" destOrd="0" presId="urn:microsoft.com/office/officeart/2005/8/layout/chevron2"/>
    <dgm:cxn modelId="{5BD7C97C-A30E-467A-9FDA-538E6CBD5DA6}" type="presOf" srcId="{2F18486D-DBBC-4D1E-A2C1-FC0EC43687A6}" destId="{33BCF0A0-27B2-4F45-9EEF-C022BC40424E}" srcOrd="0" destOrd="2" presId="urn:microsoft.com/office/officeart/2005/8/layout/chevron2"/>
    <dgm:cxn modelId="{205B9983-4CA4-4A6A-B173-9DAA04BC11D6}" type="presOf" srcId="{9CED6952-ED7B-41AB-8433-4C483096D51C}" destId="{33BCF0A0-27B2-4F45-9EEF-C022BC40424E}" srcOrd="0" destOrd="0" presId="urn:microsoft.com/office/officeart/2005/8/layout/chevron2"/>
    <dgm:cxn modelId="{0489E79B-384F-492B-A4A1-690CB2CECFDE}" srcId="{5F54AAF5-2529-45DA-B172-A19AE321F304}" destId="{D3C43B36-90C5-436A-A326-8EA37F2720F0}" srcOrd="1" destOrd="0" parTransId="{C195524D-B256-4A26-94B7-AE116C2D50F0}" sibTransId="{00295111-DCD4-49E0-A5A7-61F4A83455F9}"/>
    <dgm:cxn modelId="{2462B7A2-5B47-4DB0-BCB4-3ADB309C5491}" type="presOf" srcId="{3B688F32-8FC9-479A-AE0B-21F1453BE4B1}" destId="{33BCF0A0-27B2-4F45-9EEF-C022BC40424E}" srcOrd="0" destOrd="3" presId="urn:microsoft.com/office/officeart/2005/8/layout/chevron2"/>
    <dgm:cxn modelId="{D54CE5A4-C685-4978-9B43-795A28CBF9ED}" srcId="{476950A9-8A77-4B05-9745-E68D657690EC}" destId="{DF1EAEF9-051C-4F4F-AF5B-25D66C6F42B1}" srcOrd="2" destOrd="0" parTransId="{9F62B886-1036-460B-8A51-1A0D4BEE3003}" sibTransId="{D1A6BB31-B41F-4962-A36C-B6E8B6F25204}"/>
    <dgm:cxn modelId="{E2F113A9-EB75-40C9-AA36-71592E0A1744}" type="presOf" srcId="{68C2C2F3-0996-4CCF-A5AA-4951477340D4}" destId="{33BCF0A0-27B2-4F45-9EEF-C022BC40424E}" srcOrd="0" destOrd="1" presId="urn:microsoft.com/office/officeart/2005/8/layout/chevron2"/>
    <dgm:cxn modelId="{33267CBF-9166-4146-B8AD-FA91479AE326}" srcId="{61781DFB-85F9-47BB-ABB6-EBD67CC7545F}" destId="{68C2C2F3-0996-4CCF-A5AA-4951477340D4}" srcOrd="1" destOrd="0" parTransId="{2853C901-0003-452B-A693-4E61E8DEDA6A}" sibTransId="{AFB5E7BF-27E8-462E-8D84-4956AC32B908}"/>
    <dgm:cxn modelId="{E7E53ACD-A073-420B-BC96-1FD37B43028E}" type="presOf" srcId="{C46D5AAF-7327-461D-AA94-24799B32CCDB}" destId="{9FD2F3C5-AF27-4524-BC62-0457B36EF273}" srcOrd="0" destOrd="0" presId="urn:microsoft.com/office/officeart/2005/8/layout/chevron2"/>
    <dgm:cxn modelId="{0CF7E1CF-952D-4906-895F-CB859317CECA}" type="presOf" srcId="{61781DFB-85F9-47BB-ABB6-EBD67CC7545F}" destId="{6876C323-97DD-45BE-8A57-C216227E87A0}" srcOrd="0" destOrd="0" presId="urn:microsoft.com/office/officeart/2005/8/layout/chevron2"/>
    <dgm:cxn modelId="{3B3E2FD3-A942-43BA-8C0E-26E6ED275EE3}" srcId="{476950A9-8A77-4B05-9745-E68D657690EC}" destId="{61781DFB-85F9-47BB-ABB6-EBD67CC7545F}" srcOrd="1" destOrd="0" parTransId="{AECB6151-E9DE-4B0F-BC6B-E5CD088600D1}" sibTransId="{46C7CEC8-48AA-4359-AEB7-90E5E90B504E}"/>
    <dgm:cxn modelId="{0FE9E0D4-BEB4-497D-AB91-EF8E64D035D1}" srcId="{DF1EAEF9-051C-4F4F-AF5B-25D66C6F42B1}" destId="{577A6327-0B8F-4F65-A150-07101F680218}" srcOrd="0" destOrd="0" parTransId="{F8AAA2ED-5400-40E4-98F6-556A07228584}" sibTransId="{D5EEF8B6-6440-4F78-8ADB-6FB325FC4D0B}"/>
    <dgm:cxn modelId="{0E7EF2E1-211A-46B8-8F3F-A65E1F1BEB48}" srcId="{476950A9-8A77-4B05-9745-E68D657690EC}" destId="{5F54AAF5-2529-45DA-B172-A19AE321F304}" srcOrd="0" destOrd="0" parTransId="{6AB2D274-5319-4F38-B978-E70D3B581468}" sibTransId="{0F36DB0A-964E-4985-95FB-5BC18FCD7BF2}"/>
    <dgm:cxn modelId="{7307F7EC-3F66-4AC4-8F9D-289BAB732157}" srcId="{DF1EAEF9-051C-4F4F-AF5B-25D66C6F42B1}" destId="{C3398BBA-1515-460D-BCD7-83248AAD75C9}" srcOrd="1" destOrd="0" parTransId="{7AECCB77-106B-4896-8358-656F2C369672}" sibTransId="{E872636F-31BC-40D2-9518-23F9701AF2A7}"/>
    <dgm:cxn modelId="{12CF32F2-8097-416F-A8D4-B3AE38270017}" type="presOf" srcId="{476950A9-8A77-4B05-9745-E68D657690EC}" destId="{FCC0B1A2-7C9D-4255-8E96-51835F8100FB}" srcOrd="0" destOrd="0" presId="urn:microsoft.com/office/officeart/2005/8/layout/chevron2"/>
    <dgm:cxn modelId="{5C74D564-0A0F-4181-B51C-334729F07CD3}" type="presParOf" srcId="{FCC0B1A2-7C9D-4255-8E96-51835F8100FB}" destId="{E94B6188-3ED9-4AB9-B548-C422C12A1115}" srcOrd="0" destOrd="0" presId="urn:microsoft.com/office/officeart/2005/8/layout/chevron2"/>
    <dgm:cxn modelId="{C9340197-F1FC-41B6-9A77-5DC524D477AE}" type="presParOf" srcId="{E94B6188-3ED9-4AB9-B548-C422C12A1115}" destId="{4DD7229F-8124-49D4-AB41-287835075241}" srcOrd="0" destOrd="0" presId="urn:microsoft.com/office/officeart/2005/8/layout/chevron2"/>
    <dgm:cxn modelId="{D1EF687F-0001-488E-A130-AAA190E4FE32}" type="presParOf" srcId="{E94B6188-3ED9-4AB9-B548-C422C12A1115}" destId="{9FD2F3C5-AF27-4524-BC62-0457B36EF273}" srcOrd="1" destOrd="0" presId="urn:microsoft.com/office/officeart/2005/8/layout/chevron2"/>
    <dgm:cxn modelId="{FC4F361F-A24E-4A31-8CF8-15D7A6E95778}" type="presParOf" srcId="{FCC0B1A2-7C9D-4255-8E96-51835F8100FB}" destId="{11B96B77-E21E-4C52-A634-584E3B525F88}" srcOrd="1" destOrd="0" presId="urn:microsoft.com/office/officeart/2005/8/layout/chevron2"/>
    <dgm:cxn modelId="{1101C2BC-735E-4348-8188-4BA2BB0DFEE9}" type="presParOf" srcId="{FCC0B1A2-7C9D-4255-8E96-51835F8100FB}" destId="{096A82DF-D6E0-4937-8206-D8C995E7C6A9}" srcOrd="2" destOrd="0" presId="urn:microsoft.com/office/officeart/2005/8/layout/chevron2"/>
    <dgm:cxn modelId="{CC275FC8-3DD2-4FA4-AFFA-3B889BA74EAF}" type="presParOf" srcId="{096A82DF-D6E0-4937-8206-D8C995E7C6A9}" destId="{6876C323-97DD-45BE-8A57-C216227E87A0}" srcOrd="0" destOrd="0" presId="urn:microsoft.com/office/officeart/2005/8/layout/chevron2"/>
    <dgm:cxn modelId="{1D67DC88-5BE0-4057-9BD4-CCE7A5BA5F43}" type="presParOf" srcId="{096A82DF-D6E0-4937-8206-D8C995E7C6A9}" destId="{33BCF0A0-27B2-4F45-9EEF-C022BC40424E}" srcOrd="1" destOrd="0" presId="urn:microsoft.com/office/officeart/2005/8/layout/chevron2"/>
    <dgm:cxn modelId="{08EE1F3D-97B7-4C7E-815B-566997BD9CA5}" type="presParOf" srcId="{FCC0B1A2-7C9D-4255-8E96-51835F8100FB}" destId="{5409598E-7628-4D9D-B338-6976AF351CBD}" srcOrd="3" destOrd="0" presId="urn:microsoft.com/office/officeart/2005/8/layout/chevron2"/>
    <dgm:cxn modelId="{C9E9D462-2C48-45B0-A602-60516EA70A96}" type="presParOf" srcId="{FCC0B1A2-7C9D-4255-8E96-51835F8100FB}" destId="{CA50FA59-1F2E-48F7-92D9-E7DEAE8D0172}" srcOrd="4" destOrd="0" presId="urn:microsoft.com/office/officeart/2005/8/layout/chevron2"/>
    <dgm:cxn modelId="{C3A5C0D3-2B08-4B7E-85D5-33BC8334C260}" type="presParOf" srcId="{CA50FA59-1F2E-48F7-92D9-E7DEAE8D0172}" destId="{E80B5F3D-A622-4F80-839D-BC0C2417CD69}" srcOrd="0" destOrd="0" presId="urn:microsoft.com/office/officeart/2005/8/layout/chevron2"/>
    <dgm:cxn modelId="{230393BD-CD79-4556-ADF0-EA0CB1C1EAD8}" type="presParOf" srcId="{CA50FA59-1F2E-48F7-92D9-E7DEAE8D0172}" destId="{E7338295-CC63-4F2A-BED1-F4B9BBAE9CC1}"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D7229F-8124-49D4-AB41-287835075241}">
      <dsp:nvSpPr>
        <dsp:cNvPr id="0" name=""/>
        <dsp:cNvSpPr/>
      </dsp:nvSpPr>
      <dsp:spPr>
        <a:xfrm rot="5400000">
          <a:off x="-195751" y="199516"/>
          <a:ext cx="1305009" cy="913506"/>
        </a:xfrm>
        <a:prstGeom prst="chevron">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rtl="0">
            <a:lnSpc>
              <a:spcPct val="90000"/>
            </a:lnSpc>
            <a:spcBef>
              <a:spcPct val="0"/>
            </a:spcBef>
            <a:spcAft>
              <a:spcPct val="35000"/>
            </a:spcAft>
            <a:buNone/>
          </a:pPr>
          <a:r>
            <a:rPr lang="en-US" sz="1400" kern="1200">
              <a:latin typeface="Arial" panose="020B0604020202020204"/>
            </a:rPr>
            <a:t>Datadog Limitation</a:t>
          </a:r>
          <a:endParaRPr lang="en-US" sz="1400" kern="1200"/>
        </a:p>
      </dsp:txBody>
      <dsp:txXfrm rot="-5400000">
        <a:off x="1" y="460517"/>
        <a:ext cx="913506" cy="391503"/>
      </dsp:txXfrm>
    </dsp:sp>
    <dsp:sp modelId="{9FD2F3C5-AF27-4524-BC62-0457B36EF273}">
      <dsp:nvSpPr>
        <dsp:cNvPr id="0" name=""/>
        <dsp:cNvSpPr/>
      </dsp:nvSpPr>
      <dsp:spPr>
        <a:xfrm rot="5400000">
          <a:off x="2574438" y="-1657167"/>
          <a:ext cx="848256" cy="4170120"/>
        </a:xfrm>
        <a:prstGeom prst="round2Same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a:scene3d>
          <a:camera prst="orthographicFront"/>
          <a:lightRig rig="chilly" dir="t"/>
        </a:scene3d>
        <a:sp3d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rtl="0">
            <a:lnSpc>
              <a:spcPct val="90000"/>
            </a:lnSpc>
            <a:spcBef>
              <a:spcPct val="0"/>
            </a:spcBef>
            <a:spcAft>
              <a:spcPct val="15000"/>
            </a:spcAft>
            <a:buChar char="•"/>
          </a:pPr>
          <a:r>
            <a:rPr lang="en-US" sz="1000" b="1" kern="1200">
              <a:latin typeface="Verdana Pro"/>
            </a:rPr>
            <a:t>Root cause analysis</a:t>
          </a:r>
          <a:r>
            <a:rPr lang="en-US" sz="1000" kern="1200">
              <a:latin typeface="Verdana Pro"/>
            </a:rPr>
            <a:t> is manual</a:t>
          </a:r>
        </a:p>
        <a:p>
          <a:pPr marL="57150" lvl="1" indent="-57150" algn="l" defTabSz="444500" rtl="0">
            <a:lnSpc>
              <a:spcPct val="90000"/>
            </a:lnSpc>
            <a:spcBef>
              <a:spcPct val="0"/>
            </a:spcBef>
            <a:spcAft>
              <a:spcPct val="15000"/>
            </a:spcAft>
            <a:buChar char="•"/>
          </a:pPr>
          <a:r>
            <a:rPr lang="en-US" sz="1000" kern="1200">
              <a:latin typeface="Verdana Pro"/>
            </a:rPr>
            <a:t>slows down identifying the cause of system issues.</a:t>
          </a:r>
        </a:p>
      </dsp:txBody>
      <dsp:txXfrm rot="-5400000">
        <a:off x="913506" y="45173"/>
        <a:ext cx="4128712" cy="765440"/>
      </dsp:txXfrm>
    </dsp:sp>
    <dsp:sp modelId="{6876C323-97DD-45BE-8A57-C216227E87A0}">
      <dsp:nvSpPr>
        <dsp:cNvPr id="0" name=""/>
        <dsp:cNvSpPr/>
      </dsp:nvSpPr>
      <dsp:spPr>
        <a:xfrm rot="5400000">
          <a:off x="-195751" y="1358574"/>
          <a:ext cx="1305009" cy="913506"/>
        </a:xfrm>
        <a:prstGeom prst="chevron">
          <a:avLst/>
        </a:prstGeom>
        <a:solidFill>
          <a:schemeClr val="accent3">
            <a:hueOff val="1382661"/>
            <a:satOff val="4301"/>
            <a:lumOff val="-5817"/>
            <a:alphaOff val="0"/>
          </a:schemeClr>
        </a:solidFill>
        <a:ln w="12700" cap="flat" cmpd="sng" algn="ctr">
          <a:solidFill>
            <a:schemeClr val="accent3">
              <a:hueOff val="1382661"/>
              <a:satOff val="4301"/>
              <a:lumOff val="-5817"/>
              <a:alphaOff val="0"/>
            </a:schemeClr>
          </a:solidFill>
          <a:prstDash val="solid"/>
          <a:miter lim="800000"/>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latin typeface="Arial" panose="020B0604020202020204"/>
            </a:rPr>
            <a:t>Solution</a:t>
          </a:r>
          <a:endParaRPr lang="en-US" sz="1400" kern="1200"/>
        </a:p>
      </dsp:txBody>
      <dsp:txXfrm rot="-5400000">
        <a:off x="1" y="1619575"/>
        <a:ext cx="913506" cy="391503"/>
      </dsp:txXfrm>
    </dsp:sp>
    <dsp:sp modelId="{33BCF0A0-27B2-4F45-9EEF-C022BC40424E}">
      <dsp:nvSpPr>
        <dsp:cNvPr id="0" name=""/>
        <dsp:cNvSpPr/>
      </dsp:nvSpPr>
      <dsp:spPr>
        <a:xfrm rot="5400000">
          <a:off x="2574438" y="-498109"/>
          <a:ext cx="848256" cy="4170120"/>
        </a:xfrm>
        <a:prstGeom prst="round2SameRect">
          <a:avLst/>
        </a:prstGeom>
        <a:solidFill>
          <a:schemeClr val="lt1">
            <a:alpha val="90000"/>
            <a:hueOff val="0"/>
            <a:satOff val="0"/>
            <a:lumOff val="0"/>
            <a:alphaOff val="0"/>
          </a:schemeClr>
        </a:solidFill>
        <a:ln w="12700" cap="flat" cmpd="sng" algn="ctr">
          <a:solidFill>
            <a:schemeClr val="accent3">
              <a:hueOff val="1382661"/>
              <a:satOff val="4301"/>
              <a:lumOff val="-5817"/>
              <a:alphaOff val="0"/>
            </a:schemeClr>
          </a:solidFill>
          <a:prstDash val="solid"/>
          <a:miter lim="800000"/>
        </a:ln>
        <a:effectLst/>
        <a:scene3d>
          <a:camera prst="orthographicFront"/>
          <a:lightRig rig="chilly" dir="t"/>
        </a:scene3d>
        <a:sp3d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rtl="0">
            <a:lnSpc>
              <a:spcPct val="90000"/>
            </a:lnSpc>
            <a:spcBef>
              <a:spcPct val="0"/>
            </a:spcBef>
            <a:spcAft>
              <a:spcPct val="15000"/>
            </a:spcAft>
            <a:buChar char="•"/>
          </a:pPr>
          <a:r>
            <a:rPr lang="en-US" sz="1000" b="0" kern="1200">
              <a:latin typeface="Verdana Pro"/>
            </a:rPr>
            <a:t>Azure Cognitive Services, Azure ML &amp; Clustering Algorithms</a:t>
          </a:r>
        </a:p>
        <a:p>
          <a:pPr marL="57150" lvl="1" indent="-57150" algn="l" defTabSz="444500" rtl="0">
            <a:lnSpc>
              <a:spcPct val="90000"/>
            </a:lnSpc>
            <a:spcBef>
              <a:spcPct val="0"/>
            </a:spcBef>
            <a:spcAft>
              <a:spcPct val="15000"/>
            </a:spcAft>
            <a:buChar char="•"/>
          </a:pPr>
          <a:r>
            <a:rPr lang="en-US" sz="1000" kern="1200">
              <a:latin typeface="Verdana Pro"/>
            </a:rPr>
            <a:t>Implement Clustering Algorithm </a:t>
          </a:r>
        </a:p>
        <a:p>
          <a:pPr marL="57150" lvl="1" indent="-57150" algn="l" defTabSz="444500" rtl="0">
            <a:lnSpc>
              <a:spcPct val="90000"/>
            </a:lnSpc>
            <a:spcBef>
              <a:spcPct val="0"/>
            </a:spcBef>
            <a:spcAft>
              <a:spcPct val="15000"/>
            </a:spcAft>
            <a:buChar char="•"/>
          </a:pPr>
          <a:r>
            <a:rPr lang="en-US" sz="1000" kern="1200">
              <a:latin typeface="Verdana Pro"/>
            </a:rPr>
            <a:t>Analyze the specific content of log messages and cluster logs based on their context, enabling proactive issue identification.</a:t>
          </a:r>
        </a:p>
      </dsp:txBody>
      <dsp:txXfrm rot="-5400000">
        <a:off x="913506" y="1204231"/>
        <a:ext cx="4128712" cy="765440"/>
      </dsp:txXfrm>
    </dsp:sp>
    <dsp:sp modelId="{2B648793-2EB1-4B7E-B421-A73260CE365C}">
      <dsp:nvSpPr>
        <dsp:cNvPr id="0" name=""/>
        <dsp:cNvSpPr/>
      </dsp:nvSpPr>
      <dsp:spPr>
        <a:xfrm rot="5400000">
          <a:off x="-195751" y="2517632"/>
          <a:ext cx="1305009" cy="913506"/>
        </a:xfrm>
        <a:prstGeom prst="chevron">
          <a:avLst/>
        </a:prstGeom>
        <a:solidFill>
          <a:schemeClr val="accent3">
            <a:hueOff val="2765323"/>
            <a:satOff val="8602"/>
            <a:lumOff val="-11634"/>
            <a:alphaOff val="0"/>
          </a:schemeClr>
        </a:solidFill>
        <a:ln w="12700" cap="flat" cmpd="sng" algn="ctr">
          <a:solidFill>
            <a:schemeClr val="accent3">
              <a:hueOff val="2765323"/>
              <a:satOff val="8602"/>
              <a:lumOff val="-11634"/>
              <a:alphaOff val="0"/>
            </a:schemeClr>
          </a:solidFill>
          <a:prstDash val="solid"/>
          <a:miter lim="800000"/>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rtl="0">
            <a:lnSpc>
              <a:spcPct val="90000"/>
            </a:lnSpc>
            <a:spcBef>
              <a:spcPct val="0"/>
            </a:spcBef>
            <a:spcAft>
              <a:spcPct val="35000"/>
            </a:spcAft>
            <a:buNone/>
          </a:pPr>
          <a:r>
            <a:rPr lang="en-US" sz="1400" kern="1200">
              <a:latin typeface="Arial" panose="020B0604020202020204"/>
            </a:rPr>
            <a:t>K Means Clustering</a:t>
          </a:r>
        </a:p>
      </dsp:txBody>
      <dsp:txXfrm rot="-5400000">
        <a:off x="1" y="2778633"/>
        <a:ext cx="913506" cy="391503"/>
      </dsp:txXfrm>
    </dsp:sp>
    <dsp:sp modelId="{D6735816-6D4C-429C-A0BA-AB258B320B09}">
      <dsp:nvSpPr>
        <dsp:cNvPr id="0" name=""/>
        <dsp:cNvSpPr/>
      </dsp:nvSpPr>
      <dsp:spPr>
        <a:xfrm rot="5400000">
          <a:off x="2574438" y="660948"/>
          <a:ext cx="848256" cy="4170120"/>
        </a:xfrm>
        <a:prstGeom prst="round2SameRect">
          <a:avLst/>
        </a:prstGeom>
        <a:solidFill>
          <a:schemeClr val="lt1">
            <a:alpha val="90000"/>
            <a:hueOff val="0"/>
            <a:satOff val="0"/>
            <a:lumOff val="0"/>
            <a:alphaOff val="0"/>
          </a:schemeClr>
        </a:solidFill>
        <a:ln w="12700" cap="flat" cmpd="sng" algn="ctr">
          <a:solidFill>
            <a:schemeClr val="accent3">
              <a:hueOff val="2765323"/>
              <a:satOff val="8602"/>
              <a:lumOff val="-11634"/>
              <a:alphaOff val="0"/>
            </a:schemeClr>
          </a:solidFill>
          <a:prstDash val="solid"/>
          <a:miter lim="800000"/>
        </a:ln>
        <a:effectLst/>
        <a:scene3d>
          <a:camera prst="orthographicFront"/>
          <a:lightRig rig="chilly" dir="t"/>
        </a:scene3d>
        <a:sp3d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rtl="0">
            <a:lnSpc>
              <a:spcPct val="90000"/>
            </a:lnSpc>
            <a:spcBef>
              <a:spcPct val="0"/>
            </a:spcBef>
            <a:spcAft>
              <a:spcPct val="15000"/>
            </a:spcAft>
            <a:buChar char="•"/>
          </a:pPr>
          <a:r>
            <a:rPr lang="en-US" sz="1000" kern="1200">
              <a:latin typeface="Arial" panose="020B0604020202020204"/>
            </a:rPr>
            <a:t> </a:t>
          </a:r>
          <a:r>
            <a:rPr lang="en-US" sz="1000" b="0" kern="1200">
              <a:latin typeface="Verdana Pro"/>
            </a:rPr>
            <a:t>Automatic Clustering</a:t>
          </a:r>
          <a:r>
            <a:rPr lang="en-US" sz="1000" kern="1200">
              <a:latin typeface="Verdana Pro"/>
            </a:rPr>
            <a:t> by  K means Clustering to group logs based on their context.</a:t>
          </a:r>
        </a:p>
        <a:p>
          <a:pPr marL="57150" lvl="1" indent="-57150" algn="l" defTabSz="444500" rtl="0">
            <a:lnSpc>
              <a:spcPct val="90000"/>
            </a:lnSpc>
            <a:spcBef>
              <a:spcPct val="0"/>
            </a:spcBef>
            <a:spcAft>
              <a:spcPct val="15000"/>
            </a:spcAft>
            <a:buChar char="•"/>
          </a:pPr>
          <a:r>
            <a:rPr lang="en-US" sz="1000" kern="1200">
              <a:latin typeface="Verdana Pro"/>
            </a:rPr>
            <a:t>The number of clusters are determined by </a:t>
          </a:r>
          <a:r>
            <a:rPr lang="en-US" sz="1000" kern="1200" err="1">
              <a:latin typeface="Verdana Pro"/>
            </a:rPr>
            <a:t>silhouette_score</a:t>
          </a:r>
          <a:endParaRPr lang="en-US" sz="1000" kern="1200">
            <a:latin typeface="Verdana Pro"/>
          </a:endParaRPr>
        </a:p>
      </dsp:txBody>
      <dsp:txXfrm rot="-5400000">
        <a:off x="913506" y="2363288"/>
        <a:ext cx="4128712" cy="765440"/>
      </dsp:txXfrm>
    </dsp:sp>
    <dsp:sp modelId="{E80B5F3D-A622-4F80-839D-BC0C2417CD69}">
      <dsp:nvSpPr>
        <dsp:cNvPr id="0" name=""/>
        <dsp:cNvSpPr/>
      </dsp:nvSpPr>
      <dsp:spPr>
        <a:xfrm rot="5400000">
          <a:off x="-195751" y="3676689"/>
          <a:ext cx="1305009" cy="913506"/>
        </a:xfrm>
        <a:prstGeom prst="chevron">
          <a:avLst/>
        </a:prstGeom>
        <a:solidFill>
          <a:schemeClr val="accent3">
            <a:hueOff val="4147984"/>
            <a:satOff val="12903"/>
            <a:lumOff val="-17451"/>
            <a:alphaOff val="0"/>
          </a:schemeClr>
        </a:solidFill>
        <a:ln w="12700" cap="flat" cmpd="sng" algn="ctr">
          <a:solidFill>
            <a:schemeClr val="accent3">
              <a:hueOff val="4147984"/>
              <a:satOff val="12903"/>
              <a:lumOff val="-17451"/>
              <a:alphaOff val="0"/>
            </a:schemeClr>
          </a:solidFill>
          <a:prstDash val="solid"/>
          <a:miter lim="800000"/>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rtl="0">
            <a:lnSpc>
              <a:spcPct val="90000"/>
            </a:lnSpc>
            <a:spcBef>
              <a:spcPct val="0"/>
            </a:spcBef>
            <a:spcAft>
              <a:spcPct val="35000"/>
            </a:spcAft>
            <a:buNone/>
          </a:pPr>
          <a:r>
            <a:rPr lang="en-US" sz="1400" kern="1200">
              <a:latin typeface="Arial" panose="020B0604020202020204"/>
            </a:rPr>
            <a:t> Benefits</a:t>
          </a:r>
          <a:endParaRPr lang="en-US" sz="1400" kern="1200"/>
        </a:p>
      </dsp:txBody>
      <dsp:txXfrm rot="-5400000">
        <a:off x="1" y="3937690"/>
        <a:ext cx="913506" cy="391503"/>
      </dsp:txXfrm>
    </dsp:sp>
    <dsp:sp modelId="{E7338295-CC63-4F2A-BED1-F4B9BBAE9CC1}">
      <dsp:nvSpPr>
        <dsp:cNvPr id="0" name=""/>
        <dsp:cNvSpPr/>
      </dsp:nvSpPr>
      <dsp:spPr>
        <a:xfrm rot="5400000">
          <a:off x="2574438" y="1820006"/>
          <a:ext cx="848256" cy="4170120"/>
        </a:xfrm>
        <a:prstGeom prst="round2SameRect">
          <a:avLst/>
        </a:prstGeom>
        <a:solidFill>
          <a:schemeClr val="lt1">
            <a:alpha val="90000"/>
            <a:hueOff val="0"/>
            <a:satOff val="0"/>
            <a:lumOff val="0"/>
            <a:alphaOff val="0"/>
          </a:schemeClr>
        </a:solidFill>
        <a:ln w="12700" cap="flat" cmpd="sng" algn="ctr">
          <a:solidFill>
            <a:schemeClr val="accent3">
              <a:hueOff val="4147984"/>
              <a:satOff val="12903"/>
              <a:lumOff val="-17451"/>
              <a:alphaOff val="0"/>
            </a:schemeClr>
          </a:solidFill>
          <a:prstDash val="solid"/>
          <a:miter lim="800000"/>
        </a:ln>
        <a:effectLst/>
        <a:scene3d>
          <a:camera prst="orthographicFront"/>
          <a:lightRig rig="chilly" dir="t"/>
        </a:scene3d>
        <a:sp3d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rtl="0">
            <a:lnSpc>
              <a:spcPct val="90000"/>
            </a:lnSpc>
            <a:spcBef>
              <a:spcPct val="0"/>
            </a:spcBef>
            <a:spcAft>
              <a:spcPct val="15000"/>
            </a:spcAft>
            <a:buChar char="•"/>
          </a:pPr>
          <a:r>
            <a:rPr lang="en-US" sz="1000" kern="1200">
              <a:latin typeface="Verdana Pro"/>
            </a:rPr>
            <a:t>Accelerates root cause identification by clustering related logs automatically </a:t>
          </a:r>
        </a:p>
        <a:p>
          <a:pPr marL="57150" lvl="1" indent="-57150" algn="l" defTabSz="444500" rtl="0">
            <a:lnSpc>
              <a:spcPct val="90000"/>
            </a:lnSpc>
            <a:spcBef>
              <a:spcPct val="0"/>
            </a:spcBef>
            <a:spcAft>
              <a:spcPct val="15000"/>
            </a:spcAft>
            <a:buChar char="•"/>
          </a:pPr>
          <a:r>
            <a:rPr lang="en-US" sz="1000" kern="1200">
              <a:latin typeface="Verdana Pro"/>
            </a:rPr>
            <a:t>Reduces manual investigation efforts, improving response times </a:t>
          </a:r>
        </a:p>
      </dsp:txBody>
      <dsp:txXfrm rot="-5400000">
        <a:off x="913506" y="3522346"/>
        <a:ext cx="4128712" cy="7654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D7229F-8124-49D4-AB41-287835075241}">
      <dsp:nvSpPr>
        <dsp:cNvPr id="0" name=""/>
        <dsp:cNvSpPr/>
      </dsp:nvSpPr>
      <dsp:spPr>
        <a:xfrm rot="5400000">
          <a:off x="-258546" y="260711"/>
          <a:ext cx="1723641" cy="1206549"/>
        </a:xfrm>
        <a:prstGeom prst="chevron">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rtl="0">
            <a:lnSpc>
              <a:spcPct val="90000"/>
            </a:lnSpc>
            <a:spcBef>
              <a:spcPct val="0"/>
            </a:spcBef>
            <a:spcAft>
              <a:spcPct val="35000"/>
            </a:spcAft>
            <a:buNone/>
          </a:pPr>
          <a:r>
            <a:rPr lang="en-US" sz="1800" kern="1200">
              <a:latin typeface="Arial" panose="020B0604020202020204"/>
            </a:rPr>
            <a:t>Datadog Limitation</a:t>
          </a:r>
          <a:endParaRPr lang="en-US" sz="1800" kern="1200"/>
        </a:p>
      </dsp:txBody>
      <dsp:txXfrm rot="-5400000">
        <a:off x="1" y="605440"/>
        <a:ext cx="1206549" cy="517092"/>
      </dsp:txXfrm>
    </dsp:sp>
    <dsp:sp modelId="{9FD2F3C5-AF27-4524-BC62-0457B36EF273}">
      <dsp:nvSpPr>
        <dsp:cNvPr id="0" name=""/>
        <dsp:cNvSpPr/>
      </dsp:nvSpPr>
      <dsp:spPr>
        <a:xfrm rot="5400000">
          <a:off x="2584904" y="-1376189"/>
          <a:ext cx="1120367" cy="3877077"/>
        </a:xfrm>
        <a:prstGeom prst="round2Same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a:scene3d>
          <a:camera prst="orthographicFront"/>
          <a:lightRig rig="chilly" dir="t"/>
        </a:scene3d>
        <a:sp3d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78232" tIns="6985" rIns="6985" bIns="6985" numCol="1" spcCol="1270" anchor="ctr" anchorCtr="0">
          <a:noAutofit/>
        </a:bodyPr>
        <a:lstStyle/>
        <a:p>
          <a:pPr marL="57150" lvl="1" indent="-57150" algn="l" defTabSz="488950" rtl="0">
            <a:lnSpc>
              <a:spcPct val="90000"/>
            </a:lnSpc>
            <a:spcBef>
              <a:spcPct val="0"/>
            </a:spcBef>
            <a:spcAft>
              <a:spcPct val="15000"/>
            </a:spcAft>
            <a:buChar char="•"/>
          </a:pPr>
          <a:r>
            <a:rPr lang="en-US" sz="1100" b="0" kern="1200">
              <a:solidFill>
                <a:schemeClr val="tx1"/>
              </a:solidFill>
              <a:latin typeface="Verdana Pro"/>
            </a:rPr>
            <a:t>Logs are tagged only by severity levels (Error, </a:t>
          </a:r>
          <a:r>
            <a:rPr lang="en-US" sz="1100" kern="1200">
              <a:solidFill>
                <a:schemeClr val="tx1"/>
              </a:solidFill>
              <a:latin typeface="Verdana Pro"/>
            </a:rPr>
            <a:t>Warning, Info)</a:t>
          </a:r>
        </a:p>
        <a:p>
          <a:pPr marL="57150" lvl="1" indent="-57150" algn="l" defTabSz="488950" rtl="0">
            <a:lnSpc>
              <a:spcPct val="90000"/>
            </a:lnSpc>
            <a:spcBef>
              <a:spcPct val="0"/>
            </a:spcBef>
            <a:spcAft>
              <a:spcPct val="15000"/>
            </a:spcAft>
            <a:buChar char="•"/>
          </a:pPr>
          <a:r>
            <a:rPr lang="en-US" sz="1100" kern="1200">
              <a:solidFill>
                <a:schemeClr val="tx1"/>
              </a:solidFill>
              <a:latin typeface="Verdana Pro"/>
            </a:rPr>
            <a:t>Lack of Context: No in-depth understanding of the impact or context of log messages</a:t>
          </a:r>
        </a:p>
      </dsp:txBody>
      <dsp:txXfrm rot="-5400000">
        <a:off x="1206549" y="56858"/>
        <a:ext cx="3822385" cy="1010983"/>
      </dsp:txXfrm>
    </dsp:sp>
    <dsp:sp modelId="{6876C323-97DD-45BE-8A57-C216227E87A0}">
      <dsp:nvSpPr>
        <dsp:cNvPr id="0" name=""/>
        <dsp:cNvSpPr/>
      </dsp:nvSpPr>
      <dsp:spPr>
        <a:xfrm rot="5400000">
          <a:off x="-258546" y="1791581"/>
          <a:ext cx="1723641" cy="1206549"/>
        </a:xfrm>
        <a:prstGeom prst="chevron">
          <a:avLst/>
        </a:prstGeom>
        <a:solidFill>
          <a:schemeClr val="accent3">
            <a:hueOff val="2073992"/>
            <a:satOff val="6451"/>
            <a:lumOff val="-8726"/>
            <a:alphaOff val="0"/>
          </a:schemeClr>
        </a:solidFill>
        <a:ln w="12700" cap="flat" cmpd="sng" algn="ctr">
          <a:solidFill>
            <a:schemeClr val="accent3">
              <a:hueOff val="2073992"/>
              <a:satOff val="6451"/>
              <a:lumOff val="-8726"/>
              <a:alphaOff val="0"/>
            </a:schemeClr>
          </a:solidFill>
          <a:prstDash val="solid"/>
          <a:miter lim="800000"/>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latin typeface="Arial" panose="020B0604020202020204"/>
            </a:rPr>
            <a:t>Solution</a:t>
          </a:r>
          <a:endParaRPr lang="en-US" sz="1800" kern="1200"/>
        </a:p>
      </dsp:txBody>
      <dsp:txXfrm rot="-5400000">
        <a:off x="1" y="2136310"/>
        <a:ext cx="1206549" cy="517092"/>
      </dsp:txXfrm>
    </dsp:sp>
    <dsp:sp modelId="{33BCF0A0-27B2-4F45-9EEF-C022BC40424E}">
      <dsp:nvSpPr>
        <dsp:cNvPr id="0" name=""/>
        <dsp:cNvSpPr/>
      </dsp:nvSpPr>
      <dsp:spPr>
        <a:xfrm rot="5400000">
          <a:off x="2584904" y="154680"/>
          <a:ext cx="1120367" cy="3877077"/>
        </a:xfrm>
        <a:prstGeom prst="round2SameRect">
          <a:avLst/>
        </a:prstGeom>
        <a:solidFill>
          <a:schemeClr val="lt1">
            <a:alpha val="90000"/>
            <a:hueOff val="0"/>
            <a:satOff val="0"/>
            <a:lumOff val="0"/>
            <a:alphaOff val="0"/>
          </a:schemeClr>
        </a:solidFill>
        <a:ln w="12700" cap="flat" cmpd="sng" algn="ctr">
          <a:solidFill>
            <a:schemeClr val="accent3">
              <a:hueOff val="2073992"/>
              <a:satOff val="6451"/>
              <a:lumOff val="-8726"/>
              <a:alphaOff val="0"/>
            </a:schemeClr>
          </a:solidFill>
          <a:prstDash val="solid"/>
          <a:miter lim="800000"/>
        </a:ln>
        <a:effectLst/>
        <a:scene3d>
          <a:camera prst="orthographicFront"/>
          <a:lightRig rig="chilly" dir="t"/>
        </a:scene3d>
        <a:sp3d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78232" tIns="6985" rIns="6985" bIns="6985" numCol="1" spcCol="1270" anchor="ctr" anchorCtr="0">
          <a:noAutofit/>
        </a:bodyPr>
        <a:lstStyle/>
        <a:p>
          <a:pPr marL="57150" lvl="1" indent="-57150" algn="l" defTabSz="488950" rtl="0">
            <a:lnSpc>
              <a:spcPct val="90000"/>
            </a:lnSpc>
            <a:spcBef>
              <a:spcPct val="0"/>
            </a:spcBef>
            <a:spcAft>
              <a:spcPct val="15000"/>
            </a:spcAft>
            <a:buChar char="•"/>
          </a:pPr>
          <a:r>
            <a:rPr lang="en-US" sz="1100" b="0" kern="1200">
              <a:latin typeface="Verdana Pro"/>
            </a:rPr>
            <a:t>Azure Cognitive Service</a:t>
          </a:r>
        </a:p>
        <a:p>
          <a:pPr marL="57150" lvl="1" indent="-57150" algn="l" defTabSz="488950" rtl="0">
            <a:lnSpc>
              <a:spcPct val="90000"/>
            </a:lnSpc>
            <a:spcBef>
              <a:spcPct val="0"/>
            </a:spcBef>
            <a:spcAft>
              <a:spcPct val="15000"/>
            </a:spcAft>
            <a:buChar char="•"/>
          </a:pPr>
          <a:r>
            <a:rPr lang="en-US" sz="1100" kern="1200">
              <a:solidFill>
                <a:schemeClr val="tx1">
                  <a:lumMod val="75000"/>
                  <a:lumOff val="25000"/>
                </a:schemeClr>
              </a:solidFill>
              <a:latin typeface="Verdana Pro"/>
            </a:rPr>
            <a:t>Implement custom log categories (e.g., Cache Error, Server Error, Connection Error)</a:t>
          </a:r>
          <a:endParaRPr lang="en-US" sz="1100" kern="1200">
            <a:solidFill>
              <a:srgbClr val="555555"/>
            </a:solidFill>
            <a:latin typeface="Verdana Pro"/>
          </a:endParaRPr>
        </a:p>
        <a:p>
          <a:pPr marL="57150" lvl="1" indent="-57150" algn="l" defTabSz="488950">
            <a:lnSpc>
              <a:spcPct val="90000"/>
            </a:lnSpc>
            <a:spcBef>
              <a:spcPct val="0"/>
            </a:spcBef>
            <a:spcAft>
              <a:spcPct val="15000"/>
            </a:spcAft>
            <a:buChar char="•"/>
          </a:pPr>
          <a:r>
            <a:rPr lang="en-US" sz="1100" kern="1200">
              <a:solidFill>
                <a:schemeClr val="tx1">
                  <a:lumMod val="75000"/>
                  <a:lumOff val="25000"/>
                </a:schemeClr>
              </a:solidFill>
              <a:latin typeface="Verdana Pro"/>
            </a:rPr>
            <a:t>Analyze the specific content of log messages for enhanced categorization</a:t>
          </a:r>
          <a:endParaRPr lang="en-US" sz="1100" kern="1200"/>
        </a:p>
        <a:p>
          <a:pPr marL="57150" lvl="1" indent="-57150" algn="l" defTabSz="488950" rtl="0">
            <a:lnSpc>
              <a:spcPct val="90000"/>
            </a:lnSpc>
            <a:spcBef>
              <a:spcPct val="0"/>
            </a:spcBef>
            <a:spcAft>
              <a:spcPct val="15000"/>
            </a:spcAft>
            <a:buChar char="•"/>
          </a:pPr>
          <a:r>
            <a:rPr lang="en-US" sz="1100" kern="1200">
              <a:solidFill>
                <a:schemeClr val="tx1">
                  <a:lumMod val="75000"/>
                  <a:lumOff val="25000"/>
                </a:schemeClr>
              </a:solidFill>
              <a:latin typeface="Verdana Pro"/>
            </a:rPr>
            <a:t>Tag logs based on these analyses for better context</a:t>
          </a:r>
          <a:endParaRPr lang="en-US" sz="1100" kern="1200">
            <a:latin typeface="Verdana Pro"/>
          </a:endParaRPr>
        </a:p>
      </dsp:txBody>
      <dsp:txXfrm rot="-5400000">
        <a:off x="1206549" y="1587727"/>
        <a:ext cx="3822385" cy="1010983"/>
      </dsp:txXfrm>
    </dsp:sp>
    <dsp:sp modelId="{E80B5F3D-A622-4F80-839D-BC0C2417CD69}">
      <dsp:nvSpPr>
        <dsp:cNvPr id="0" name=""/>
        <dsp:cNvSpPr/>
      </dsp:nvSpPr>
      <dsp:spPr>
        <a:xfrm rot="5400000">
          <a:off x="-258546" y="3322452"/>
          <a:ext cx="1723641" cy="1206549"/>
        </a:xfrm>
        <a:prstGeom prst="chevron">
          <a:avLst/>
        </a:prstGeom>
        <a:solidFill>
          <a:schemeClr val="accent3">
            <a:hueOff val="4147984"/>
            <a:satOff val="12903"/>
            <a:lumOff val="-17451"/>
            <a:alphaOff val="0"/>
          </a:schemeClr>
        </a:solidFill>
        <a:ln w="12700" cap="flat" cmpd="sng" algn="ctr">
          <a:solidFill>
            <a:schemeClr val="accent3">
              <a:hueOff val="4147984"/>
              <a:satOff val="12903"/>
              <a:lumOff val="-17451"/>
              <a:alphaOff val="0"/>
            </a:schemeClr>
          </a:solidFill>
          <a:prstDash val="solid"/>
          <a:miter lim="800000"/>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rtl="0">
            <a:lnSpc>
              <a:spcPct val="90000"/>
            </a:lnSpc>
            <a:spcBef>
              <a:spcPct val="0"/>
            </a:spcBef>
            <a:spcAft>
              <a:spcPct val="35000"/>
            </a:spcAft>
            <a:buNone/>
          </a:pPr>
          <a:r>
            <a:rPr lang="en-US" sz="1800" kern="1200">
              <a:latin typeface="Arial" panose="020B0604020202020204"/>
            </a:rPr>
            <a:t> Benefits</a:t>
          </a:r>
          <a:endParaRPr lang="en-US" sz="1800" kern="1200"/>
        </a:p>
      </dsp:txBody>
      <dsp:txXfrm rot="-5400000">
        <a:off x="1" y="3667181"/>
        <a:ext cx="1206549" cy="517092"/>
      </dsp:txXfrm>
    </dsp:sp>
    <dsp:sp modelId="{E7338295-CC63-4F2A-BED1-F4B9BBAE9CC1}">
      <dsp:nvSpPr>
        <dsp:cNvPr id="0" name=""/>
        <dsp:cNvSpPr/>
      </dsp:nvSpPr>
      <dsp:spPr>
        <a:xfrm rot="5400000">
          <a:off x="2584904" y="1685550"/>
          <a:ext cx="1120367" cy="3877077"/>
        </a:xfrm>
        <a:prstGeom prst="round2SameRect">
          <a:avLst/>
        </a:prstGeom>
        <a:solidFill>
          <a:schemeClr val="lt1">
            <a:alpha val="90000"/>
            <a:hueOff val="0"/>
            <a:satOff val="0"/>
            <a:lumOff val="0"/>
            <a:alphaOff val="0"/>
          </a:schemeClr>
        </a:solidFill>
        <a:ln w="12700" cap="flat" cmpd="sng" algn="ctr">
          <a:solidFill>
            <a:schemeClr val="accent3">
              <a:hueOff val="4147984"/>
              <a:satOff val="12903"/>
              <a:lumOff val="-17451"/>
              <a:alphaOff val="0"/>
            </a:schemeClr>
          </a:solidFill>
          <a:prstDash val="solid"/>
          <a:miter lim="800000"/>
        </a:ln>
        <a:effectLst/>
        <a:scene3d>
          <a:camera prst="orthographicFront"/>
          <a:lightRig rig="chilly" dir="t"/>
        </a:scene3d>
        <a:sp3d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78232" tIns="6985" rIns="6985" bIns="6985" numCol="1" spcCol="1270" anchor="ctr" anchorCtr="0">
          <a:noAutofit/>
        </a:bodyPr>
        <a:lstStyle/>
        <a:p>
          <a:pPr marL="57150" lvl="1" indent="-57150" algn="l" defTabSz="488950">
            <a:lnSpc>
              <a:spcPct val="90000"/>
            </a:lnSpc>
            <a:spcBef>
              <a:spcPct val="0"/>
            </a:spcBef>
            <a:spcAft>
              <a:spcPct val="15000"/>
            </a:spcAft>
            <a:buChar char="•"/>
          </a:pPr>
          <a:r>
            <a:rPr lang="en-US" sz="1100" kern="1200">
              <a:solidFill>
                <a:schemeClr val="tx1"/>
              </a:solidFill>
              <a:latin typeface="Verdana Pro"/>
            </a:rPr>
            <a:t>Enables context-aware categories that go beyond basic severity levels</a:t>
          </a:r>
        </a:p>
        <a:p>
          <a:pPr marL="57150" lvl="1" indent="-57150" algn="l" defTabSz="488950" rtl="0">
            <a:lnSpc>
              <a:spcPct val="90000"/>
            </a:lnSpc>
            <a:spcBef>
              <a:spcPct val="0"/>
            </a:spcBef>
            <a:spcAft>
              <a:spcPct val="15000"/>
            </a:spcAft>
            <a:buChar char="•"/>
          </a:pPr>
          <a:r>
            <a:rPr lang="en-US" sz="1100" kern="1200">
              <a:solidFill>
                <a:schemeClr val="tx1"/>
              </a:solidFill>
              <a:latin typeface="Verdana Pro"/>
            </a:rPr>
            <a:t>Provides direct insights within logs for quicker resolutions</a:t>
          </a:r>
        </a:p>
      </dsp:txBody>
      <dsp:txXfrm rot="-5400000">
        <a:off x="1206549" y="3118597"/>
        <a:ext cx="3822385" cy="101098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D7229F-8124-49D4-AB41-287835075241}">
      <dsp:nvSpPr>
        <dsp:cNvPr id="0" name=""/>
        <dsp:cNvSpPr/>
      </dsp:nvSpPr>
      <dsp:spPr>
        <a:xfrm rot="5400000">
          <a:off x="-258546" y="260711"/>
          <a:ext cx="1723641" cy="1206549"/>
        </a:xfrm>
        <a:prstGeom prst="chevron">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rtl="0">
            <a:lnSpc>
              <a:spcPct val="90000"/>
            </a:lnSpc>
            <a:spcBef>
              <a:spcPct val="0"/>
            </a:spcBef>
            <a:spcAft>
              <a:spcPct val="35000"/>
            </a:spcAft>
            <a:buNone/>
          </a:pPr>
          <a:r>
            <a:rPr lang="en-US" sz="1800" kern="1200">
              <a:latin typeface="Arial" panose="020B0604020202020204"/>
            </a:rPr>
            <a:t>Datadog Limitation</a:t>
          </a:r>
          <a:endParaRPr lang="en-US" sz="1800" kern="1200"/>
        </a:p>
      </dsp:txBody>
      <dsp:txXfrm rot="-5400000">
        <a:off x="1" y="605440"/>
        <a:ext cx="1206549" cy="517092"/>
      </dsp:txXfrm>
    </dsp:sp>
    <dsp:sp modelId="{9FD2F3C5-AF27-4524-BC62-0457B36EF273}">
      <dsp:nvSpPr>
        <dsp:cNvPr id="0" name=""/>
        <dsp:cNvSpPr/>
      </dsp:nvSpPr>
      <dsp:spPr>
        <a:xfrm rot="5400000">
          <a:off x="2584904" y="-1376189"/>
          <a:ext cx="1120367" cy="3877077"/>
        </a:xfrm>
        <a:prstGeom prst="round2Same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a:scene3d>
          <a:camera prst="orthographicFront"/>
          <a:lightRig rig="chilly" dir="t"/>
        </a:scene3d>
        <a:sp3d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78232" tIns="6985" rIns="6985" bIns="6985" numCol="1" spcCol="1270" anchor="ctr" anchorCtr="0">
          <a:noAutofit/>
        </a:bodyPr>
        <a:lstStyle/>
        <a:p>
          <a:pPr marL="57150" lvl="1" indent="-57150" algn="l" defTabSz="488950" rtl="0">
            <a:lnSpc>
              <a:spcPct val="90000"/>
            </a:lnSpc>
            <a:spcBef>
              <a:spcPct val="0"/>
            </a:spcBef>
            <a:spcAft>
              <a:spcPct val="15000"/>
            </a:spcAft>
            <a:buChar char="•"/>
          </a:pPr>
          <a:r>
            <a:rPr lang="en-US" sz="1100" b="0" kern="1200">
              <a:solidFill>
                <a:schemeClr val="tx1"/>
              </a:solidFill>
              <a:latin typeface="Verdana Pro"/>
            </a:rPr>
            <a:t>Logs are tagged only by severity levels (Error, </a:t>
          </a:r>
          <a:r>
            <a:rPr lang="en-US" sz="1100" kern="1200">
              <a:solidFill>
                <a:schemeClr val="tx1"/>
              </a:solidFill>
              <a:latin typeface="Verdana Pro"/>
            </a:rPr>
            <a:t>Warning, Info)</a:t>
          </a:r>
        </a:p>
        <a:p>
          <a:pPr marL="57150" lvl="1" indent="-57150" algn="l" defTabSz="488950" rtl="0">
            <a:lnSpc>
              <a:spcPct val="90000"/>
            </a:lnSpc>
            <a:spcBef>
              <a:spcPct val="0"/>
            </a:spcBef>
            <a:spcAft>
              <a:spcPct val="15000"/>
            </a:spcAft>
            <a:buChar char="•"/>
          </a:pPr>
          <a:r>
            <a:rPr lang="en-US" sz="1100" kern="1200">
              <a:solidFill>
                <a:schemeClr val="tx1"/>
              </a:solidFill>
              <a:latin typeface="Verdana Pro"/>
            </a:rPr>
            <a:t>Lack of Context: No in-depth understanding of the impact or context of log messages</a:t>
          </a:r>
        </a:p>
      </dsp:txBody>
      <dsp:txXfrm rot="-5400000">
        <a:off x="1206549" y="56858"/>
        <a:ext cx="3822385" cy="1010983"/>
      </dsp:txXfrm>
    </dsp:sp>
    <dsp:sp modelId="{6876C323-97DD-45BE-8A57-C216227E87A0}">
      <dsp:nvSpPr>
        <dsp:cNvPr id="0" name=""/>
        <dsp:cNvSpPr/>
      </dsp:nvSpPr>
      <dsp:spPr>
        <a:xfrm rot="5400000">
          <a:off x="-258546" y="1791581"/>
          <a:ext cx="1723641" cy="1206549"/>
        </a:xfrm>
        <a:prstGeom prst="chevron">
          <a:avLst/>
        </a:prstGeom>
        <a:solidFill>
          <a:schemeClr val="accent3">
            <a:hueOff val="2073992"/>
            <a:satOff val="6451"/>
            <a:lumOff val="-8726"/>
            <a:alphaOff val="0"/>
          </a:schemeClr>
        </a:solidFill>
        <a:ln w="12700" cap="flat" cmpd="sng" algn="ctr">
          <a:solidFill>
            <a:schemeClr val="accent3">
              <a:hueOff val="2073992"/>
              <a:satOff val="6451"/>
              <a:lumOff val="-8726"/>
              <a:alphaOff val="0"/>
            </a:schemeClr>
          </a:solidFill>
          <a:prstDash val="solid"/>
          <a:miter lim="800000"/>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latin typeface="Arial" panose="020B0604020202020204"/>
            </a:rPr>
            <a:t>Solution</a:t>
          </a:r>
          <a:endParaRPr lang="en-US" sz="1800" kern="1200"/>
        </a:p>
      </dsp:txBody>
      <dsp:txXfrm rot="-5400000">
        <a:off x="1" y="2136310"/>
        <a:ext cx="1206549" cy="517092"/>
      </dsp:txXfrm>
    </dsp:sp>
    <dsp:sp modelId="{33BCF0A0-27B2-4F45-9EEF-C022BC40424E}">
      <dsp:nvSpPr>
        <dsp:cNvPr id="0" name=""/>
        <dsp:cNvSpPr/>
      </dsp:nvSpPr>
      <dsp:spPr>
        <a:xfrm rot="5400000">
          <a:off x="2584904" y="154680"/>
          <a:ext cx="1120367" cy="3877077"/>
        </a:xfrm>
        <a:prstGeom prst="round2SameRect">
          <a:avLst/>
        </a:prstGeom>
        <a:solidFill>
          <a:schemeClr val="lt1">
            <a:alpha val="90000"/>
            <a:hueOff val="0"/>
            <a:satOff val="0"/>
            <a:lumOff val="0"/>
            <a:alphaOff val="0"/>
          </a:schemeClr>
        </a:solidFill>
        <a:ln w="12700" cap="flat" cmpd="sng" algn="ctr">
          <a:solidFill>
            <a:schemeClr val="accent3">
              <a:hueOff val="2073992"/>
              <a:satOff val="6451"/>
              <a:lumOff val="-8726"/>
              <a:alphaOff val="0"/>
            </a:schemeClr>
          </a:solidFill>
          <a:prstDash val="solid"/>
          <a:miter lim="800000"/>
        </a:ln>
        <a:effectLst/>
        <a:scene3d>
          <a:camera prst="orthographicFront"/>
          <a:lightRig rig="chilly" dir="t"/>
        </a:scene3d>
        <a:sp3d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78232" tIns="6985" rIns="6985" bIns="6985" numCol="1" spcCol="1270" anchor="ctr" anchorCtr="0">
          <a:noAutofit/>
        </a:bodyPr>
        <a:lstStyle/>
        <a:p>
          <a:pPr marL="57150" lvl="1" indent="-57150" algn="l" defTabSz="488950" rtl="0">
            <a:lnSpc>
              <a:spcPct val="90000"/>
            </a:lnSpc>
            <a:spcBef>
              <a:spcPct val="0"/>
            </a:spcBef>
            <a:spcAft>
              <a:spcPct val="15000"/>
            </a:spcAft>
            <a:buChar char="•"/>
          </a:pPr>
          <a:r>
            <a:rPr lang="en-US" sz="1100" b="0" kern="1200">
              <a:latin typeface="Verdana Pro"/>
            </a:rPr>
            <a:t>Azure Cognitive Service</a:t>
          </a:r>
        </a:p>
        <a:p>
          <a:pPr marL="57150" lvl="1" indent="-57150" algn="l" defTabSz="488950" rtl="0">
            <a:lnSpc>
              <a:spcPct val="90000"/>
            </a:lnSpc>
            <a:spcBef>
              <a:spcPct val="0"/>
            </a:spcBef>
            <a:spcAft>
              <a:spcPct val="15000"/>
            </a:spcAft>
            <a:buChar char="•"/>
          </a:pPr>
          <a:r>
            <a:rPr lang="en-US" sz="1100" kern="1200">
              <a:solidFill>
                <a:schemeClr val="tx1">
                  <a:lumMod val="75000"/>
                  <a:lumOff val="25000"/>
                </a:schemeClr>
              </a:solidFill>
              <a:latin typeface="Verdana Pro"/>
            </a:rPr>
            <a:t>Implement custom log categories (e.g., Cache Error, Server Error, Connection Error)</a:t>
          </a:r>
          <a:endParaRPr lang="en-US" sz="1100" kern="1200">
            <a:solidFill>
              <a:srgbClr val="555555"/>
            </a:solidFill>
            <a:latin typeface="Verdana Pro"/>
          </a:endParaRPr>
        </a:p>
        <a:p>
          <a:pPr marL="57150" lvl="1" indent="-57150" algn="l" defTabSz="488950">
            <a:lnSpc>
              <a:spcPct val="90000"/>
            </a:lnSpc>
            <a:spcBef>
              <a:spcPct val="0"/>
            </a:spcBef>
            <a:spcAft>
              <a:spcPct val="15000"/>
            </a:spcAft>
            <a:buChar char="•"/>
          </a:pPr>
          <a:r>
            <a:rPr lang="en-US" sz="1100" kern="1200">
              <a:solidFill>
                <a:schemeClr val="tx1">
                  <a:lumMod val="75000"/>
                  <a:lumOff val="25000"/>
                </a:schemeClr>
              </a:solidFill>
              <a:latin typeface="Verdana Pro"/>
            </a:rPr>
            <a:t>Analyze the specific content of log messages for enhanced categorization</a:t>
          </a:r>
          <a:endParaRPr lang="en-US" sz="1100" kern="1200"/>
        </a:p>
        <a:p>
          <a:pPr marL="57150" lvl="1" indent="-57150" algn="l" defTabSz="488950" rtl="0">
            <a:lnSpc>
              <a:spcPct val="90000"/>
            </a:lnSpc>
            <a:spcBef>
              <a:spcPct val="0"/>
            </a:spcBef>
            <a:spcAft>
              <a:spcPct val="15000"/>
            </a:spcAft>
            <a:buChar char="•"/>
          </a:pPr>
          <a:r>
            <a:rPr lang="en-US" sz="1100" kern="1200">
              <a:solidFill>
                <a:schemeClr val="tx1">
                  <a:lumMod val="75000"/>
                  <a:lumOff val="25000"/>
                </a:schemeClr>
              </a:solidFill>
              <a:latin typeface="Verdana Pro"/>
            </a:rPr>
            <a:t>Tag logs based on these analyses for better context</a:t>
          </a:r>
          <a:endParaRPr lang="en-US" sz="1100" kern="1200">
            <a:latin typeface="Verdana Pro"/>
          </a:endParaRPr>
        </a:p>
      </dsp:txBody>
      <dsp:txXfrm rot="-5400000">
        <a:off x="1206549" y="1587727"/>
        <a:ext cx="3822385" cy="1010983"/>
      </dsp:txXfrm>
    </dsp:sp>
    <dsp:sp modelId="{E80B5F3D-A622-4F80-839D-BC0C2417CD69}">
      <dsp:nvSpPr>
        <dsp:cNvPr id="0" name=""/>
        <dsp:cNvSpPr/>
      </dsp:nvSpPr>
      <dsp:spPr>
        <a:xfrm rot="5400000">
          <a:off x="-258546" y="3322452"/>
          <a:ext cx="1723641" cy="1206549"/>
        </a:xfrm>
        <a:prstGeom prst="chevron">
          <a:avLst/>
        </a:prstGeom>
        <a:solidFill>
          <a:schemeClr val="accent3">
            <a:hueOff val="4147984"/>
            <a:satOff val="12903"/>
            <a:lumOff val="-17451"/>
            <a:alphaOff val="0"/>
          </a:schemeClr>
        </a:solidFill>
        <a:ln w="12700" cap="flat" cmpd="sng" algn="ctr">
          <a:solidFill>
            <a:schemeClr val="accent3">
              <a:hueOff val="4147984"/>
              <a:satOff val="12903"/>
              <a:lumOff val="-17451"/>
              <a:alphaOff val="0"/>
            </a:schemeClr>
          </a:solidFill>
          <a:prstDash val="solid"/>
          <a:miter lim="800000"/>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rtl="0">
            <a:lnSpc>
              <a:spcPct val="90000"/>
            </a:lnSpc>
            <a:spcBef>
              <a:spcPct val="0"/>
            </a:spcBef>
            <a:spcAft>
              <a:spcPct val="35000"/>
            </a:spcAft>
            <a:buNone/>
          </a:pPr>
          <a:r>
            <a:rPr lang="en-US" sz="1800" kern="1200">
              <a:latin typeface="Arial" panose="020B0604020202020204"/>
            </a:rPr>
            <a:t> Benefits</a:t>
          </a:r>
          <a:endParaRPr lang="en-US" sz="1800" kern="1200"/>
        </a:p>
      </dsp:txBody>
      <dsp:txXfrm rot="-5400000">
        <a:off x="1" y="3667181"/>
        <a:ext cx="1206549" cy="517092"/>
      </dsp:txXfrm>
    </dsp:sp>
    <dsp:sp modelId="{E7338295-CC63-4F2A-BED1-F4B9BBAE9CC1}">
      <dsp:nvSpPr>
        <dsp:cNvPr id="0" name=""/>
        <dsp:cNvSpPr/>
      </dsp:nvSpPr>
      <dsp:spPr>
        <a:xfrm rot="5400000">
          <a:off x="2584904" y="1685550"/>
          <a:ext cx="1120367" cy="3877077"/>
        </a:xfrm>
        <a:prstGeom prst="round2SameRect">
          <a:avLst/>
        </a:prstGeom>
        <a:solidFill>
          <a:schemeClr val="lt1">
            <a:alpha val="90000"/>
            <a:hueOff val="0"/>
            <a:satOff val="0"/>
            <a:lumOff val="0"/>
            <a:alphaOff val="0"/>
          </a:schemeClr>
        </a:solidFill>
        <a:ln w="12700" cap="flat" cmpd="sng" algn="ctr">
          <a:solidFill>
            <a:schemeClr val="accent3">
              <a:hueOff val="4147984"/>
              <a:satOff val="12903"/>
              <a:lumOff val="-17451"/>
              <a:alphaOff val="0"/>
            </a:schemeClr>
          </a:solidFill>
          <a:prstDash val="solid"/>
          <a:miter lim="800000"/>
        </a:ln>
        <a:effectLst/>
        <a:scene3d>
          <a:camera prst="orthographicFront"/>
          <a:lightRig rig="chilly" dir="t"/>
        </a:scene3d>
        <a:sp3d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78232" tIns="6985" rIns="6985" bIns="6985" numCol="1" spcCol="1270" anchor="ctr" anchorCtr="0">
          <a:noAutofit/>
        </a:bodyPr>
        <a:lstStyle/>
        <a:p>
          <a:pPr marL="57150" lvl="1" indent="-57150" algn="l" defTabSz="488950">
            <a:lnSpc>
              <a:spcPct val="90000"/>
            </a:lnSpc>
            <a:spcBef>
              <a:spcPct val="0"/>
            </a:spcBef>
            <a:spcAft>
              <a:spcPct val="15000"/>
            </a:spcAft>
            <a:buChar char="•"/>
          </a:pPr>
          <a:r>
            <a:rPr lang="en-US" sz="1100" kern="1200">
              <a:solidFill>
                <a:schemeClr val="tx1"/>
              </a:solidFill>
              <a:latin typeface="Verdana Pro"/>
            </a:rPr>
            <a:t>Enables context-aware categories that go beyond basic severity levels</a:t>
          </a:r>
        </a:p>
        <a:p>
          <a:pPr marL="57150" lvl="1" indent="-57150" algn="l" defTabSz="488950" rtl="0">
            <a:lnSpc>
              <a:spcPct val="90000"/>
            </a:lnSpc>
            <a:spcBef>
              <a:spcPct val="0"/>
            </a:spcBef>
            <a:spcAft>
              <a:spcPct val="15000"/>
            </a:spcAft>
            <a:buChar char="•"/>
          </a:pPr>
          <a:r>
            <a:rPr lang="en-US" sz="1100" kern="1200">
              <a:solidFill>
                <a:schemeClr val="tx1"/>
              </a:solidFill>
              <a:latin typeface="Verdana Pro"/>
            </a:rPr>
            <a:t>Provides direct insights within logs for quicker resolutions</a:t>
          </a:r>
        </a:p>
      </dsp:txBody>
      <dsp:txXfrm rot="-5400000">
        <a:off x="1206549" y="3118597"/>
        <a:ext cx="3822385" cy="101098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D7229F-8124-49D4-AB41-287835075241}">
      <dsp:nvSpPr>
        <dsp:cNvPr id="0" name=""/>
        <dsp:cNvSpPr/>
      </dsp:nvSpPr>
      <dsp:spPr>
        <a:xfrm rot="5400000">
          <a:off x="-258546" y="260711"/>
          <a:ext cx="1723641" cy="1206549"/>
        </a:xfrm>
        <a:prstGeom prst="chevron">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rtl="0">
            <a:lnSpc>
              <a:spcPct val="90000"/>
            </a:lnSpc>
            <a:spcBef>
              <a:spcPct val="0"/>
            </a:spcBef>
            <a:spcAft>
              <a:spcPct val="35000"/>
            </a:spcAft>
            <a:buNone/>
          </a:pPr>
          <a:r>
            <a:rPr lang="en-US" sz="1800" kern="1200">
              <a:latin typeface="Arial" panose="020B0604020202020204"/>
            </a:rPr>
            <a:t>Datadog Limitation</a:t>
          </a:r>
          <a:endParaRPr lang="en-US" sz="1800" kern="1200"/>
        </a:p>
      </dsp:txBody>
      <dsp:txXfrm rot="-5400000">
        <a:off x="1" y="605440"/>
        <a:ext cx="1206549" cy="517092"/>
      </dsp:txXfrm>
    </dsp:sp>
    <dsp:sp modelId="{9FD2F3C5-AF27-4524-BC62-0457B36EF273}">
      <dsp:nvSpPr>
        <dsp:cNvPr id="0" name=""/>
        <dsp:cNvSpPr/>
      </dsp:nvSpPr>
      <dsp:spPr>
        <a:xfrm rot="5400000">
          <a:off x="2584904" y="-1376189"/>
          <a:ext cx="1120367" cy="3877077"/>
        </a:xfrm>
        <a:prstGeom prst="round2Same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a:scene3d>
          <a:camera prst="orthographicFront"/>
          <a:lightRig rig="chilly" dir="t"/>
        </a:scene3d>
        <a:sp3d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rtl="0">
            <a:lnSpc>
              <a:spcPct val="90000"/>
            </a:lnSpc>
            <a:spcBef>
              <a:spcPct val="0"/>
            </a:spcBef>
            <a:spcAft>
              <a:spcPct val="15000"/>
            </a:spcAft>
            <a:buChar char="•"/>
          </a:pPr>
          <a:r>
            <a:rPr lang="en-US" sz="1000" b="0" kern="1200">
              <a:solidFill>
                <a:schemeClr val="tx1">
                  <a:lumMod val="75000"/>
                  <a:lumOff val="25000"/>
                </a:schemeClr>
              </a:solidFill>
              <a:latin typeface="Arial"/>
              <a:cs typeface="Arial"/>
            </a:rPr>
            <a:t>Grouping logs by user email across services </a:t>
          </a:r>
          <a:r>
            <a:rPr lang="en-US" sz="1000" kern="1200">
              <a:solidFill>
                <a:schemeClr val="tx1">
                  <a:lumMod val="75000"/>
                  <a:lumOff val="25000"/>
                </a:schemeClr>
              </a:solidFill>
              <a:latin typeface="Arial"/>
              <a:cs typeface="Arial"/>
            </a:rPr>
            <a:t>is not possible in Datadog</a:t>
          </a:r>
        </a:p>
        <a:p>
          <a:pPr marL="57150" lvl="1" indent="-57150" algn="l" defTabSz="444500" rtl="0">
            <a:lnSpc>
              <a:spcPct val="90000"/>
            </a:lnSpc>
            <a:spcBef>
              <a:spcPct val="0"/>
            </a:spcBef>
            <a:spcAft>
              <a:spcPct val="15000"/>
            </a:spcAft>
            <a:buChar char="•"/>
          </a:pPr>
          <a:r>
            <a:rPr lang="en-US" sz="1000" kern="1200">
              <a:solidFill>
                <a:schemeClr val="tx1">
                  <a:lumMod val="75000"/>
                  <a:lumOff val="25000"/>
                </a:schemeClr>
              </a:solidFill>
              <a:latin typeface="Arial"/>
              <a:cs typeface="Arial"/>
            </a:rPr>
            <a:t>It relies on transaction IDs, and few logs contain user email information</a:t>
          </a:r>
        </a:p>
      </dsp:txBody>
      <dsp:txXfrm rot="-5400000">
        <a:off x="1206549" y="56858"/>
        <a:ext cx="3822385" cy="1010983"/>
      </dsp:txXfrm>
    </dsp:sp>
    <dsp:sp modelId="{6876C323-97DD-45BE-8A57-C216227E87A0}">
      <dsp:nvSpPr>
        <dsp:cNvPr id="0" name=""/>
        <dsp:cNvSpPr/>
      </dsp:nvSpPr>
      <dsp:spPr>
        <a:xfrm rot="5400000">
          <a:off x="-258546" y="1791581"/>
          <a:ext cx="1723641" cy="1206549"/>
        </a:xfrm>
        <a:prstGeom prst="chevron">
          <a:avLst/>
        </a:prstGeom>
        <a:solidFill>
          <a:schemeClr val="accent3">
            <a:hueOff val="2073992"/>
            <a:satOff val="6451"/>
            <a:lumOff val="-8726"/>
            <a:alphaOff val="0"/>
          </a:schemeClr>
        </a:solidFill>
        <a:ln w="12700" cap="flat" cmpd="sng" algn="ctr">
          <a:solidFill>
            <a:schemeClr val="accent3">
              <a:hueOff val="2073992"/>
              <a:satOff val="6451"/>
              <a:lumOff val="-8726"/>
              <a:alphaOff val="0"/>
            </a:schemeClr>
          </a:solidFill>
          <a:prstDash val="solid"/>
          <a:miter lim="800000"/>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latin typeface="Arial" panose="020B0604020202020204"/>
            </a:rPr>
            <a:t>Solution</a:t>
          </a:r>
          <a:endParaRPr lang="en-US" sz="1800" kern="1200"/>
        </a:p>
      </dsp:txBody>
      <dsp:txXfrm rot="-5400000">
        <a:off x="1" y="2136310"/>
        <a:ext cx="1206549" cy="517092"/>
      </dsp:txXfrm>
    </dsp:sp>
    <dsp:sp modelId="{33BCF0A0-27B2-4F45-9EEF-C022BC40424E}">
      <dsp:nvSpPr>
        <dsp:cNvPr id="0" name=""/>
        <dsp:cNvSpPr/>
      </dsp:nvSpPr>
      <dsp:spPr>
        <a:xfrm rot="5400000">
          <a:off x="2584904" y="154680"/>
          <a:ext cx="1120367" cy="3877077"/>
        </a:xfrm>
        <a:prstGeom prst="round2SameRect">
          <a:avLst/>
        </a:prstGeom>
        <a:solidFill>
          <a:schemeClr val="lt1">
            <a:alpha val="90000"/>
            <a:hueOff val="0"/>
            <a:satOff val="0"/>
            <a:lumOff val="0"/>
            <a:alphaOff val="0"/>
          </a:schemeClr>
        </a:solidFill>
        <a:ln w="12700" cap="flat" cmpd="sng" algn="ctr">
          <a:solidFill>
            <a:schemeClr val="accent3">
              <a:hueOff val="2073992"/>
              <a:satOff val="6451"/>
              <a:lumOff val="-8726"/>
              <a:alphaOff val="0"/>
            </a:schemeClr>
          </a:solidFill>
          <a:prstDash val="solid"/>
          <a:miter lim="800000"/>
        </a:ln>
        <a:effectLst/>
        <a:scene3d>
          <a:camera prst="orthographicFront"/>
          <a:lightRig rig="chilly" dir="t"/>
        </a:scene3d>
        <a:sp3d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rtl="0">
            <a:lnSpc>
              <a:spcPct val="90000"/>
            </a:lnSpc>
            <a:spcBef>
              <a:spcPct val="0"/>
            </a:spcBef>
            <a:spcAft>
              <a:spcPct val="15000"/>
            </a:spcAft>
            <a:buChar char="•"/>
          </a:pPr>
          <a:r>
            <a:rPr lang="en-US" sz="1000" b="0" kern="1200">
              <a:latin typeface="Verdana Pro"/>
            </a:rPr>
            <a:t>Azure Cognitive Services</a:t>
          </a:r>
        </a:p>
        <a:p>
          <a:pPr marL="57150" lvl="1" indent="-57150" algn="l" defTabSz="444500">
            <a:lnSpc>
              <a:spcPct val="90000"/>
            </a:lnSpc>
            <a:spcBef>
              <a:spcPct val="0"/>
            </a:spcBef>
            <a:spcAft>
              <a:spcPct val="15000"/>
            </a:spcAft>
            <a:buChar char="•"/>
          </a:pPr>
          <a:r>
            <a:rPr lang="en-US" sz="1000" kern="1200">
              <a:solidFill>
                <a:schemeClr val="tx1">
                  <a:lumMod val="75000"/>
                  <a:lumOff val="25000"/>
                </a:schemeClr>
              </a:solidFill>
              <a:latin typeface="Arial"/>
              <a:cs typeface="Arial"/>
            </a:rPr>
            <a:t>Azure Cognitive Services groups logs based on user email, enabling better tracking across services.</a:t>
          </a:r>
        </a:p>
        <a:p>
          <a:pPr marL="57150" lvl="1" indent="-57150" algn="l" defTabSz="444500" rtl="0">
            <a:lnSpc>
              <a:spcPct val="90000"/>
            </a:lnSpc>
            <a:spcBef>
              <a:spcPct val="0"/>
            </a:spcBef>
            <a:spcAft>
              <a:spcPct val="15000"/>
            </a:spcAft>
            <a:buChar char="•"/>
          </a:pPr>
          <a:r>
            <a:rPr lang="en-US" sz="1000" kern="1200">
              <a:solidFill>
                <a:schemeClr val="tx1">
                  <a:lumMod val="75000"/>
                  <a:lumOff val="25000"/>
                </a:schemeClr>
              </a:solidFill>
              <a:latin typeface="Verdana Pro"/>
            </a:rPr>
            <a:t>Log  Analysis to recognize </a:t>
          </a:r>
          <a:r>
            <a:rPr lang="en-US" sz="1000" b="1" kern="1200">
              <a:solidFill>
                <a:schemeClr val="tx1">
                  <a:lumMod val="75000"/>
                  <a:lumOff val="25000"/>
                </a:schemeClr>
              </a:solidFill>
              <a:latin typeface="Verdana Pro"/>
            </a:rPr>
            <a:t>entities </a:t>
          </a:r>
          <a:r>
            <a:rPr lang="en-US" sz="1000" kern="1200">
              <a:solidFill>
                <a:schemeClr val="tx1">
                  <a:lumMod val="75000"/>
                  <a:lumOff val="25000"/>
                </a:schemeClr>
              </a:solidFill>
              <a:latin typeface="Verdana Pro"/>
            </a:rPr>
            <a:t>especially </a:t>
          </a:r>
          <a:r>
            <a:rPr lang="en-US" sz="1000" b="1" kern="1200">
              <a:solidFill>
                <a:schemeClr val="tx1">
                  <a:lumMod val="75000"/>
                  <a:lumOff val="25000"/>
                </a:schemeClr>
              </a:solidFill>
              <a:latin typeface="Verdana Pro"/>
            </a:rPr>
            <a:t>user </a:t>
          </a:r>
          <a:r>
            <a:rPr lang="en-US" sz="1000" b="1" kern="1200">
              <a:latin typeface="Verdana Pro"/>
              <a:cs typeface="Arial" panose="020B0604020202020204"/>
            </a:rPr>
            <a:t>info</a:t>
          </a:r>
        </a:p>
        <a:p>
          <a:pPr marL="57150" lvl="1" indent="-57150" algn="l" defTabSz="444500" rtl="0">
            <a:lnSpc>
              <a:spcPct val="90000"/>
            </a:lnSpc>
            <a:spcBef>
              <a:spcPct val="0"/>
            </a:spcBef>
            <a:spcAft>
              <a:spcPct val="15000"/>
            </a:spcAft>
            <a:buChar char="•"/>
          </a:pPr>
          <a:r>
            <a:rPr lang="en-US" sz="1000" b="0" kern="1200">
              <a:solidFill>
                <a:schemeClr val="tx1">
                  <a:lumMod val="75000"/>
                  <a:lumOff val="25000"/>
                </a:schemeClr>
              </a:solidFill>
              <a:latin typeface="Arial"/>
              <a:cs typeface="Arial"/>
            </a:rPr>
            <a:t>Use </a:t>
          </a:r>
          <a:r>
            <a:rPr lang="en-US" sz="1000" b="1" kern="1200">
              <a:solidFill>
                <a:schemeClr val="tx1">
                  <a:lumMod val="75000"/>
                  <a:lumOff val="25000"/>
                </a:schemeClr>
              </a:solidFill>
              <a:latin typeface="Arial"/>
              <a:cs typeface="Arial"/>
            </a:rPr>
            <a:t>Automatic Grouping</a:t>
          </a:r>
          <a:r>
            <a:rPr lang="en-US" sz="1000" b="0" kern="1200">
              <a:solidFill>
                <a:schemeClr val="tx1">
                  <a:lumMod val="75000"/>
                  <a:lumOff val="25000"/>
                </a:schemeClr>
              </a:solidFill>
              <a:latin typeface="Arial"/>
              <a:cs typeface="Arial"/>
            </a:rPr>
            <a:t> by user email to track logs even when user info is limited.</a:t>
          </a:r>
          <a:endParaRPr lang="en-US" sz="1000" b="1" kern="1200">
            <a:latin typeface="Verdana Pro"/>
          </a:endParaRPr>
        </a:p>
      </dsp:txBody>
      <dsp:txXfrm rot="-5400000">
        <a:off x="1206549" y="1587727"/>
        <a:ext cx="3822385" cy="1010983"/>
      </dsp:txXfrm>
    </dsp:sp>
    <dsp:sp modelId="{E80B5F3D-A622-4F80-839D-BC0C2417CD69}">
      <dsp:nvSpPr>
        <dsp:cNvPr id="0" name=""/>
        <dsp:cNvSpPr/>
      </dsp:nvSpPr>
      <dsp:spPr>
        <a:xfrm rot="5400000">
          <a:off x="-258546" y="3322452"/>
          <a:ext cx="1723641" cy="1206549"/>
        </a:xfrm>
        <a:prstGeom prst="chevron">
          <a:avLst/>
        </a:prstGeom>
        <a:solidFill>
          <a:schemeClr val="accent3">
            <a:hueOff val="4147984"/>
            <a:satOff val="12903"/>
            <a:lumOff val="-17451"/>
            <a:alphaOff val="0"/>
          </a:schemeClr>
        </a:solidFill>
        <a:ln w="12700" cap="flat" cmpd="sng" algn="ctr">
          <a:solidFill>
            <a:schemeClr val="accent3">
              <a:hueOff val="4147984"/>
              <a:satOff val="12903"/>
              <a:lumOff val="-17451"/>
              <a:alphaOff val="0"/>
            </a:schemeClr>
          </a:solidFill>
          <a:prstDash val="solid"/>
          <a:miter lim="800000"/>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rtl="0">
            <a:lnSpc>
              <a:spcPct val="90000"/>
            </a:lnSpc>
            <a:spcBef>
              <a:spcPct val="0"/>
            </a:spcBef>
            <a:spcAft>
              <a:spcPct val="35000"/>
            </a:spcAft>
            <a:buNone/>
          </a:pPr>
          <a:r>
            <a:rPr lang="en-US" sz="1800" kern="1200">
              <a:latin typeface="Arial" panose="020B0604020202020204"/>
            </a:rPr>
            <a:t> Benefits</a:t>
          </a:r>
          <a:endParaRPr lang="en-US" sz="1800" kern="1200"/>
        </a:p>
      </dsp:txBody>
      <dsp:txXfrm rot="-5400000">
        <a:off x="1" y="3667181"/>
        <a:ext cx="1206549" cy="517092"/>
      </dsp:txXfrm>
    </dsp:sp>
    <dsp:sp modelId="{E7338295-CC63-4F2A-BED1-F4B9BBAE9CC1}">
      <dsp:nvSpPr>
        <dsp:cNvPr id="0" name=""/>
        <dsp:cNvSpPr/>
      </dsp:nvSpPr>
      <dsp:spPr>
        <a:xfrm rot="5400000">
          <a:off x="2584904" y="1685550"/>
          <a:ext cx="1120367" cy="3877077"/>
        </a:xfrm>
        <a:prstGeom prst="round2SameRect">
          <a:avLst/>
        </a:prstGeom>
        <a:solidFill>
          <a:schemeClr val="lt1">
            <a:alpha val="90000"/>
            <a:hueOff val="0"/>
            <a:satOff val="0"/>
            <a:lumOff val="0"/>
            <a:alphaOff val="0"/>
          </a:schemeClr>
        </a:solidFill>
        <a:ln w="12700" cap="flat" cmpd="sng" algn="ctr">
          <a:solidFill>
            <a:schemeClr val="accent3">
              <a:hueOff val="4147984"/>
              <a:satOff val="12903"/>
              <a:lumOff val="-17451"/>
              <a:alphaOff val="0"/>
            </a:schemeClr>
          </a:solidFill>
          <a:prstDash val="solid"/>
          <a:miter lim="800000"/>
        </a:ln>
        <a:effectLst/>
        <a:scene3d>
          <a:camera prst="orthographicFront"/>
          <a:lightRig rig="chilly" dir="t"/>
        </a:scene3d>
        <a:sp3d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rtl="0">
            <a:lnSpc>
              <a:spcPct val="90000"/>
            </a:lnSpc>
            <a:spcBef>
              <a:spcPct val="0"/>
            </a:spcBef>
            <a:spcAft>
              <a:spcPct val="15000"/>
            </a:spcAft>
            <a:buChar char="•"/>
          </a:pPr>
          <a:r>
            <a:rPr lang="en-US" sz="1000" kern="1200">
              <a:latin typeface="Verdana Pro"/>
            </a:rPr>
            <a:t>Accelerates root cause identification by clustering related logs automatically </a:t>
          </a:r>
        </a:p>
        <a:p>
          <a:pPr marL="57150" lvl="1" indent="-57150" algn="l" defTabSz="444500" rtl="0">
            <a:lnSpc>
              <a:spcPct val="90000"/>
            </a:lnSpc>
            <a:spcBef>
              <a:spcPct val="0"/>
            </a:spcBef>
            <a:spcAft>
              <a:spcPct val="15000"/>
            </a:spcAft>
            <a:buChar char="•"/>
          </a:pPr>
          <a:r>
            <a:rPr lang="en-US" sz="1000" kern="1200">
              <a:latin typeface="Verdana Pro"/>
            </a:rPr>
            <a:t>Reduces manual investigation efforts, improving response times </a:t>
          </a:r>
        </a:p>
      </dsp:txBody>
      <dsp:txXfrm rot="-5400000">
        <a:off x="1206549" y="3118597"/>
        <a:ext cx="3822385" cy="1010983"/>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quarter" idx="1"/>
          </p:nvPr>
        </p:nvSpPr>
        <p:spPr>
          <a:xfrm>
            <a:off x="476673" y="8460456"/>
            <a:ext cx="864096" cy="216000"/>
          </a:xfrm>
          <a:prstGeom prst="rect">
            <a:avLst/>
          </a:prstGeom>
        </p:spPr>
        <p:txBody>
          <a:bodyPr vert="horz" lIns="0" tIns="0" rIns="0" bIns="0" rtlCol="0" anchor="ctr"/>
          <a:lstStyle>
            <a:lvl1pPr algn="r">
              <a:defRPr sz="1200"/>
            </a:lvl1pPr>
          </a:lstStyle>
          <a:p>
            <a:pPr algn="l"/>
            <a:fld id="{F0A3B1F8-6D62-4D30-9D58-5CC5D51CE00D}" type="datetimeFigureOut">
              <a:rPr lang="en-US" sz="800" smtClean="0"/>
              <a:pPr algn="l"/>
              <a:t>11/18/2024</a:t>
            </a:fld>
            <a:endParaRPr lang="en-US" sz="800"/>
          </a:p>
        </p:txBody>
      </p:sp>
      <p:sp>
        <p:nvSpPr>
          <p:cNvPr id="4" name="Footer Placeholder 3"/>
          <p:cNvSpPr>
            <a:spLocks noGrp="1"/>
          </p:cNvSpPr>
          <p:nvPr>
            <p:ph type="ftr" sz="quarter" idx="2"/>
          </p:nvPr>
        </p:nvSpPr>
        <p:spPr>
          <a:xfrm>
            <a:off x="1484784" y="8460456"/>
            <a:ext cx="4248472" cy="216000"/>
          </a:xfrm>
          <a:prstGeom prst="rect">
            <a:avLst/>
          </a:prstGeom>
        </p:spPr>
        <p:txBody>
          <a:bodyPr vert="horz" lIns="0" tIns="0" rIns="0" bIns="0" rtlCol="0" anchor="ctr"/>
          <a:lstStyle>
            <a:lvl1pPr algn="l">
              <a:defRPr sz="1200"/>
            </a:lvl1pPr>
          </a:lstStyle>
          <a:p>
            <a:endParaRPr lang="en-US" sz="800"/>
          </a:p>
        </p:txBody>
      </p:sp>
      <p:sp>
        <p:nvSpPr>
          <p:cNvPr id="5" name="Slide Number Placeholder 4"/>
          <p:cNvSpPr>
            <a:spLocks noGrp="1"/>
          </p:cNvSpPr>
          <p:nvPr>
            <p:ph type="sldNum" sz="quarter" idx="3"/>
          </p:nvPr>
        </p:nvSpPr>
        <p:spPr>
          <a:xfrm>
            <a:off x="5834235" y="8460456"/>
            <a:ext cx="547093" cy="216000"/>
          </a:xfrm>
          <a:prstGeom prst="rect">
            <a:avLst/>
          </a:prstGeom>
        </p:spPr>
        <p:txBody>
          <a:bodyPr vert="horz" lIns="0" tIns="0" rIns="0" bIns="0" rtlCol="0" anchor="ctr"/>
          <a:lstStyle>
            <a:lvl1pPr algn="r">
              <a:defRPr sz="1200"/>
            </a:lvl1pPr>
          </a:lstStyle>
          <a:p>
            <a:fld id="{28FA928F-0A46-4B66-9905-FB1D800EB32E}" type="slidenum">
              <a:rPr lang="en-US" sz="800" smtClean="0"/>
              <a:t>‹#›</a:t>
            </a:fld>
            <a:endParaRPr lang="en-US" sz="800"/>
          </a:p>
        </p:txBody>
      </p:sp>
    </p:spTree>
    <p:extLst>
      <p:ext uri="{BB962C8B-B14F-4D97-AF65-F5344CB8AC3E}">
        <p14:creationId xmlns:p14="http://schemas.microsoft.com/office/powerpoint/2010/main" val="1623121634"/>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1T02:59:32.77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943'0,"-923"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1T02:59:32.781"/>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1 0,'1154'0,"-1137"1,0-1,0 2,0 1,-1 0,1 0,-1 2,21 8,-21-6</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1T02:59:32.788"/>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0 1,'758'0,"-737"1,1 2,0 1,-1 0,0 1,29 12,-24-8,1-1,42 8,-7-12,81-3,-66-3,-57 2</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1T03:02:38.770"/>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2 23,'0'25,"-2"27,3 0,3-1,19 100,-16-112,7 77,-11-82,16 95,-13-88,3 20,3 87,-14 579,3-707,1-1,0 1,1-1,11 35,35 74,3 14,-44-103,-2 1,-1 0,-3 0,-3 67,0-40,0-51,-1 0,-1 0,0-1,-1 1,-7 17,4-14,2 0,-6 35,-17 130,9-136,0 0,18-45,0 0,0 1,0-1,1 0,0 0,-1 1,1-1,0 0,1 0,-1 1,1-1,0 4,0-6,0 1,0 0,0 0,0-1,0 1,1-1,-1 1,0-1,1 0,-1 1,1-1,-1 0,1 0,0 0,0 0,-1 0,1-1,0 1,0 0,0-1,0 1,2-1,6 2,0-1,0-1,10 0,-11 0,98-2,-36 0,121 12,-119-2,94-1,-137-5,53 8,7 1,-63-9,-12-1,1 0,0 0,0-2,0 0,-1-1,17-3,-31 4,1 1,0-1,-1 0,1 1,0-1,-1 0,1 0,-1 0,0 0,1 0,-1-1,0 1,0 0,1-1,-1 1,0-1,0 1,-1-1,1 1,0-1,0 0,-1 1,1-1,-1 0,0 1,1-1,-1 0,0 0,0 1,0-1,0 0,0 0,-1-3,-2-6,0 0,0-1,-1 1,-8-14,1-2,-14-52,3-2,-15-109,27 61,7 73,2 48,-1-1,0 1,0-1,-1 1,0 0,-4-10,2 9,1-1,1 0,-4-14,2-23,1 0,3-1,6-60,0 67,1 1,23-73,-13 53,-3 10,41-176,-46 180,-2 0,0-93,-9-298,4 257,-2 162,-1-1,-1 0,0 1,-2 0,-9-28,7 25,3 4,0 0,2-1,0 1,1 0,2-32,0 29,0-1,-2 0,-5-25,4 38,0 1,-1 0,0 0,0 1,-1-1,1 1,-1-1,-1 1,0 1,1-1,-2 1,1-1,-1 1,1 1,-1-1,-1 1,1 0,0 1,-1-1,0 1,0 0,0 1,0 0,-15-3,-55-2,-153-9,176 16,-100 14,31 11,104-22,-1 0,0-2,-20 0,-17 1,55-2,-1 0,1 1,0-1,0 1,0 0,-1-1,1 1,0 0,0 0,0 0,0 0,0 1,1-1,-1 1,0-1,1 1,-1-1,1 1,-1 0,1 0,0 0,-1 0,1 0,0 0,1 0,-1 0,0 0,0 0,0 3,-1 7,1 0,0 0,1 0,1 17,0-9,-1 78,5 86,-5-180,1 0,0 0,0 0,0 0,1 0,-1 0,1 0,0-1,0 1,0-1,1 1,-1-1,1 0,0 0,-1 0,1 0,1-1,-1 1,0-1,6 3,6 3,1 0,0-2,26 8,-18-7,7 5,32 17,-47-20,1-1,-1-1,2 0,-1-1,1-1,0 0,33 3,7-6,68-6,-122 3,1 1,-1-1,0 0,0 0,0 0,0-1,0 0,0 1,0-1,0 0,-1-1,1 1,-1-1,0 0,0 1,0-1,0-1,0 1,0 0,-1-1,0 1,4-8,-3 4,-1 0,0 0,0-1,0 1,-1 0,0-1,-1 1,1-1,-2 1,1-1,-1 1,-2-10,0 2,0 1,-2 0,1 0,-11-20,12 28,-1 0,0 0,0 0,-1 0,1 0,-1 1,0 0,-1 0,1 0,-13-7,4 4,-3-2,-30-21,47 30,0 1,-1-1,1 1,0 0,-1-1,1 1,0 0,0-1,-1 1,1 0,-1 0,1-1,0 1,-1 0,1 0,0 0,-1-1,1 1,-1 0,1 0,-1 0,1 0,0 0,-1 0,1 0,-1 0,1 0,-1 0,1 0,-1 0,1 0,0 1,-1-1,1 0,-1 0,1 0,0 0,-1 1,1-1,0 0,-1 1,1-1,0 0,-1 0,1 1,0-1,-1 1,1-1,0 0,0 1,0-1,-1 0,1 1,0-1,0 1,0-1,0 1,0-1,0 0,0 1,0-1,0 1,0-1,0 1,0-1,0 1,0-1,1 1,2 33,16 46,-11-53,-2 1,0-1,1 29,-2-1,14 63,-10-71,-2 1,1 56,-9-42,0-30,1 1,1-1,8 45,7 33,-8-40,3 47,-6 209,-7-174,3-77,-3 85,1-155,0 0,0-1,0 1,-1 0,1 0,-1-1,-1 1,1-1,0 1,-1-1,0 0,0 0,0 0,-5 3,-5 5,-1 0,-24 15,17-12,13-11,1 0,-1 0,0-1,0 0,0 0,0-1,0 0,-1 0,1-1,-10 1,-16-1,-40-3,35 0,64 2,1-1,43-8,-54 6,-1 0,1-1,-1-1,0 0,-1-1,27-14,-31 14,1 0,0 1,1 0,-1 1,1 0,0 0,0 1,19-2,-25 4,0 1,0-1,0 1,1 0,-1 0,0 1,0 0,0 0,0 0,0 0,0 1,0 0,0 0,0 0,-1 1,1 0,-1-1,0 1,1 1,6 6,-9-7,0 0,0 0,0 0,0 0,0 0,-1 1,1-1,-1 1,0-1,0 1,0-1,0 1,-1 0,0-1,0 1,0 0,0-1,0 1,-2 6,1-5,-1 0,0 0,0 0,0 0,-1 0,1 0,-1-1,0 1,-1-1,1 0,-1 0,-7 6,6-6,-3 4,0-1,-1 0,0-1,-20 10,24-14,1-1,-1 1,1-1,-1 0,0-1,1 1,-1-1,0 0,1 0,-1 0,0-1,1 0,-1 0,0 0,-6-3,-8-3,2-1,-1-1,1 0,1-2,-1 0,2-1,-29-26,0-9,-41-56,65 77,-17-21,-31-55,54 79,1-1,2 0,0-1,-12-45,20 53,0 1,1 0,0-28,2 35,0-1,1 1,0 0,1 0,0-1,0 1,7-15,-8 22,1-1,0 0,0 1,0 0,0-1,0 1,0 0,0 0,1 0,-1 0,1 0,5-2,39-14,-38 16,0-1,0-1,0 0,8-4,-8 0,1 0,-1-1,-1 0,0 0,0-1,9-14,13-16,-23 32,0 0,-1 0,0 0,0-1,-1 0,0 0,-1 0,0-1,0 1,-1-1,0 0,-1 0,2-12,-3-83,-2 100,0-1,0 0,-1 1,1-1,-1 0,0 1,-1 0,1 0,-1-1,0 1,0 1,-1-1,-3-4,-9-8,-31-28,43 42,-28-23,-41-25,42 31,-49-42,80 61,0 1,-1 0,1-1,0 1,0 0,-1-1,1 1,0 0,0 0,-1-1,1 1,0 0,-1 0,1 0,0-1,-1 1,1 0,-1 0,1 0,0 0,-1 0,1 0,-1 0,1 0,0 0,-1 0,1 0,-1 0,1 0,0 0,-1 0,1 0,0 0,-1 0,1 1,-1-1,1 0,0 0,-1 0,1 1,-1-1,1 1,0-1,0 1,0 0,0-1,-1 1,1 0,0-1,0 1,0 0,0 0,0-1,1 1,-1 0,0-1,0 1,0 0,1-1,-1 1,0-1,1 1,-1 0,0-1,1 1,0 0,2 2,0 1,1-1,0 0,-1 0,1 0,0 0,1-1,-1 1,0-1,6 2,52 14,-37-12,4 1,0-1,0-2,36 1,90-6,-75 0,-46 0,47 2,-78-1,-1 0,-1 0,1 1,0-1,0 0,0 1,0 0,0-1,0 1,0 0,-1 0,1 0,0 0,-1 1,1-1,-1 0,1 1,-1-1,1 1,-1-1,0 1,0-1,0 1,0 0,0 0,0 0,-1 0,1-1,-1 1,1 0,-1 0,1 0,-1 0,0 0,0 0,0 0,0 0,-1 0,1 3,-2 5,0 0,0 0,-1 0,0 0,-1 0,-6 10,-14 30,7-13,-2-1,-1 0,-26 32,33-51,0 1,1 0,2 1,-1 0,2 1,1 0,0 0,-7 31,3-6,6-24,1-1,1 1,-3 31,7 132,1-16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1T03:02:38.771"/>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1 39,'15'1,"1"1,-1 1,1 1,-1 0,0 1,19 9,-1-1,198 90,-179-75,-38-19,0-1,1 0,0-1,0-1,0-1,1 0,-1-1,24 4,216-7,-120-3,-121 2,-5 0,0 0,0 0,1-1,13-3,-20 3,0 0,1 0,-1-1,0 1,0-1,-1 0,1 0,0 0,-1 0,1 0,-1 0,1-1,-1 1,0-1,0 0,2-4,16-31,-14 25,0 1,1 0,15-19,-10 13,-10 15,0 1,0-1,0 0,0 1,0-1,0 1,1 0,-1 0,1-1,-1 2,1-1,0 0,4-2,19-3,0 0,38-4,-39 8,57-7,-72 9,1 1,0 0,-1 1,1 0,15 4,-26-5,1 0,-1 0,1 0,-1 0,1 0,-1 0,1 1,-1-1,1 0,-1 0,1 0,-1 1,0-1,1 0,-1 0,1 1,-1-1,0 0,1 1,-1-1,0 1,1-1,-1 0,0 1,1 0,-11 5,-26 3,30-8,-54 8,-74 2,70-7,3 6,44-6,-31 2,-220-6,227-5,-69-17,21 4,76 14,1 1,-1-2,1 1,-13-8,-29-10,46 19,-1 0,0 1,0 0,0 1,-16-1,22 2,1 0,-1 0,1 1,-1-1,0 1,1-1,0 1,-1 0,1 0,-1 0,1 1,0-1,0 0,0 1,0-1,0 1,0 0,0 0,0 0,1 0,-1 0,1 0,-1 0,1 0,-1 3,-1 3,0-1,1 1,0 0,0 0,1 0,0-1,0 9,4 61,0-32,-2 251,-1-170,-1-91,-2 0,-2 0,-13 55,-40 98,33-125,-4 11,26-64,-46 169,41-143,2 0,2 0,0 40,4-21,16 99,-1-60,4 149,-20 437,1-678,0 1,0 0,0-1,0 1,1 0,-1-1,1 1,0 0,0-1,0 1,0-1,0 1,0-1,1 0,-1 0,1 1,0-1,-1 0,1 0,0-1,4 4,-1-2,0-1,-1 0,1 0,1 0,-1-1,0 1,0-1,1-1,-1 1,7-1,0 0,-1-1,1-1,0 0,-1-1,0 0,1-1,-1 0,11-7,33-10,-28 14,0 1,1 1,46-2,87 8,-62 1,-93-2,1 1,0 0,0 0,-1 0,1 1,-1-1,1 2,-1-1,0 1,0 0,0 0,0 1,6 4,4 1,0-1,0 0,1-1,0-1,0 0,1-2,24 4,-12-4,0-1,0-2,49-4,-76 3,0-1,-1 1,1-1,0 1,-1-1,1 0,-1 0,1 0,-1 0,1-1,-1 1,0-1,1 1,-1-1,0 0,0 0,0 0,-1 0,1 0,0 0,-1-1,1 1,-1 0,0-1,0 1,0-1,0 1,0-1,-1 0,1-3,1-9,-1 1,0-1,-1 0,-4-24,1 4,0-16,-2 1,-19-80,-44-94,48 169,-32-103,39 93,2 0,-3-112,12 124,1 0,3 0,10-54,-10 92,0 1,2 0,0 1,0-1,1 1,8-16,85-166,-68 143,-18 32,0 0,-2-1,8-23,-14 31,-1 0,-1-1,0 1,-1-1,0 0,-1 0,-3-18,-20-98,16 96,1 9,-8-38,3 0,-3-68,14 130,0 1,0 0,0 0,0 0,0 0,0-1,0 1,0 0,0 0,0 0,0 0,0 0,0-1,0 1,-1 0,1 0,0 0,0 0,0 0,0 0,0 0,0-1,0 1,-1 0,1 0,0 0,0 0,0 0,0 0,0 0,-1 0,1 0,0 0,0 0,0 0,0 0,0 0,-1 0,1 0,0 0,0 0,0 0,0 0,0 0,-1 0,1 0,0 0,0 0,0 0,0 0,0 0,-1 0,1 1,0-1,0 0,0 0,0 0,0 0,0 0,0 0,0 1,-1-1,1 0,0 0,0 0,-12 12,8-8,-19 20,-20 28,30-34,-1-1,-1-1,0 0,-1-1,-22 17,20-22,0-1,-1-1,-24 9,-5 1,38-14,0-1,-1 0,1-1,-1 0,-20 1,-56-4,40-1,18 1,20 0,0 0,-1 1,1 0,0 1,-1 0,1 0,-11 3,19-3,-1 0,1-1,0 1,-1 0,1 0,0-1,0 1,-1 0,1 0,0 0,0 1,0-1,0 0,0 0,1 1,-1-1,0 0,1 1,-1-1,1 0,-1 1,1-1,-1 1,1-1,0 1,0-1,0 1,0-1,0 1,0-1,0 1,1-1,-1 1,0-1,1 1,-1-1,1 1,0 1,1 1,0 0,0 0,0 0,1 0,0-1,-1 1,1-1,0 1,0-1,1 0,7 5,-4-4,0-1,1 0,0-1,0 0,0 0,9 1,-7-1,-1 0,1 0,-1 0,13 7,-3-1,-9-3,0 0,0 0,17 13,-23-16,-1 1,-1 0,1 0,0 0,-1 1,1-1,-1 0,0 1,0 0,0-1,-1 1,1 0,-1 0,1 7,1 1,-1 1,-1 0,0 0,-1 0,0 0,-1-1,-1 1,0 0,-1-1,0 1,0-1,-11 22,-12 19,2 0,-29 96,39-114,-1 0,-1-1,-2-1,-30 41,21-33,-38 79,48-80,-3 7,-33 58,18-56,27-38,0-1,0 1,1 1,0-1,-7 20,-6 21,-10 35,28-82,1 0,0 0,0 0,0 1,1-1,-1 0,1 0,1 0,-1 1,3 8,-2-12,0 1,0-1,0 0,0 1,1-1,-1 0,1 0,-1 0,1 0,0-1,0 1,0 0,0-1,0 1,0-1,0 0,1 1,-1-1,0 0,1 0,-1-1,1 1,4 0,3 0,0 0,0-1,0 0,0-1,0 0,0-1,0 0,0 0,0-1,-1-1,11-4,-5 2,0 1,1 1,24-5,-12 7,0 2,0 1,-1 1,46 9,-45-6,0-2,0-1,47-2,-73 0,1-1,-1 1,0-1,0 1,1-1,-1 0,0 0,0 0,0 0,0 0,0 0,0-1,-1 1,1 0,0-1,0 0,-1 1,0-1,1 0,-1 0,0 0,1 0,-1 0,-1 0,1 0,0 0,0-1,-1 1,1-3,1-8,0 1,-2-1,1 1,-3-17,1 7,-3-376,2 367,-1 0,-9-38,7 41,4 24,0 0,0 0,0 0,-1 0,1 0,-1 0,0 0,0 1,0-1,-1 1,1 0,-1-1,0 1,0 0,0 1,0-1,0 0,-1 1,1 0,-1 0,0 0,-7-3,-5 0,0 1,0 1,0 0,-27-1,-19-3,58 6,-1-1,1 1,0-1,0 0,0 0,0 0,0 0,1-1,-1 0,1 1,-1-1,1-1,-3-3,-4-6,1 0,-11-21,-3-4,20 33,-2-3,0 1,0 0,-1 0,-12-12,17 19,0-1,0 0,0 0,0 1,0-1,-1 1,1-1,0 1,0-1,0 1,0 0,-1-1,1 1,0 0,0 0,0 0,-3 0,3 1,-1-1,1 1,0 0,-1 0,1-1,0 1,0 0,0 0,0 0,0 0,0 0,0 0,0 0,0 1,0-1,1 0,-1 1,1-1,-2 2,-6 20,0 0,2 0,1 1,0 0,2 1,1-1,0 0,4 36,-1-44,1-1,1 1,0-1,10 27,-11-36,0 0,1-1,0 1,0 0,1-1,-1 1,1-1,0 0,1-1,-1 1,1-1,0 1,0-1,7 3,12 5,1-2,31 9,-14-5,-38-12,1 0,-1 1,0-1,1 1,-1 0,-1 0,1 0,0 1,-1 0,1-1,2 7,-2-5,0-1,1 1,-1 0,1-1,-1 0,7 4,-9-7,-1 0,0-1,1 1,-1-1,0 1,1-1,-1 1,1-1,-1 0,1 1,-1-1,1 0,-1 0,1 0,-1 0,1-1,-1 1,1 0,-1-1,0 1,1-1,-1 1,1-1,-1 0,0 1,0-1,1 0,-1 0,0 0,0 0,0 0,0 0,0 0,0 0,0-1,0 1,-1 0,1 0,1-3,3-6,-1-1,0 1,0-1,2-12,-6 21,33-196,-20 93,-8 63,-2-76,-2 8,10 38,-7 51,4-42,-8 42,1 5,0 1,-2-1,0 0,-3-16,3 27,-1 0,1 1,-1-1,0 0,0 1,-1-1,1 1,-1-1,0 1,0 0,-1 0,1 1,-1-1,1 1,-1 0,-8-5,-60-34,41 26,-46-34,66 44,1-1,-2 2,1-1,0 2,-1-1,-23-4,19 5,0 0,1-2,-19-8,18 7,0 0,-1 1,1 2,-1-1,-31-3,3 1,22 2,1 2,-1 1,0 0,0 2,-39 4,59-3,1-1,0 1,-1 0,1-1,-1 1,1 0,0 1,-1-1,1 0,0 1,0-1,0 1,0-1,0 1,1 0,-1 0,0 0,1 0,0 0,-1 0,1 1,0-1,0 0,0 1,0-1,1 1,-1-1,1 1,-1-1,1 1,0 2,0 10,0 0,1-1,1 1,4 20,0-2,-3-8,-1-3</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1T03:02:38.772"/>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0 0,'4'0,"6"0,4 0,5 0,2 0,3 0,-4 4,-5 5,-5 6,-4-1</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1T03:05:22.697"/>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59'45,"-47"-36,0-1,1 0,0 0,0-2,0 0,1 0,0-1,0-1,0 0,30 3,5-3,97-5,-56-1,544 2,-614 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1T03:05:22.698"/>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214 91,'-3'9,"-1"0,1-1,1 1,-1 0,2 0,-2 11,-1 57,4-51,-2 275,3-157,1-123,1 0,1 0,0 0,2-1,0 1,1-1,12 21,15 49,-25-62,-2 0,-1 0,-1 1,-1-1,-1 43,-1-32,8 53,2 33,0 13,0 8,-12-110,1-13,-1 0,-1-1,-1 1,-7 28,3-22,2 1,1 0,0 43,3-44,-1 0,-2 0,-10 50,-87 221,94-284,1 1,1 0,1 0,-3 34,6 72,1-66,1-40,0 0,1 0,1 0,1 0,0-1,11 24,10 29,-11-14,-2 0,-2 1,-3 0,1 85,-10 279,0-416,1-1,0 1,1 0,-1-1,1 1,-1 0,1-1,0 1,1-1,-1 1,1-1,-1 0,1 1,0-1,0 0,5 5,-5-6,1 0,0 0,-1-1,1 1,0-1,0 0,0 0,0 0,0 0,1 0,-1-1,0 1,0-1,0 0,1 0,-1 0,0 0,0-1,0 1,4-2,121-33,-36 17,0 4,150-4,-138 17,87 4,-28 18,-93-11,-22-3,67 2,-108-9,-1 0,1 1,-1 0,0 0,0 0,1 1,6 3,-12-4,0-1,1 1,-1-1,0 1,0-1,-1 1,1 0,0 0,0 0,0-1,0 1,-1 0,1 0,0 0,-1 0,1 0,-1 0,1 3,0-3,-1 1,-1-1,1 1,0-1,0 1,0-1,-1 1,1-1,-1 0,1 1,-1-1,0 1,0-1,1 0,-1 0,0 1,0-1,0 0,-2 1,-1 2,-1 1,0-2,0 1,-1-1,1 1,-1-1,1-1,-1 1,-10 2,-56 12,28-11,1-2,-1-2,-47-5,10 1,74 3,1-1,-1-1,1 1,0-1,-1 0,1 0,0-1,0 0,0 0,0-1,0 1,0-1,1-1,-1 1,1-1,-6-5,-12-9,-49-29,-33-8,89 49,0-1,0 2,0 0,-1 2,-17-3,22 5,5 0,0 1,-1-1,-12-4,18 5,0-1,1 0,-1 0,0 0,0 0,0 0,1 0,-1 0,1-1,-1 1,1-1,-1 1,1-1,0 1,0-1,-1 0,1 0,-1-2,-1-5,1 1,-1-1,2 0,-1 0,1 0,0-13,5-60,-1 34,-2 1,-1-161,-3 197,1-1,-2 1,1 0,-1 0,-1 0,0 1,-1-1,-12-16,-16-34,31 55,-35-90,34 82,0 0,1-1,1 0,-1-28,3 24,0 9,0 0,0 0,-1-1,0 1,0 0,-1 0,-1 0,0 1,-4-11,-8-15,1 0,1-2,3 1,-8-43,6-35,3 19,1 12,6-130,4 108,-5 69,-1 1,-1 0,-14-47,9 39,-1-9,2 0,3-1,1-88,5-138,20-369,28 244,-46 390,3-39,-5 51,0 0,0 0,0 0,0 0,-1 0,1 0,-1 0,1-1,-1 1,0 0,1 0,-1 1,0-1,0 0,-1 0,1 0,0 1,-3-4,3 5,0-1,0 1,0-1,-1 1,1 0,0-1,0 1,0 0,0 0,-1 0,1 0,0 0,0 0,0 0,-1 1,1-1,0 0,0 0,0 1,0-1,0 1,0-1,0 1,0 0,0-1,0 1,0 0,-1 1,-1 0,0 1,1-1,-1 1,1 0,0 0,0 0,0 0,-2 4,2-3,1 0,0 1,1-1,-1 0,1 0,0 1,-1-1,2 0,-1 1,1-1,-1 0,1 1,0-1,1 0,-1 0,1 0,0 0,0 0,0 0,0-1,1 1,-1-1,6 6,3 3,1 0,0-1,1-1,26 18,3 3,-34-24,1-1,-1 0,1 0,0 0,1-1,16 6,12 3,45 23,-67-30,1-2,-1 1,1-2,1 0,-1-1,0-1,1-1,-1 0,1-1,-1-1,1-1,-1 0,0-1,0-1,0-1,30-12,-27 9,0 1,27-5,-31 9,-1-1,0 0,0-2,-1 1,27-15,32-31,-39 26,45-24,-67 42,0 2,1-1,0 2,0-1,0 2,0 0,26-3,-92 7,-87-11,25 1,104 8,1 1,-1 1,1 0,0 0,0 1,0 0,0 0,0 1,0 1,0 0,1 0,0 1,-11 7,14-8,0-1,-1 1,1-1,-1 0,0-1,0 1,-13 2,-51 1,59-6,0 0,0 1,0 1,1-1,-1 2,1 0,-1 0,1 1,-18 9,14-5,1 2,1 0,0 0,0 1,1 1,0 0,1 0,1 2,0-1,1 1,-15 30,9-15,7-12,-13 34,19-45,0 0,1 0,0 0,0 0,1 0,-1 0,1 0,1 0,-1 0,3 7,5 27,-2 0,2 52,-7 82,-2-88,-1-54,-1 0,-2 0,0 0,-3-1,0 0,-2-1,-27 57,8-11,2 1,-20 103,23-81,13-60,6-24,1 0,0 0,1 0,-1 19,4 228,1-118,4-54,31 169,-5-57,-22-136,-3-29,1 44,-8-59,0 0,-2 0,0 0,-2-1,-13 43,-52 99,62-149,1 0,-2-1,0 0,0-1,-1 0,-1 0,0-1,0 0,-1-1,0-1,-15 9,117-62,-68 33,0 1,1 1,0 1,0 1,1 1,-1 1,40-3,176 7,-124 4,-52 1,120 24,-135-19,42 8,-26-4,0-2,111 3,25-15,-209 0,0 0,0 0,0-1,1 0,-1 0,1-1,-1-1,-11-5,2-1,0-1,-26-21,30 19,1-1,0 0,1-1,1-1,0 0,-13-26,21 35,0 0,0 0,1-1,0 1,0-1,1 1,0-1,-1-7,3-67,1 45,0-36,-4-1,-11-77,7 68,6 64,-1 1,-1-1,0 1,-10-36,3 23,1 0,1-1,2 0,1 0,2 0,1-34,3-238,-3 286,-1 1,-1-1,0 0,-11-30,7 29,2 0,1-1,-4-34,7 19,2 1,2-1,9-45,16-128,-8 51,-12 78,-6-156,-4 116,3 60,-2-67,1 125,-1-1,1 0,0 0,0 1,-1-1,1 0,-1 1,0-1,1 0,-1 1,0-1,0 1,0-1,0 1,0 0,0-1,0 1,-1 0,1 0,0 0,-3-2,1 2,0 0,0 0,0 0,0 0,0 0,0 1,0-1,-1 1,1 0,0 0,-4 1,-8 1,0 1,0 1,-26 9,37-11,-86 27,48-17,1 2,-47 24,85-37,0 1,0 0,0 0,0 0,1 0,-1 1,1-1,0 1,-1 0,1-1,0 1,-1 4,-14 38,13-30,2-11,0-1,0 1,0-1,0 0,-1 0,1 1,-1-2,0 1,0 0,0 0,0-1,0 0,-6 4,5-4,-1 1,1 0,1 0,-1 0,0 0,1 1,0-1,-1 1,-3 7,-5 16,10-21,0 0,-1 0,0 0,0 0,-1 0,1-1,-1 1,-9 8,9-11,1 1,-1 0,1-1,0 1,0 0,1 1,-1-1,1 0,0 1,0-1,0 1,0 0,1 0,0 0,0-1,0 1,1 0,-1 0,2 10,1 4,1 0,2 0,11 36,-9-36,-2 1,6 28,-7 28,-5 86,-1-53,2-95,-2-1,1 1,-2-1,0 0,0 0,-1 0,-1-1,0 1,-9 14,-9 12,-40 51,34-51,14-17,1 1,0 0,2 1,-12 31,5-12,-2 0,-35 50,16-26,12-14,-34 95,55-130,0 1,2-8,0 0,1 1,1 0,-4 18,7-29,0 0,0-1,0 1,1 0,-1-1,0 1,0 0,0 0,0-1,1 1,-1 0,0-1,1 1,-1-1,0 1,1 0,-1-1,1 1,-1-1,1 1,-1-1,1 1,0-1,-1 1,1-1,-1 0,1 1,0-1,-1 0,1 0,0 1,0-1,0 0,29 2,-26-2,45-1,92 11,25 14,-146-21,1 1,-1 2,0 0,0 0,0 2,24 13,-26-10,27 21,-35-26,0 0,0 0,0-1,0 0,1-1,0 0,0-1,0 0,0-1,1 0,14 0,-24-2,-1 0,1 0,-1-1,1 1,-1 0,1-1,-1 1,1-1,-1 0,1 1,-1-1,1 0,-1 0,0 0,0 0,1 0,0-2,1-1,0 1,-1-1,0 0,0 0,0 0,1-5,4-13,-1-1,-1 1,-2-1,0-1,0-30,-12-122,2 123,-1-1,-24-76,29 116,0 0,1 0,1-1,0-25,-2-23,1 53,0 0,-1 1,0-1,-8-14,7 16,0-1,1-1,0 1,0-1,-2-11,1-47,5-85,1 46,-1 82,0 1,1-1,1 1,2-1,10-34,-9 41,-1 1,-1-1,-1 0,-1 0,0 0,-1-1,-1 1,-3-22,3 38,0 1,0 0,0 0,0 0,0 0,0 0,-1 0,1 0,-1 0,1 0,0 0,-1 0,1 0,-1 0,0 1,1-1,-1 0,0 0,0 0,1 1,-1-1,0 0,-1 0,1 1,0 0,0 0,0 0,0 0,0 1,0-1,0 0,0 0,1 1,-1-1,0 0,0 1,0-1,0 1,0-1,1 1,-1 0,0-1,-1 2,-4 5,0 0,1 0,0 0,-7 12,-8 20,1 2,2 0,-20 76,-12 136,29-138,8-48,2 0,-1 80,11-132,1 0,0 0,1 0,1-1,0 1,1 0,6 15,14 51,-19-57,2 0,10 25,-13-39,0 0,-1 1,-1-1,0 1,2 17,-4-28,0 0,0-1,0 1,0 0,0 0,0 0,0 0,0 0,0 0,0 0,0 0,0 0,0 0,1 0,-1 0,0 0,0 0,0 0,0 0,0 0,0 0,0 0,0 0,0 0,0 0,0 0,0 0,0 1,1-1,-1 0,0 0,0 0,0 0,0 0,0 0,0 0,0 0,0 0,0 0,0 0,0 0,0 0,0 0,0 0,0 0,0 1,5-15,2-23,12-204,11-83,-19 268,4 0,33-86,-27 85,-2-1,12-61,-28 101,6-33,-1 0,0-62,-10-25,-20-143,-1 37,19 176,3 57,0 0,-1 0,-5-16,6 22,-1 1,0 0,1 1,-1-1,-1 0,1 0,0 1,-1 0,0-1,0 1,-6-5,-2-2,-1-1,2 0,-1-1,2 0,-14-21,21 29,-1 1,0-1,0 1,0 0,-1 0,1 0,-1 0,0 1,1-1,-1 1,0 0,-1 0,1 0,0 1,0-1,-1 1,1 0,-7 0,-8-1,0 1,-37 4,20-1,-339-1,632-1,-251 0,1 1,-1 0,0 0,0 0,0 1,0 0,0 0,0 0,6 5,8 4,22 18,4 2,-38-26,0-1,0 1,0 0,-1 0,0 1,0 0,0 0,-1 1,0 0,0 0,-1 0,0 1,6 12,17 49,-4 1,15 75,20 149,-34-151,58 234,-76-342,-5-20,1 0,0 0,2 0,9 24,-1-13,-2 0,-1 0,-1 1,-1 0,-1 1,-2 0,-1 0,-1 0,-1 0,-3 44,-4-47,-1 0,-2 0,0 0,-1-1,-18 32,0 5,-18 46,-39 141,54-161,2-10,23-53,2 1,0-1,1 1,2-1,2 28,0-14,-4 41,-10 13,-3 0,-52 165,47-179,13-50,0 1,-15 34,18-56,1-1,-1 0,0-1,-1 1,1-1,-1 0,0 0,-8 6,8-7,0 0,0 1,1-1,-1 1,1 0,0 0,1 0,-1 0,1 1,-3 7,2 0,1 0,-3 25,-3 10,7-33,0-1,-1 24,3-26,-1 0,0-1,0 1,-6 18,6-28,1-1,-1 1,0-1,1 1,-1 0,0-1,0 0,0 1,-1-1,1 0,0 1,0-1,-1 0,1 0,-1 0,1 0,-1 0,1 0,-1-1,1 1,-1 0,0-1,1 1,-1-1,0 0,0 0,1 1,-1-1,0 0,0-1,1 1,-4-1,-6-1,0-1,0 0,1-1,-14-6,-5-2,12 7,9 3,1 0,0 0,1-1,-1 0,0 0,-10-8,7 5,0-1,0 2,0-1,0 1,-1 1,0 0,0 0,0 1,-1 0,1 1,-1 1,1 0,-18 0,-233 4,248-2,0 1,0 0,1 1,-1 0,-24 10,24-7,1-2,-1 0,-1 0,-27 2,38-8,10-3,10-4,-9 5,1 0,-1-1,0 0,0 0,0-1,-1 0,0 0,7-9,19-17,-24 25,0-1,0 0,-1 0,0-1,-1 0,6-10,5-14,-4 8,0 0,13-42,-23 58,-1 0,0 0,-1 0,0 0,0 0,-1 0,0 0,-1 0,0 0,0 0,-1 0,-3-11,0 8,0-1,0 1,-2 0,1 1,-1-1,-1 1,0 1,-18-19,18 20,0 0,1 0,0-1,0 0,1 0,1 0,0-1,0 0,1 0,0 0,1 0,-3-16,2-11,1 0,2-58,2 57,-1 1,-7-46,-22-50,4-21,18 98,3-1,5-99,1 54,-2 50,-14-105,-10 18,17 90,3 0,4-99,2 67,-3-34,3-115,9 146,1-16,-10-398,-4 258,2 171,0 5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1T03:05:22.699"/>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5,'218'-12,"-9"-1,386 14,-570-1</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1T03:05:22.700"/>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1 97,'32'-9,"1"1,1 2,49-3,-47 6,317-29,-287 27,84-9,-59 6,144 6,-120 3,-80 2,-1 0,0 2,0 2,40 13,-67-19,12 4,34 2,5 1,12 2,-50-8</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1T03:05:22.701"/>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0 1,'4'5,"0"1,-1 0,0 0,0 0,-1 1,0-1,0 1,0-1,-1 1,1 10,1-1,13 64,-5 1,3 102,-2-62,-1-16,-9 240,-4-177,4-133,2 0,16 65,-3-15,-7-31,-3-16,-1-1,0 40,5 50,0-5,-12 248,-10-231,-1-10,13-62,0-38,-1-1,-1 1,-9 45,-20 103,22-81,6 154,4-120,-3-99,0-22,0 1,1 0,0-1,1 1,0-1,0 1,4 10,-4-18,0 0,0 0,0 0,1 0,-1-1,1 1,-1 0,1-1,0 1,-1-1,1 0,0 0,0 1,0-1,0 0,0-1,0 1,0 0,0 0,1-1,2 1,6 0,0 0,0 0,12-2,-10 1,42-2,99-15,-20 0,-71 10,56-2,136 8,-114 3,308-2,-443 0,1-1,-1 1,1-1,-1 0,0-1,1 1,-1-1,10-5,-14 6,-1 0,1 0,-1 0,0 0,0 0,1 0,-1 0,0 0,0-1,0 1,0 0,0-1,0 1,-1-1,1 1,1-3,-2 2,0 0,0 0,0 0,0 0,0 0,0 0,-1 0,1 0,0 0,-1 1,0-1,1 0,-1 0,0 0,0 1,0-1,-2-2,-7-11,1 0,1 0,0-1,1 0,-6-19,-9-22,16 44,1 0,0 0,-5-24,-16-145,6 42,-1-10,16 28,5 1,31-241,-22 273,-4-145,-2 27,9 109,-6 62,0-48,-5 42,13-263,-8 254,21-253,-16 175,1-1,-12 100,-1 18,1 1,0-1,1 0,0 0,1 1,0-1,5-14,8-8,-8 21,-1-2,0 1,-1-1,0 0,4-26,-9 37,1 1,-1-1,0 1,-1 0,1-1,-1 1,1 0,-1-1,0 1,0 0,-1 0,1 0,-1-1,1 2,-1-1,0 0,0 0,0 0,0 1,-1-1,1 1,-1 0,0 0,1 0,-1 0,0 0,0 1,0-1,0 1,0 0,-7-2,-3-1,1 2,-1-1,0 1,1 1,-19 1,-64 6,-25 16,87-14,-1-1,-54 4,-220 3,-198-4,351-11,146 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1T02:59:32.773"/>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494'0,"-474"0</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1T03:05:22.702"/>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1 1,'0'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1T03:05:22.703"/>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77 613,'547'0,"-535"0,0-1,0 0,-1-1,1-1,19-7,54-27,-16 6,169-55,-220 81,0 1,0 0,0 2,33-1,-21 1,-27 2,0 0,-1 0,1 0,0-1,-1 1,1-1,0 0,-1 0,1 0,-1 0,1 0,-1 0,0-1,0 1,1-1,-1 0,0 1,3-4,-4 2,0 1,0-1,0 1,0-1,0 1,0-1,-1 1,1-1,-1 0,0 1,0-1,0 0,0 1,0-1,0 0,-1 1,1-1,-2-3,-8-23,-1 0,-1 2,-21-37,-11-24,41 82,0-1,0 0,-1 1,0-1,0 1,-1 0,1 1,-2-1,1 1,0 0,-1 0,0 0,0 1,0 0,-1 0,1 1,-1 0,0 0,0 0,0 1,0 0,0 0,-14-1,3 2,1 0,0 2,0 0,0 0,-33 9,25-5,-42 3,41-6,0 2,-50 13,45-9,-42 5,-12-1,39-5,-65 1,75-9,1-1,-51-10,59 7,1 1,-1 2,0 1,-36 3,61-2,1 0,0 0,-1 0,1 0,0 0,-1 1,1-1,0 1,0-1,-1 1,1-1,0 1,0-1,0 1,-1 0,1 0,0 0,0 0,0 0,0 0,0 1,0-1,1 0,0 1,-1-1,1 0,0 0,0 0,0 1,0-1,0 0,1 0,-1 0,0 1,0-1,1 0,-1 0,1 0,-1 0,2 2,3 5,1 1,0-1,0-1,10 10,-15-16,14 15,-1 0,0 1,-2 1,0 0,11 23,-9-10,12 38,-6-14,-5-20,-9-23,-1 1,0 1,0-1,-1 1,-1 0,2 21,-4-25,-1 0,-1-1,0 1,0 0,-1-1,0 1,-1-1,0 0,0 0,-1 0,0 0,0 0,-1-1,-1 1,-7 8,1 1,1 0,0 1,1 1,1 0,1 0,1 1,1-1,1 1,0 1,2-1,0 1,1 22,1 271,3-144,10-8,-1 5,-12 230,0-379,0-1,-8 29,5-25,-3 29,4-23,-2-1,0 1,-13 32,2-3,65-116,-38 48,0 1,0 1,0 0,2 0,-1 1,1 1,17-8,-9 7,1 0,0 1,0 1,24-2,20 1,1 4,81 5,-135-2,47 0,-36-1,0 1,32 5,-45-2,0 0,0 2,-1-1,0 1,17 11,-13-8,-6-3,-1 0,0 0,9 8,-14-11,-1-1,1 1,-1-1,1 1,-1-1,0 1,0 0,1 0,-1 0,0 0,-1-1,1 1,0 1,-1-1,1 0,-1 0,1 0,-1 4,0-6,0 1,0-1,0 1,0-1,0 0,0 1,0-1,-1 1,1-1,0 0,0 1,0-1,0 0,-1 1,1-1,0 0,0 1,-1-1,1 0,0 1,-1-1,1 0,0 0,-1 1,1-1,0 0,-1 0,1 0,-1 0,1 0,0 1,-1-1,1 0,-1 0,1 0,-1 0,1 0,0 0,-1 0,1 0,-1 0,1-1,0 1,-1 0,1 0,-1 0,1 0,0-1,-1 1,1 0,0 0,-1-1,1 1,-1 0,-17-17,11 5,0 0,1-1,0 0,1 0,1-1,0 1,1-1,-2-17,-6-19,5 11,1 0,1 0,3-1,4-53,-1 10,-4-16,5-93,1 166,1 1,1 0,15-39,3-9,-14 35,-1 0,-3 0,-1-1,0-69,-7-265,2 364,0 1,1 0,0 0,0-1,1 1,0 0,0 0,4-8,-6 16,0-1,1 0,-1 1,0-1,0 1,1-1,-1 0,1 1,-1-1,0 1,1-1,-1 1,1-1,-1 1,1-1,0 1,-1 0,1-1,-1 1,1 0,0 0,-1-1,1 1,0 0,-1 0,1 0,0 0,-1 0,1-1,0 2,-1-1,2 0,0 0,-1 1,1 0,-1 0,1 0,-1 0,1 0,-1 1,1-1,-1 0,0 1,2 2,3 4,-1 0,0 1,5 14,-1 4,7 41,-12-46,1 0,1 0,17 39,-13-40,-2 1,-1 0,0 0,-2 0,0 1,2 36,-6 145,-4-98,3-86,-2-1,-1 1,0-1,-1 1,-9 22,-41 90,35-94,6-12,1 0,-10 32,7-8,-28 56,12-31,-29 108,-6 84,41-160,22-95,-1 0,0 0,0 0,-7 12,9-21,0 1,0 0,-1-1,1 0,-1 1,0-1,0 0,0-1,0 1,0 0,-1-1,1 0,-1 0,1 0,-1 0,-4 1,5-2,0-1,0 0,0 0,0 0,1 0,-1 0,0-1,0 1,0-1,0 0,0 1,1-1,-1-1,0 1,1 0,-1-1,1 1,-4-4,-6-4,0-1,-13-15,16 16,-16-17,1-1,2-2,0 0,2-1,1-1,-25-55,35 63,0 0,2 0,0-1,2 0,1 0,0 0,2-1,1 1,1 0,5-48,5 29,2 0,2 1,1 1,3 0,31-55,-24 57,-20 32,1-1,-1 0,-1 0,0 0,0-1,0 1,-1-1,3-16,-1-26,-2-1,-5-58,-1 16,3 78,8-256,-4 226,2 1,2 0,27-87,-24 107,-9 20,1 0,-1 0,0-1,-1 1,1 0,-1-1,0 1,1-12,-2 17,0 0,0 0,0 0,0 0,0-1,0 1,0 0,0 0,0 0,0 0,0-1,0 1,0 0,-1 0,1 0,0 0,0 0,0-1,0 1,0 0,0 0,0 0,0 0,0 0,-1 0,1 0,0 0,0-1,0 1,0 0,0 0,-1 0,1 0,0 0,0 0,0 0,0 0,0 0,-1 0,1 0,0 0,-8 4,-8 11,16-14,-111 140,53-64,19-24,3 1,-43 83,69-103,-5 10,15-43,-1 0,1 1,-1-1,0 0,1 0,-1 0,0 0,0 0,0 0,0 0,0 0,0 0,0 0,0 0,0-1,-1 1,1 0,0-1,0 1,-1-1,1 1,0-1,-1 0,-2 1,4-1,-1-1,0 1,1 0,-1 0,1 0,-1-1,1 1,-1 0,1 0,-1-1,1 1,-1 0,1-1,-1 1,1-1,-1 1,1 0,0-1,-1 1,1-1,0 1,-1-1,1 0,0 1,0-1,0 1,-1-1,1 1,0-1,0 0,0 1,0-1,0 1,0-1,0 0,0 1,0-1,1 1,-1-1,0 0,7-28,-6 28,5-19,2 0,0 1,1 0,1 1,1 0,1 0,0 1,1 0,30-28,-8 10,-22 21,1 1,0 0,1 1,0 0,1 1,29-14,22-11,-42 22,30-12,-46 23,0-1,0 2,0-1,0 2,1-1,-1 1,14 0,-19 1,0 0,0 1,-1-1,1 1,-1 0,1-1,-1 2,1-1,-1 0,1 1,-1 0,0-1,0 1,0 0,0 1,0-1,3 4,-2-2,-1 1,-1-1,1 1,-1-1,0 1,0 0,0-1,0 1,-1 0,0 0,1 6,-1 9,0 0,-2 0,0 0,-1-1,-7 28,-53 213,53-227,-8 64,8-36,-41 154,46-175,1 0,2 0,5 56,-3-93,-1 1,0-1,1 0,0 0,0 1,0-1,0 0,0 0,1 0,-1 0,1 0,2 3,-3-5,0 0,0 0,0 0,1-1,-1 1,0 0,0-1,0 1,0-1,1 1,-1-1,0 1,1-1,-1 0,0 0,1 0,-1 0,0 0,1 0,-1 0,0 0,1 0,-1 0,0-1,0 1,1-1,-1 1,0-1,0 1,0-1,1 0,1-1,5-2,-1-1,1 0,-1-1,0 1,0-1,-1-1,1 1,-1-1,-1 0,1-1,-1 1,-1-1,1 0,-1 0,-1-1,0 1,0-1,0 0,-1 1,0-1,-1 0,0-11,-1 2,-1-1,-1 1,0 0,-2-1,0 1,-1 1,-1-1,0 1,-2 0,-14-26,20 41,0-1,0 1,1-1,-2 1,1 0,0 0,0 0,-1 0,-3-2,-7-3</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0T10:47:41.84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943'0,"-923"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0T10:47:44.20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494'0,"-474"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0T10:47:47.32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8,'146'1,"161"-3,-191-10,20 0,-84 11,-18-1,0 2,1 1,-1 2,60 12,-3 20,-79-30,4 2</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0T10:48:05.280"/>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1 25,'2058'0,"-2029"-1,51-10,-49 6,40-2,224 7,-274 0</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0T10:48:09.909"/>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0 120,'4'4,"0"-1,1 0,-1 0,1 0,0 0,-1-1,1 0,10 4,43 7,-18-8,1-2,72-3,-48-2,-31 0,0-1,63-16,-61 10,1 3,41-3,93 9,26 0,-115-11,10 0,21 11,27-1,-114-3,0 0,37-12,-39 9,0 1,50-5,4 9,51-5,90-26,-151 27,125 6,-85 2,73-2,-156 0</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0T10:48:30.326"/>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0 120,'80'-1,"-1"-3,100-19,-5-15,66-11,-205 46,63 1,-74 3</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0T10:48:32.182"/>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1 0,'10'1,"0"1,0 0,-1 0,1 1,0 0,13 6,15 5,2 0,0 1,-1 2,62 36,-75-34,-21-15,0 0,0-1,0 1,1-1,-1 0,1-1,0 1,11 2,3-2,0-1,0-1,25-1,-31-1,12 1</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0T10:48:33.839"/>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0 24,'269'-11,"2"-1,123 13,-370-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1T02:59:32.774"/>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8,'146'1,"161"-3,-191-10,20 0,-84 11,-18-1,0 2,1 1,-1 2,60 12,-3 20,-79-30,4 2</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0T10:48:41.183"/>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31 1,'39'0,"-1"3,48 8,-73-8,1-1,0 0,0 1,0 1,-1 1,15 6,-24-9,0 0,0 1,-1-1,1 1,-1 0,0 0,0 0,0 0,0 1,0-1,-1 1,0 0,1 0,-1 0,-1 0,1 0,-1 0,1 0,-1 1,0-1,0 5,1 9,0-1,-1 1,-1 0,0 0,-2-1,-4 23,4-30,0-1,-1-1,-1 1,1 0,-1-1,-1 1,1-1,-2-1,1 1,-1-1,0 1,0-2,-13 12,6-8,-1 0,0-1,0 0,-1-1,-21 8,25-12,0-1,0 0,0-1,0 0,0-1,-1 0,1 0,-20-3,28 2,1-1,-1 1,1-1,-1 0,1 0,0 0,0 0,-1 0,1 0,0-1,0 1,0-1,0 1,0-1,1 0,-1 0,0 0,1 0,-1 0,1 0,0 0,0 0,0 0,0-1,0 1,0 0,1-1,-1 1,0-5,-1-7,1-1,1 1,0-1,2-14,-1 6,0 9,0-1,0 1,5-16,-5 25,1 1,-1-1,1 0,0 1,1-1,-1 1,1 0,0-1,0 1,0 1,0-1,5-4,-7 7,-1 1,1-1,-1 1,0 0,1-1,-1 1,1-1,0 1,-1 0,1-1,-1 1,1 0,-1 0,1 0,0-1,-1 1,1 0,0 0,-1 0,1 0,-1 0,1 0,0 0,-1 0,1 0,0 1,-1-1,1 0,-1 0,1 0,0 1,-1-1,1 0,-1 1,1-1,-1 0,1 1,-1-1,1 1,-1-1,0 1,1-1,-1 1,1-1,-1 1,0-1,0 1,1 0,-1-1,0 1,0-1,0 1,0 0,0-1,0 1,0 0,5 40,-5-40,11 114,1 15,-14-53,4 57,-1-123,2 0,0 0,0-1,1 1,0-1,1 0,6 12,-5-12,-1 0,0 1,0-1,-1 1,-1 0,4 19,-5 87,-2-117,0 1,0-1,0 1,0-1,1 1,-1-1,0 0,0 1,0-1,0 1,0-1,1 0,-1 1,0-1,0 1,1-1,-1 0,0 1,0-1,1 0,-1 0,0 1,1-1,-1 0,0 0,1 1,-1-1,1 0,0 0,13-3,11-17,-24 20,8-7,0 0,0 1,1 0,0 0,0 1,0 1,1 0,0 0,-1 1,1 0,0 1,1 1,17-1,-14 1</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0T10:49:05.577"/>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1 0,'1154'0,"-1137"1,0-1,0 2,0 1,-1 0,1 0,-1 2,21 8,-21-6</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0T10:49:07.709"/>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0 1,'758'0,"-737"1,1 2,0 1,-1 0,0 1,29 12,-24-8,1-1,42 8,-7-12,81-3,-66-3,-57 2</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0T10:47:01.581"/>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2 23,'0'25,"-2"27,3 0,3-1,19 100,-16-112,7 77,-11-82,16 95,-13-88,3 20,3 87,-14 579,3-707,1-1,0 1,1-1,11 35,35 74,3 14,-44-103,-2 1,-1 0,-3 0,-3 67,0-40,0-51,-1 0,-1 0,0-1,-1 1,-7 17,4-14,2 0,-6 35,-17 130,9-136,0 0,18-45,0 0,0 1,0-1,1 0,0 0,-1 1,1-1,0 0,1 0,-1 1,1-1,0 4,0-6,0 1,0 0,0 0,0-1,0 1,1-1,-1 1,0-1,1 0,-1 1,1-1,-1 0,1 0,0 0,0 0,-1 0,1-1,0 1,0 0,0-1,0 1,2-1,6 2,0-1,0-1,10 0,-11 0,98-2,-36 0,121 12,-119-2,94-1,-137-5,53 8,7 1,-63-9,-12-1,1 0,0 0,0-2,0 0,-1-1,17-3,-31 4,1 1,0-1,-1 0,1 1,0-1,-1 0,1 0,-1 0,0 0,1 0,-1-1,0 1,0 0,1-1,-1 1,0-1,0 1,-1-1,1 1,0-1,0 0,-1 1,1-1,-1 0,0 1,1-1,-1 0,0 0,0 1,0-1,0 0,0 0,-1-3,-2-6,0 0,0-1,-1 1,-8-14,1-2,-14-52,3-2,-15-109,27 61,7 73,2 48,-1-1,0 1,0-1,-1 1,0 0,-4-10,2 9,1-1,1 0,-4-14,2-23,1 0,3-1,6-60,0 67,1 1,23-73,-13 53,-3 10,41-176,-46 180,-2 0,0-93,-9-298,4 257,-2 162,-1-1,-1 0,0 1,-2 0,-9-28,7 25,3 4,0 0,2-1,0 1,1 0,2-32,0 29,0-1,-2 0,-5-25,4 38,0 1,-1 0,0 0,0 1,-1-1,1 1,-1-1,-1 1,0 1,1-1,-2 1,1-1,-1 1,1 1,-1-1,-1 1,1 0,0 1,-1-1,0 1,0 0,0 1,0 0,-15-3,-55-2,-153-9,176 16,-100 14,31 11,104-22,-1 0,0-2,-20 0,-17 1,55-2,-1 0,1 1,0-1,0 1,0 0,-1-1,1 1,0 0,0 0,0 0,0 0,0 1,1-1,-1 1,0-1,1 1,-1-1,1 1,-1 0,1 0,0 0,-1 0,1 0,0 0,1 0,-1 0,0 0,0 0,0 3,-1 7,1 0,0 0,1 0,1 17,0-9,-1 78,5 86,-5-180,1 0,0 0,0 0,0 0,1 0,-1 0,1 0,0-1,0 1,0-1,1 1,-1-1,1 0,0 0,-1 0,1 0,1-1,-1 1,0-1,6 3,6 3,1 0,0-2,26 8,-18-7,7 5,32 17,-47-20,1-1,-1-1,2 0,-1-1,1-1,0 0,33 3,7-6,68-6,-122 3,1 1,-1-1,0 0,0 0,0 0,0-1,0 0,0 1,0-1,0 0,-1-1,1 1,-1-1,0 0,0 1,0-1,0-1,0 1,0 0,-1-1,0 1,4-8,-3 4,-1 0,0 0,0-1,0 1,-1 0,0-1,-1 1,1-1,-2 1,1-1,-1 1,-2-10,0 2,0 1,-2 0,1 0,-11-20,12 28,-1 0,0 0,0 0,-1 0,1 0,-1 1,0 0,-1 0,1 0,-13-7,4 4,-3-2,-30-21,47 30,0 1,-1-1,1 1,0 0,-1-1,1 1,0 0,0-1,-1 1,1 0,-1 0,1-1,0 1,-1 0,1 0,0 0,-1-1,1 1,-1 0,1 0,-1 0,1 0,0 0,-1 0,1 0,-1 0,1 0,-1 0,1 0,-1 0,1 0,0 1,-1-1,1 0,-1 0,1 0,0 0,-1 1,1-1,0 0,-1 1,1-1,0 0,-1 0,1 1,0-1,-1 1,1-1,0 0,0 1,0-1,-1 0,1 1,0-1,0 1,0-1,0 1,0-1,0 0,0 1,0-1,0 1,0-1,0 1,0-1,0 1,0-1,1 1,2 33,16 46,-11-53,-2 1,0-1,1 29,-2-1,14 63,-10-71,-2 1,1 56,-9-42,0-30,1 1,1-1,8 45,7 33,-8-40,3 47,-6 209,-7-174,3-77,-3 85,1-155,0 0,0-1,0 1,-1 0,1 0,-1-1,-1 1,1-1,0 1,-1-1,0 0,0 0,0 0,-5 3,-5 5,-1 0,-24 15,17-12,13-11,1 0,-1 0,0-1,0 0,0 0,0-1,0 0,-1 0,1-1,-10 1,-16-1,-40-3,35 0,64 2,1-1,43-8,-54 6,-1 0,1-1,-1-1,0 0,-1-1,27-14,-31 14,1 0,0 1,1 0,-1 1,1 0,0 0,0 1,19-2,-25 4,0 1,0-1,0 1,1 0,-1 0,0 1,0 0,0 0,0 0,0 0,0 1,0 0,0 0,0 0,-1 1,1 0,-1-1,0 1,1 1,6 6,-9-7,0 0,0 0,0 0,0 0,0 0,-1 1,1-1,-1 1,0-1,0 1,0-1,0 1,-1 0,0-1,0 1,0 0,0-1,0 1,-2 6,1-5,-1 0,0 0,0 0,0 0,-1 0,1 0,-1-1,0 1,-1-1,1 0,-1 0,-7 6,6-6,-3 4,0-1,-1 0,0-1,-20 10,24-14,1-1,-1 1,1-1,-1 0,0-1,1 1,-1-1,0 0,1 0,-1 0,0-1,1 0,-1 0,0 0,-6-3,-8-3,2-1,-1-1,1 0,1-2,-1 0,2-1,-29-26,0-9,-41-56,65 77,-17-21,-31-55,54 79,1-1,2 0,0-1,-12-45,20 53,0 1,1 0,0-28,2 35,0-1,1 1,0 0,1 0,0-1,0 1,7-15,-8 22,1-1,0 0,0 1,0 0,0-1,0 1,0 0,0 0,1 0,-1 0,1 0,5-2,39-14,-38 16,0-1,0-1,0 0,8-4,-8 0,1 0,-1-1,-1 0,0 0,0-1,9-14,13-16,-23 32,0 0,-1 0,0 0,0-1,-1 0,0 0,-1 0,0-1,0 1,-1-1,0 0,-1 0,2-12,-3-83,-2 100,0-1,0 0,-1 1,1-1,-1 0,0 1,-1 0,1 0,-1-1,0 1,0 1,-1-1,-3-4,-9-8,-31-28,43 42,-28-23,-41-25,42 31,-49-42,80 61,0 1,-1 0,1-1,0 1,0 0,-1-1,1 1,0 0,0 0,-1-1,1 1,0 0,-1 0,1 0,0-1,-1 1,1 0,-1 0,1 0,0 0,-1 0,1 0,-1 0,1 0,0 0,-1 0,1 0,-1 0,1 0,0 0,-1 0,1 0,0 0,-1 0,1 1,-1-1,1 0,0 0,-1 0,1 1,-1-1,1 1,0-1,0 1,0 0,0-1,-1 1,1 0,0-1,0 1,0 0,0 0,0-1,1 1,-1 0,0-1,0 1,0 0,1-1,-1 1,0-1,1 1,-1 0,0-1,1 1,0 0,2 2,0 1,1-1,0 0,-1 0,1 0,0 0,1-1,-1 1,0-1,6 2,52 14,-37-12,4 1,0-1,0-2,36 1,90-6,-75 0,-46 0,47 2,-78-1,-1 0,-1 0,1 1,0-1,0 0,0 1,0 0,0-1,0 1,0 0,-1 0,1 0,0 0,-1 1,1-1,-1 0,1 1,-1-1,1 1,-1-1,0 1,0-1,0 1,0 0,0 0,0 0,-1 0,1-1,-1 1,1 0,-1 0,1 0,-1 0,0 0,0 0,0 0,0 0,-1 0,1 3,-2 5,0 0,0 0,-1 0,0 0,-1 0,-6 10,-14 30,7-13,-2-1,-1 0,-26 32,33-51,0 1,1 0,2 1,-1 0,2 1,1 0,0 0,-7 31,3-6,6-24,1-1,1 1,-3 31,7 132,1-160</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0T10:47:14.696"/>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1 39,'15'1,"1"1,-1 1,1 1,-1 0,0 1,19 9,-1-1,198 90,-179-75,-38-19,0-1,1 0,0-1,0-1,0-1,1 0,-1-1,24 4,216-7,-120-3,-121 2,-5 0,0 0,0 0,1-1,13-3,-20 3,0 0,1 0,-1-1,0 1,0-1,-1 0,1 0,0 0,-1 0,1 0,-1 0,1-1,-1 1,0-1,0 0,2-4,16-31,-14 25,0 1,1 0,15-19,-10 13,-10 15,0 1,0-1,0 0,0 1,0-1,0 1,1 0,-1 0,1-1,-1 2,1-1,0 0,4-2,19-3,0 0,38-4,-39 8,57-7,-72 9,1 1,0 0,-1 1,1 0,15 4,-26-5,1 0,-1 0,1 0,-1 0,1 0,-1 0,1 1,-1-1,1 0,-1 0,1 0,-1 1,0-1,1 0,-1 0,1 1,-1-1,0 0,1 1,-1-1,0 1,1-1,-1 0,0 1,1 0,-11 5,-26 3,30-8,-54 8,-74 2,70-7,3 6,44-6,-31 2,-220-6,227-5,-69-17,21 4,76 14,1 1,-1-2,1 1,-13-8,-29-10,46 19,-1 0,0 1,0 0,0 1,-16-1,22 2,1 0,-1 0,1 1,-1-1,0 1,1-1,0 1,-1 0,1 0,-1 0,1 1,0-1,0 0,0 1,0-1,0 1,0 0,0 0,0 0,1 0,-1 0,1 0,-1 0,1 0,-1 3,-1 3,0-1,1 1,0 0,0 0,1 0,0-1,0 9,4 61,0-32,-2 251,-1-170,-1-91,-2 0,-2 0,-13 55,-40 98,33-125,-4 11,26-64,-46 169,41-143,2 0,2 0,0 40,4-21,16 99,-1-60,4 149,-20 437,1-678,0 1,0 0,0-1,0 1,1 0,-1-1,1 1,0 0,0-1,0 1,0-1,0 1,0-1,1 0,-1 0,1 1,0-1,-1 0,1 0,0-1,4 4,-1-2,0-1,-1 0,1 0,1 0,-1-1,0 1,0-1,1-1,-1 1,7-1,0 0,-1-1,1-1,0 0,-1-1,0 0,1-1,-1 0,11-7,33-10,-28 14,0 1,1 1,46-2,87 8,-62 1,-93-2,1 1,0 0,0 0,-1 0,1 1,-1-1,1 2,-1-1,0 1,0 0,0 0,0 1,6 4,4 1,0-1,0 0,1-1,0-1,0 0,1-2,24 4,-12-4,0-1,0-2,49-4,-76 3,0-1,-1 1,1-1,0 1,-1-1,1 0,-1 0,1 0,-1 0,1-1,-1 1,0-1,1 1,-1-1,0 0,0 0,0 0,-1 0,1 0,0 0,-1-1,1 1,-1 0,0-1,0 1,0-1,0 1,0-1,-1 0,1-3,1-9,-1 1,0-1,-1 0,-4-24,1 4,0-16,-2 1,-19-80,-44-94,48 169,-32-103,39 93,2 0,-3-112,12 124,1 0,3 0,10-54,-10 92,0 1,2 0,0 1,0-1,1 1,8-16,85-166,-68 143,-18 32,0 0,-2-1,8-23,-14 31,-1 0,-1-1,0 1,-1-1,0 0,-1 0,-3-18,-20-98,16 96,1 9,-8-38,3 0,-3-68,14 130,0 1,0 0,0 0,0 0,0 0,0-1,0 1,0 0,0 0,0 0,0 0,0 0,0-1,0 1,-1 0,1 0,0 0,0 0,0 0,0 0,0 0,0-1,0 1,-1 0,1 0,0 0,0 0,0 0,0 0,0 0,-1 0,1 0,0 0,0 0,0 0,0 0,0 0,-1 0,1 0,0 0,0 0,0 0,0 0,0 0,-1 0,1 0,0 0,0 0,0 0,0 0,0 0,-1 0,1 1,0-1,0 0,0 0,0 0,0 0,0 0,0 0,0 1,-1-1,1 0,0 0,0 0,-12 12,8-8,-19 20,-20 28,30-34,-1-1,-1-1,0 0,-1-1,-22 17,20-22,0-1,-1-1,-24 9,-5 1,38-14,0-1,-1 0,1-1,-1 0,-20 1,-56-4,40-1,18 1,20 0,0 0,-1 1,1 0,0 1,-1 0,1 0,-11 3,19-3,-1 0,1-1,0 1,-1 0,1 0,0-1,0 1,-1 0,1 0,0 0,0 1,0-1,0 0,0 0,1 1,-1-1,0 0,1 1,-1-1,1 0,-1 1,1-1,-1 1,1-1,0 1,0-1,0 1,0-1,0 1,0-1,0 1,1-1,-1 1,0-1,1 1,-1-1,1 1,0 1,1 1,0 0,0 0,0 0,1 0,0-1,-1 1,1-1,0 1,0-1,1 0,7 5,-4-4,0-1,1 0,0-1,0 0,0 0,9 1,-7-1,-1 0,1 0,-1 0,13 7,-3-1,-9-3,0 0,0 0,17 13,-23-16,-1 1,-1 0,1 0,0 0,-1 1,1-1,-1 0,0 1,0 0,0-1,-1 1,1 0,-1 0,1 7,1 1,-1 1,-1 0,0 0,-1 0,0 0,-1-1,-1 1,0 0,-1-1,0 1,0-1,-11 22,-12 19,2 0,-29 96,39-114,-1 0,-1-1,-2-1,-30 41,21-33,-38 79,48-80,-3 7,-33 58,18-56,27-38,0-1,0 1,1 1,0-1,-7 20,-6 21,-10 35,28-82,1 0,0 0,0 0,0 1,1-1,-1 0,1 0,1 0,-1 1,3 8,-2-12,0 1,0-1,0 0,0 1,1-1,-1 0,1 0,-1 0,1 0,0-1,0 1,0 0,0-1,0 1,0-1,0 0,1 1,-1-1,0 0,1 0,-1-1,1 1,4 0,3 0,0 0,0-1,0 0,0-1,0 0,0-1,0 0,0 0,0-1,-1-1,11-4,-5 2,0 1,1 1,24-5,-12 7,0 2,0 1,-1 1,46 9,-45-6,0-2,0-1,47-2,-73 0,1-1,-1 1,0-1,0 1,1-1,-1 0,0 0,0 0,0 0,0 0,0 0,0-1,-1 1,1 0,0-1,0 0,-1 1,0-1,1 0,-1 0,0 0,1 0,-1 0,-1 0,1 0,0 0,0-1,-1 1,1-3,1-8,0 1,-2-1,1 1,-3-17,1 7,-3-376,2 367,-1 0,-9-38,7 41,4 24,0 0,0 0,0 0,-1 0,1 0,-1 0,0 0,0 1,0-1,-1 1,1 0,-1-1,0 1,0 0,0 1,0-1,0 0,-1 1,1 0,-1 0,0 0,-7-3,-5 0,0 1,0 1,0 0,-27-1,-19-3,58 6,-1-1,1 1,0-1,0 0,0 0,0 0,0 0,1-1,-1 0,1 1,-1-1,1-1,-3-3,-4-6,1 0,-11-21,-3-4,20 33,-2-3,0 1,0 0,-1 0,-12-12,17 19,0-1,0 0,0 0,0 1,0-1,-1 1,1-1,0 1,0-1,0 1,0 0,-1-1,1 1,0 0,0 0,0 0,-3 0,3 1,-1-1,1 1,0 0,-1 0,1-1,0 1,0 0,0 0,0 0,0 0,0 0,0 0,0 0,0 1,0-1,1 0,-1 1,1-1,-2 2,-6 20,0 0,2 0,1 1,0 0,2 1,1-1,0 0,4 36,-1-44,1-1,1 1,0-1,10 27,-11-36,0 0,1-1,0 1,0 0,1-1,-1 1,1-1,0 0,1-1,-1 1,1-1,0 1,0-1,7 3,12 5,1-2,31 9,-14-5,-38-12,1 0,-1 1,0-1,1 1,-1 0,-1 0,1 0,0 1,-1 0,1-1,2 7,-2-5,0-1,1 1,-1 0,1-1,-1 0,7 4,-9-7,-1 0,0-1,1 1,-1-1,0 1,1-1,-1 1,1-1,-1 0,1 1,-1-1,1 0,-1 0,1 0,-1 0,1-1,-1 1,1 0,-1-1,0 1,1-1,-1 1,1-1,-1 0,0 1,0-1,1 0,-1 0,0 0,0 0,0 0,0 0,0 0,0 0,0-1,0 1,-1 0,1 0,1-3,3-6,-1-1,0 1,0-1,2-12,-6 21,33-196,-20 93,-8 63,-2-76,-2 8,10 38,-7 51,4-42,-8 42,1 5,0 1,-2-1,0 0,-3-16,3 27,-1 0,1 1,-1-1,0 0,0 1,-1-1,1 1,-1-1,0 1,0 0,-1 0,1 1,-1-1,1 1,-1 0,-8-5,-60-34,41 26,-46-34,66 44,1-1,-2 2,1-1,0 2,-1-1,-23-4,19 5,0 0,1-2,-19-8,18 7,0 0,-1 1,1 2,-1-1,-31-3,3 1,22 2,1 2,-1 1,0 0,0 2,-39 4,59-3,1-1,0 1,-1 0,1-1,-1 1,1 0,0 1,-1-1,1 0,0 1,0-1,0 1,0-1,0 1,1 0,-1 0,0 0,1 0,0 0,-1 0,1 1,0-1,0 0,0 1,0-1,1 1,-1-1,1 1,-1-1,1 1,0 2,0 10,0 0,1-1,1 1,4 20,0-2,-3-8,-1-3</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0T10:47:16.725"/>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0 0,'4'0,"6"0,4 0,5 0,2 0,3 0,-4 4,-5 5,-5 6,-4-1</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0T10:46:11.424"/>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59'45,"-47"-36,0-1,1 0,0 0,0-2,0 0,1 0,0-1,0-1,0 0,30 3,5-3,97-5,-56-1,544 2,-614 0</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0T10:46:39.966"/>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214 91,'-3'9,"-1"0,1-1,1 1,-1 0,2 0,-2 11,-1 57,4-51,-2 275,3-157,1-123,1 0,1 0,0 0,2-1,0 1,1-1,12 21,15 49,-25-62,-2 0,-1 0,-1 1,-1-1,-1 43,-1-32,8 53,2 33,0 13,0 8,-12-110,1-13,-1 0,-1-1,-1 1,-7 28,3-22,2 1,1 0,0 43,3-44,-1 0,-2 0,-10 50,-87 221,94-284,1 1,1 0,1 0,-3 34,6 72,1-66,1-40,0 0,1 0,1 0,1 0,0-1,11 24,10 29,-11-14,-2 0,-2 1,-3 0,1 85,-10 279,0-416,1-1,0 1,1 0,-1-1,1 1,-1 0,1-1,0 1,1-1,-1 1,1-1,-1 0,1 1,0-1,0 0,5 5,-5-6,1 0,0 0,-1-1,1 1,0-1,0 0,0 0,0 0,0 0,1 0,-1-1,0 1,0-1,0 0,1 0,-1 0,0 0,0-1,0 1,4-2,121-33,-36 17,0 4,150-4,-138 17,87 4,-28 18,-93-11,-22-3,67 2,-108-9,-1 0,1 1,-1 0,0 0,0 0,1 1,6 3,-12-4,0-1,1 1,-1-1,0 1,0-1,-1 1,1 0,0 0,0 0,0-1,0 1,-1 0,1 0,0 0,-1 0,1 0,-1 0,1 3,0-3,-1 1,-1-1,1 1,0-1,0 1,0-1,-1 1,1-1,-1 0,1 1,-1-1,0 1,0-1,1 0,-1 0,0 1,0-1,0 0,-2 1,-1 2,-1 1,0-2,0 1,-1-1,1 1,-1-1,1-1,-1 1,-10 2,-56 12,28-11,1-2,-1-2,-47-5,10 1,74 3,1-1,-1-1,1 1,0-1,-1 0,1 0,0-1,0 0,0 0,0-1,0 1,0-1,1-1,-1 1,1-1,-6-5,-12-9,-49-29,-33-8,89 49,0-1,0 2,0 0,-1 2,-17-3,22 5,5 0,0 1,-1-1,-12-4,18 5,0-1,1 0,-1 0,0 0,0 0,0 0,1 0,-1 0,1-1,-1 1,1-1,-1 1,1-1,0 1,0-1,-1 0,1 0,-1-2,-1-5,1 1,-1-1,2 0,-1 0,1 0,0-13,5-60,-1 34,-2 1,-1-161,-3 197,1-1,-2 1,1 0,-1 0,-1 0,0 1,-1-1,-12-16,-16-34,31 55,-35-90,34 82,0 0,1-1,1 0,-1-28,3 24,0 9,0 0,0 0,-1-1,0 1,0 0,-1 0,-1 0,0 1,-4-11,-8-15,1 0,1-2,3 1,-8-43,6-35,3 19,1 12,6-130,4 108,-5 69,-1 1,-1 0,-14-47,9 39,-1-9,2 0,3-1,1-88,5-138,20-369,28 244,-46 390,3-39,-5 51,0 0,0 0,0 0,0 0,-1 0,1 0,-1 0,1-1,-1 1,0 0,1 0,-1 1,0-1,0 0,-1 0,1 0,0 1,-3-4,3 5,0-1,0 1,0-1,-1 1,1 0,0-1,0 1,0 0,0 0,-1 0,1 0,0 0,0 0,0 0,-1 1,1-1,0 0,0 0,0 1,0-1,0 1,0-1,0 1,0 0,0-1,0 1,0 0,-1 1,-1 0,0 1,1-1,-1 1,1 0,0 0,0 0,0 0,-2 4,2-3,1 0,0 1,1-1,-1 0,1 0,0 1,-1-1,2 0,-1 1,1-1,-1 0,1 1,0-1,1 0,-1 0,1 0,0 0,0 0,0 0,0-1,1 1,-1-1,6 6,3 3,1 0,0-1,1-1,26 18,3 3,-34-24,1-1,-1 0,1 0,0 0,1-1,16 6,12 3,45 23,-67-30,1-2,-1 1,1-2,1 0,-1-1,0-1,1-1,-1 0,1-1,-1-1,1-1,-1 0,0-1,0-1,0-1,30-12,-27 9,0 1,27-5,-31 9,-1-1,0 0,0-2,-1 1,27-15,32-31,-39 26,45-24,-67 42,0 2,1-1,0 2,0-1,0 2,0 0,26-3,-92 7,-87-11,25 1,104 8,1 1,-1 1,1 0,0 0,0 1,0 0,0 0,0 1,0 1,0 0,1 0,0 1,-11 7,14-8,0-1,-1 1,1-1,-1 0,0-1,0 1,-13 2,-51 1,59-6,0 0,0 1,0 1,1-1,-1 2,1 0,-1 0,1 1,-18 9,14-5,1 2,1 0,0 0,0 1,1 1,0 0,1 0,1 2,0-1,1 1,-15 30,9-15,7-12,-13 34,19-45,0 0,1 0,0 0,0 0,1 0,-1 0,1 0,1 0,-1 0,3 7,5 27,-2 0,2 52,-7 82,-2-88,-1-54,-1 0,-2 0,0 0,-3-1,0 0,-2-1,-27 57,8-11,2 1,-20 103,23-81,13-60,6-24,1 0,0 0,1 0,-1 19,4 228,1-118,4-54,31 169,-5-57,-22-136,-3-29,1 44,-8-59,0 0,-2 0,0 0,-2-1,-13 43,-52 99,62-149,1 0,-2-1,0 0,0-1,-1 0,-1 0,0-1,0 0,-1-1,0-1,-15 9,117-62,-68 33,0 1,1 1,0 1,0 1,1 1,-1 1,40-3,176 7,-124 4,-52 1,120 24,-135-19,42 8,-26-4,0-2,111 3,25-15,-209 0,0 0,0 0,0-1,1 0,-1 0,1-1,-1-1,-11-5,2-1,0-1,-26-21,30 19,1-1,0 0,1-1,1-1,0 0,-13-26,21 35,0 0,0 0,1-1,0 1,0-1,1 1,0-1,-1-7,3-67,1 45,0-36,-4-1,-11-77,7 68,6 64,-1 1,-1-1,0 1,-10-36,3 23,1 0,1-1,2 0,1 0,2 0,1-34,3-238,-3 286,-1 1,-1-1,0 0,-11-30,7 29,2 0,1-1,-4-34,7 19,2 1,2-1,9-45,16-128,-8 51,-12 78,-6-156,-4 116,3 60,-2-67,1 125,-1-1,1 0,0 0,0 1,-1-1,1 0,-1 1,0-1,1 0,-1 1,0-1,0 1,0-1,0 1,0 0,0-1,0 1,-1 0,1 0,0 0,-3-2,1 2,0 0,0 0,0 0,0 0,0 0,0 1,0-1,-1 1,1 0,0 0,-4 1,-8 1,0 1,0 1,-26 9,37-11,-86 27,48-17,1 2,-47 24,85-37,0 1,0 0,0 0,0 0,1 0,-1 1,1-1,0 1,-1 0,1-1,0 1,-1 4,-14 38,13-30,2-11,0-1,0 1,0-1,0 0,-1 0,1 1,-1-2,0 1,0 0,0 0,0-1,0 0,-6 4,5-4,-1 1,1 0,1 0,-1 0,0 0,1 1,0-1,-1 1,-3 7,-5 16,10-21,0 0,-1 0,0 0,0 0,-1 0,1-1,-1 1,-9 8,9-11,1 1,-1 0,1-1,0 1,0 0,1 1,-1-1,1 0,0 1,0-1,0 1,0 0,1 0,0 0,0-1,0 1,1 0,-1 0,2 10,1 4,1 0,2 0,11 36,-9-36,-2 1,6 28,-7 28,-5 86,-1-53,2-95,-2-1,1 1,-2-1,0 0,0 0,-1 0,-1-1,0 1,-9 14,-9 12,-40 51,34-51,14-17,1 1,0 0,2 1,-12 31,5-12,-2 0,-35 50,16-26,12-14,-34 95,55-130,0 1,2-8,0 0,1 1,1 0,-4 18,7-29,0 0,0-1,0 1,1 0,-1-1,0 1,0 0,0 0,0-1,1 1,-1 0,0-1,1 1,-1-1,0 1,1 0,-1-1,1 1,-1-1,1 1,-1-1,1 1,0-1,-1 1,1-1,-1 0,1 1,0-1,-1 0,1 0,0 1,0-1,0 0,29 2,-26-2,45-1,92 11,25 14,-146-21,1 1,-1 2,0 0,0 0,0 2,24 13,-26-10,27 21,-35-26,0 0,0 0,0-1,0 0,1-1,0 0,0-1,0 0,0-1,1 0,14 0,-24-2,-1 0,1 0,-1-1,1 1,-1 0,1-1,-1 1,1-1,-1 0,1 1,-1-1,1 0,-1 0,0 0,0 0,1 0,0-2,1-1,0 1,-1-1,0 0,0 0,0 0,1-5,4-13,-1-1,-1 1,-2-1,0-1,0-30,-12-122,2 123,-1-1,-24-76,29 116,0 0,1 0,1-1,0-25,-2-23,1 53,0 0,-1 1,0-1,-8-14,7 16,0-1,1-1,0 1,0-1,-2-11,1-47,5-85,1 46,-1 82,0 1,1-1,1 1,2-1,10-34,-9 41,-1 1,-1-1,-1 0,-1 0,0 0,-1-1,-1 1,-3-22,3 38,0 1,0 0,0 0,0 0,0 0,0 0,-1 0,1 0,-1 0,1 0,0 0,-1 0,1 0,-1 0,0 1,1-1,-1 0,0 0,0 0,1 1,-1-1,0 0,-1 0,1 1,0 0,0 0,0 0,0 0,0 1,0-1,0 0,0 0,1 1,-1-1,0 0,0 1,0-1,0 1,0-1,1 1,-1 0,0-1,-1 2,-4 5,0 0,1 0,0 0,-7 12,-8 20,1 2,2 0,-20 76,-12 136,29-138,8-48,2 0,-1 80,11-132,1 0,0 0,1 0,1-1,0 1,1 0,6 15,14 51,-19-57,2 0,10 25,-13-39,0 0,-1 1,-1-1,0 1,2 17,-4-28,0 0,0-1,0 1,0 0,0 0,0 0,0 0,0 0,0 0,0 0,0 0,0 0,0 0,1 0,-1 0,0 0,0 0,0 0,0 0,0 0,0 0,0 0,0 0,0 0,0 0,0 0,0 0,0 1,1-1,-1 0,0 0,0 0,0 0,0 0,0 0,0 0,0 0,0 0,0 0,0 0,0 0,0 0,0 0,0 0,0 0,0 1,5-15,2-23,12-204,11-83,-19 268,4 0,33-86,-27 85,-2-1,12-61,-28 101,6-33,-1 0,0-62,-10-25,-20-143,-1 37,19 176,3 57,0 0,-1 0,-5-16,6 22,-1 1,0 0,1 1,-1-1,-1 0,1 0,0 1,-1 0,0-1,0 1,-6-5,-2-2,-1-1,2 0,-1-1,2 0,-14-21,21 29,-1 1,0-1,0 1,0 0,-1 0,1 0,-1 0,0 1,1-1,-1 1,0 0,-1 0,1 0,0 1,0-1,-1 1,1 0,-7 0,-8-1,0 1,-37 4,20-1,-339-1,632-1,-251 0,1 1,-1 0,0 0,0 0,0 1,0 0,0 0,0 0,6 5,8 4,22 18,4 2,-38-26,0-1,0 1,0 0,-1 0,0 1,0 0,0 0,-1 1,0 0,0 0,-1 0,0 1,6 12,17 49,-4 1,15 75,20 149,-34-151,58 234,-76-342,-5-20,1 0,0 0,2 0,9 24,-1-13,-2 0,-1 0,-1 1,-1 0,-1 1,-2 0,-1 0,-1 0,-1 0,-3 44,-4-47,-1 0,-2 0,0 0,-1-1,-18 32,0 5,-18 46,-39 141,54-161,2-10,23-53,2 1,0-1,1 1,2-1,2 28,0-14,-4 41,-10 13,-3 0,-52 165,47-179,13-50,0 1,-15 34,18-56,1-1,-1 0,0-1,-1 1,1-1,-1 0,0 0,-8 6,8-7,0 0,0 1,1-1,-1 1,1 0,0 0,1 0,-1 0,1 1,-3 7,2 0,1 0,-3 25,-3 10,7-33,0-1,-1 24,3-26,-1 0,0-1,0 1,-6 18,6-28,1-1,-1 1,0-1,1 1,-1 0,0-1,0 0,0 1,-1-1,1 0,0 1,0-1,-1 0,1 0,-1 0,1 0,-1 0,1 0,-1-1,1 1,-1 0,0-1,1 1,-1-1,0 0,0 0,1 1,-1-1,0 0,0-1,1 1,-4-1,-6-1,0-1,0 0,1-1,-14-6,-5-2,12 7,9 3,1 0,0 0,1-1,-1 0,0 0,-10-8,7 5,0-1,0 2,0-1,0 1,-1 1,0 0,0 0,0 1,-1 0,1 1,-1 1,1 0,-18 0,-233 4,248-2,0 1,0 0,1 1,-1 0,-24 10,24-7,1-2,-1 0,-1 0,-27 2,38-8,10-3,10-4,-9 5,1 0,-1-1,0 0,0 0,0-1,-1 0,0 0,7-9,19-17,-24 25,0-1,0 0,-1 0,0-1,-1 0,6-10,5-14,-4 8,0 0,13-42,-23 58,-1 0,0 0,-1 0,0 0,0 0,-1 0,0 0,-1 0,0 0,0 0,-1 0,-3-11,0 8,0-1,0 1,-2 0,1 1,-1-1,-1 1,0 1,-18-19,18 20,0 0,1 0,0-1,0 0,1 0,1 0,0-1,0 0,1 0,0 0,1 0,-3-16,2-11,1 0,2-58,2 57,-1 1,-7-46,-22-50,4-21,18 98,3-1,5-99,1 54,-2 50,-14-105,-10 18,17 90,3 0,4-99,2 67,-3-34,3-115,9 146,1-16,-10-398,-4 258,2 171,0 50</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0T13:32:04.26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5,'218'-12,"-9"-1,386 14,-570-1</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0T13:32:12.259"/>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1 97,'32'-9,"1"1,1 2,49-3,-47 6,317-29,-287 27,84-9,-59 6,144 6,-120 3,-80 2,-1 0,0 2,0 2,40 13,-67-19,12 4,34 2,5 1,12 2,-50-8</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1T02:59:32.775"/>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1 25,'2058'0,"-2029"-1,51-10,-49 6,40-2,224 7,-274 0</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0T13:32:18.766"/>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0 1,'4'5,"0"1,-1 0,0 0,0 0,-1 1,0-1,0 1,0-1,-1 1,1 10,1-1,13 64,-5 1,3 102,-2-62,-1-16,-9 240,-4-177,4-133,2 0,16 65,-3-15,-7-31,-3-16,-1-1,0 40,5 50,0-5,-12 248,-10-231,-1-10,13-62,0-38,-1-1,-1 1,-9 45,-20 103,22-81,6 154,4-120,-3-99,0-22,0 1,1 0,0-1,1 1,0-1,0 1,4 10,-4-18,0 0,0 0,0 0,1 0,-1-1,1 1,-1 0,1-1,0 1,-1-1,1 0,0 0,0 1,0-1,0 0,0-1,0 1,0 0,0 0,1-1,2 1,6 0,0 0,0 0,12-2,-10 1,42-2,99-15,-20 0,-71 10,56-2,136 8,-114 3,308-2,-443 0,1-1,-1 1,1-1,-1 0,0-1,1 1,-1-1,10-5,-14 6,-1 0,1 0,-1 0,0 0,0 0,1 0,-1 0,0 0,0-1,0 1,0 0,0-1,0 1,-1-1,1 1,1-3,-2 2,0 0,0 0,0 0,0 0,0 0,0 0,-1 0,1 0,0 0,-1 1,0-1,1 0,-1 0,0 0,0 1,0-1,-2-2,-7-11,1 0,1 0,0-1,1 0,-6-19,-9-22,16 44,1 0,0 0,-5-24,-16-145,6 42,-1-10,16 28,5 1,31-241,-22 273,-4-145,-2 27,9 109,-6 62,0-48,-5 42,13-263,-8 254,21-253,-16 175,1-1,-12 100,-1 18,1 1,0-1,1 0,0 0,1 1,0-1,5-14,8-8,-8 21,-1-2,0 1,-1-1,0 0,4-26,-9 37,1 1,-1-1,0 1,-1 0,1-1,-1 1,1 0,-1-1,0 1,0 0,-1 0,1 0,-1-1,1 2,-1-1,0 0,0 0,0 0,0 1,-1-1,1 1,-1 0,0 0,1 0,-1 0,0 0,0 1,0-1,0 1,0 0,-7-2,-3-1,1 2,-1-1,0 1,1 1,-19 1,-64 6,-25 16,87-14,-1-1,-54 4,-220 3,-198-4,351-11,146 1</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0T13:32:23.471"/>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1 1,'0'0</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0T13:32:35.357"/>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77 613,'547'0,"-535"0,0-1,0 0,-1-1,1-1,19-7,54-27,-16 6,169-55,-220 81,0 1,0 0,0 2,33-1,-21 1,-27 2,0 0,-1 0,1 0,0-1,-1 1,1-1,0 0,-1 0,1 0,-1 0,1 0,-1 0,0-1,0 1,1-1,-1 0,0 1,3-4,-4 2,0 1,0-1,0 1,0-1,0 1,0-1,-1 1,1-1,-1 0,0 1,0-1,0 0,0 1,0-1,0 0,-1 1,1-1,-2-3,-8-23,-1 0,-1 2,-21-37,-11-24,41 82,0-1,0 0,-1 1,0-1,0 1,-1 0,1 1,-2-1,1 1,0 0,-1 0,0 0,0 1,0 0,-1 0,1 1,-1 0,0 0,0 0,0 1,0 0,0 0,-14-1,3 2,1 0,0 2,0 0,0 0,-33 9,25-5,-42 3,41-6,0 2,-50 13,45-9,-42 5,-12-1,39-5,-65 1,75-9,1-1,-51-10,59 7,1 1,-1 2,0 1,-36 3,61-2,1 0,0 0,-1 0,1 0,0 0,-1 1,1-1,0 1,0-1,-1 1,1-1,0 1,0-1,0 1,-1 0,1 0,0 0,0 0,0 0,0 0,0 1,0-1,1 0,0 1,-1-1,1 0,0 0,0 0,0 1,0-1,0 0,1 0,-1 0,0 1,0-1,1 0,-1 0,1 0,-1 0,2 2,3 5,1 1,0-1,0-1,10 10,-15-16,14 15,-1 0,0 1,-2 1,0 0,11 23,-9-10,12 38,-6-14,-5-20,-9-23,-1 1,0 1,0-1,-1 1,-1 0,2 21,-4-25,-1 0,-1-1,0 1,0 0,-1-1,0 1,-1-1,0 0,0 0,-1 0,0 0,0 0,-1-1,-1 1,-7 8,1 1,1 0,0 1,1 1,1 0,1 0,1 1,1-1,1 1,0 1,2-1,0 1,1 22,1 271,3-144,10-8,-1 5,-12 230,0-379,0-1,-8 29,5-25,-3 29,4-23,-2-1,0 1,-13 32,2-3,65-116,-38 48,0 1,0 1,0 0,2 0,-1 1,1 1,17-8,-9 7,1 0,0 1,0 1,24-2,20 1,1 4,81 5,-135-2,47 0,-36-1,0 1,32 5,-45-2,0 0,0 2,-1-1,0 1,17 11,-13-8,-6-3,-1 0,0 0,9 8,-14-11,-1-1,1 1,-1-1,1 1,-1-1,0 1,0 0,1 0,-1 0,0 0,-1-1,1 1,0 1,-1-1,1 0,-1 0,1 0,-1 4,0-6,0 1,0-1,0 1,0-1,0 0,0 1,0-1,-1 1,1-1,0 0,0 1,0-1,0 0,-1 1,1-1,0 0,0 1,-1-1,1 0,0 1,-1-1,1 0,0 0,-1 1,1-1,0 0,-1 0,1 0,-1 0,1 0,0 1,-1-1,1 0,-1 0,1 0,-1 0,1 0,0 0,-1 0,1 0,-1 0,1-1,0 1,-1 0,1 0,-1 0,1 0,0-1,-1 1,1 0,0 0,-1-1,1 1,-1 0,-17-17,11 5,0 0,1-1,0 0,1 0,1-1,0 1,1-1,-2-17,-6-19,5 11,1 0,1 0,3-1,4-53,-1 10,-4-16,5-93,1 166,1 1,1 0,15-39,3-9,-14 35,-1 0,-3 0,-1-1,0-69,-7-265,2 364,0 1,1 0,0 0,0-1,1 1,0 0,0 0,4-8,-6 16,0-1,1 0,-1 1,0-1,0 1,1-1,-1 0,1 1,-1-1,0 1,1-1,-1 1,1-1,-1 1,1-1,0 1,-1 0,1-1,-1 1,1 0,0 0,-1-1,1 1,0 0,-1 0,1 0,0 0,-1 0,1-1,0 2,-1-1,2 0,0 0,-1 1,1 0,-1 0,1 0,-1 0,1 0,-1 1,1-1,-1 0,0 1,2 2,3 4,-1 0,0 1,5 14,-1 4,7 41,-12-46,1 0,1 0,17 39,-13-40,-2 1,-1 0,0 0,-2 0,0 1,2 36,-6 145,-4-98,3-86,-2-1,-1 1,0-1,-1 1,-9 22,-41 90,35-94,6-12,1 0,-10 32,7-8,-28 56,12-31,-29 108,-6 84,41-160,22-95,-1 0,0 0,0 0,-7 12,9-21,0 1,0 0,-1-1,1 0,-1 1,0-1,0 0,0-1,0 1,0 0,-1-1,1 0,-1 0,1 0,-1 0,-4 1,5-2,0-1,0 0,0 0,0 0,1 0,-1 0,0-1,0 1,0-1,0 0,0 1,1-1,-1-1,0 1,1 0,-1-1,1 1,-4-4,-6-4,0-1,-13-15,16 16,-16-17,1-1,2-2,0 0,2-1,1-1,-25-55,35 63,0 0,2 0,0-1,2 0,1 0,0 0,2-1,1 1,1 0,5-48,5 29,2 0,2 1,1 1,3 0,31-55,-24 57,-20 32,1-1,-1 0,-1 0,0 0,0-1,0 1,-1-1,3-16,-1-26,-2-1,-5-58,-1 16,3 78,8-256,-4 226,2 1,2 0,27-87,-24 107,-9 20,1 0,-1 0,0-1,-1 1,1 0,-1-1,0 1,1-12,-2 17,0 0,0 0,0 0,0 0,0-1,0 1,0 0,0 0,0 0,0 0,0-1,0 1,0 0,-1 0,1 0,0 0,0 0,0-1,0 1,0 0,0 0,0 0,0 0,0 0,-1 0,1 0,0 0,0-1,0 1,0 0,0 0,-1 0,1 0,0 0,0 0,0 0,0 0,0 0,-1 0,1 0,0 0,-8 4,-8 11,16-14,-111 140,53-64,19-24,3 1,-43 83,69-103,-5 10,15-43,-1 0,1 1,-1-1,0 0,1 0,-1 0,0 0,0 0,0 0,0 0,0 0,0 0,0 0,0 0,0-1,-1 1,1 0,0-1,0 1,-1-1,1 1,0-1,-1 0,-2 1,4-1,-1-1,0 1,1 0,-1 0,1 0,-1-1,1 1,-1 0,1 0,-1-1,1 1,-1 0,1-1,-1 1,1-1,-1 1,1 0,0-1,-1 1,1-1,0 1,-1-1,1 0,0 1,0-1,0 1,-1-1,1 1,0-1,0 0,0 1,0-1,0 1,0-1,0 0,0 1,0-1,1 1,-1-1,0 0,7-28,-6 28,5-19,2 0,0 1,1 0,1 1,1 0,1 0,0 1,1 0,30-28,-8 10,-22 21,1 1,0 0,1 1,0 0,1 1,29-14,22-11,-42 22,30-12,-46 23,0-1,0 2,0-1,0 2,1-1,-1 1,14 0,-19 1,0 0,0 1,-1-1,1 1,-1 0,1-1,-1 2,1-1,-1 0,1 1,-1 0,0-1,0 1,0 0,0 1,0-1,3 4,-2-2,-1 1,-1-1,1 1,-1-1,0 1,0 0,0-1,0 1,-1 0,0 0,1 6,-1 9,0 0,-2 0,0 0,-1-1,-7 28,-53 213,53-227,-8 64,8-36,-41 154,46-175,1 0,2 0,5 56,-3-93,-1 1,0-1,1 0,0 0,0 1,0-1,0 0,0 0,1 0,-1 0,1 0,2 3,-3-5,0 0,0 0,0 0,1-1,-1 1,0 0,0-1,0 1,0-1,1 1,-1-1,0 1,1-1,-1 0,0 0,1 0,-1 0,0 0,1 0,-1 0,0 0,1 0,-1 0,0-1,0 1,1-1,-1 1,0-1,0 1,0-1,1 0,1-1,5-2,-1-1,1 0,-1-1,0 1,0-1,-1-1,1 1,-1-1,-1 0,1-1,-1 1,-1-1,1 0,-1 0,-1-1,0 1,0-1,0 0,-1 1,0-1,-1 0,0-11,-1 2,-1-1,-1 1,0 0,-2-1,0 1,-1 1,-1-1,0 1,-2 0,-14-26,20 41,0-1,0 1,1-1,-2 1,1 0,0 0,0 0,-1 0,-3-2,-7-3</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1T02:59:32.776"/>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0 120,'4'4,"0"-1,1 0,-1 0,1 0,0 0,-1-1,1 0,10 4,43 7,-18-8,1-2,72-3,-48-2,-31 0,0-1,63-16,-61 10,1 3,41-3,93 9,26 0,-115-11,10 0,21 11,27-1,-114-3,0 0,37-12,-39 9,0 1,50-5,4 9,51-5,90-26,-151 27,125 6,-85 2,73-2,-156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1T02:59:32.777"/>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0 120,'80'-1,"-1"-3,100-19,-5-15,66-11,-205 46,63 1,-74 3</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1T02:59:32.778"/>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1 0,'10'1,"0"1,0 0,-1 0,1 1,0 0,13 6,15 5,2 0,0 1,-1 2,62 36,-75-34,-21-15,0 0,0-1,0 1,1-1,-1 0,1-1,0 1,11 2,3-2,0-1,0-1,25-1,-31-1,12 1</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1T02:59:32.779"/>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0 24,'269'-11,"2"-1,123 13,-370-1</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0-21T02:59:32.780"/>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31 1,'39'0,"-1"3,48 8,-73-8,1-1,0 0,0 1,0 1,-1 1,15 6,-24-9,0 0,0 1,-1-1,1 1,-1 0,0 0,0 0,0 0,0 1,0-1,-1 1,0 0,1 0,-1 0,-1 0,1 0,-1 0,1 0,-1 1,0-1,0 5,1 9,0-1,-1 1,-1 0,0 0,-2-1,-4 23,4-30,0-1,-1-1,-1 1,1 0,-1-1,-1 1,1-1,-2-1,1 1,-1-1,0 1,0-2,-13 12,6-8,-1 0,0-1,0 0,-1-1,-21 8,25-12,0-1,0 0,0-1,0 0,0-1,-1 0,1 0,-20-3,28 2,1-1,-1 1,1-1,-1 0,1 0,0 0,0 0,-1 0,1 0,0-1,0 1,0-1,0 1,0-1,1 0,-1 0,0 0,1 0,-1 0,1 0,0 0,0 0,0 0,0-1,0 1,0 0,1-1,-1 1,0-5,-1-7,1-1,1 1,0-1,2-14,-1 6,0 9,0-1,0 1,5-16,-5 25,1 1,-1-1,1 0,0 1,1-1,-1 1,1 0,0-1,0 1,0 1,0-1,5-4,-7 7,-1 1,1-1,-1 1,0 0,1-1,-1 1,1-1,0 1,-1 0,1-1,-1 1,1 0,-1 0,1 0,0-1,-1 1,1 0,0 0,-1 0,1 0,-1 0,1 0,0 0,-1 0,1 0,0 1,-1-1,1 0,-1 0,1 0,0 1,-1-1,1 0,-1 1,1-1,-1 0,1 1,-1-1,1 1,-1-1,0 1,1-1,-1 1,1-1,-1 1,0-1,0 1,1 0,-1-1,0 1,0-1,0 1,0 0,0-1,0 1,0 0,5 40,-5-40,11 114,1 15,-14-53,4 57,-1-123,2 0,0 0,0-1,1 1,0-1,1 0,6 12,-5-12,-1 0,0 1,0-1,-1 1,-1 0,4 19,-5 87,-2-117,0 1,0-1,0 1,0-1,1 1,-1-1,0 0,0 1,0-1,0 1,0-1,1 0,-1 1,0-1,0 1,1-1,-1 0,0 1,0-1,1 0,-1 0,0 1,1-1,-1 0,0 0,1 1,-1-1,1 0,0 0,13-3,11-17,-24 20,8-7,0 0,0 1,1 0,0 0,0 1,0 1,1 0,0 0,-1 1,1 0,0 1,1 1,17-1,-14 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idx="1"/>
          </p:nvPr>
        </p:nvSpPr>
        <p:spPr>
          <a:xfrm>
            <a:off x="692697" y="8460456"/>
            <a:ext cx="720079" cy="216000"/>
          </a:xfrm>
          <a:prstGeom prst="rect">
            <a:avLst/>
          </a:prstGeom>
        </p:spPr>
        <p:txBody>
          <a:bodyPr vert="horz" lIns="0" tIns="0" rIns="0" bIns="0" rtlCol="0" anchor="ctr"/>
          <a:lstStyle>
            <a:lvl1pPr algn="l">
              <a:defRPr sz="800">
                <a:solidFill>
                  <a:schemeClr val="tx1"/>
                </a:solidFill>
              </a:defRPr>
            </a:lvl1pPr>
          </a:lstStyle>
          <a:p>
            <a:pPr algn="l"/>
            <a:fld id="{8045A0D1-07B4-46FF-9F04-18BB5AAA8479}" type="datetimeFigureOut">
              <a:rPr lang="en-GB" noProof="0" smtClean="0"/>
              <a:pPr algn="l"/>
              <a:t>18/11/2024</a:t>
            </a:fld>
            <a:endParaRPr lang="en-GB" noProof="0"/>
          </a:p>
        </p:txBody>
      </p:sp>
      <p:sp>
        <p:nvSpPr>
          <p:cNvPr id="4" name="Slide Image Placeholder 3"/>
          <p:cNvSpPr>
            <a:spLocks noGrp="1" noRot="1" noChangeAspect="1"/>
          </p:cNvSpPr>
          <p:nvPr>
            <p:ph type="sldImg" idx="2"/>
          </p:nvPr>
        </p:nvSpPr>
        <p:spPr>
          <a:xfrm>
            <a:off x="685800" y="612000"/>
            <a:ext cx="5486400" cy="3086100"/>
          </a:xfrm>
          <a:prstGeom prst="rect">
            <a:avLst/>
          </a:prstGeom>
          <a:noFill/>
          <a:ln w="12700">
            <a:solidFill>
              <a:prstClr val="black"/>
            </a:solidFill>
          </a:ln>
        </p:spPr>
        <p:txBody>
          <a:bodyPr vert="horz" lIns="91440" tIns="45720" rIns="91440" bIns="45720" rtlCol="0" anchor="ctr"/>
          <a:lstStyle/>
          <a:p>
            <a:endParaRPr lang="en-GB" noProof="0"/>
          </a:p>
        </p:txBody>
      </p:sp>
      <p:sp>
        <p:nvSpPr>
          <p:cNvPr id="5" name="Notes Placeholder 4"/>
          <p:cNvSpPr>
            <a:spLocks noGrp="1"/>
          </p:cNvSpPr>
          <p:nvPr>
            <p:ph type="body" sz="quarter" idx="3"/>
          </p:nvPr>
        </p:nvSpPr>
        <p:spPr>
          <a:xfrm>
            <a:off x="685800" y="4068000"/>
            <a:ext cx="5486400" cy="4176408"/>
          </a:xfrm>
          <a:prstGeom prst="rect">
            <a:avLst/>
          </a:prstGeom>
        </p:spPr>
        <p:txBody>
          <a:bodyPr vert="horz" lIns="0" tIns="0" rIns="0" bIns="0" rtlCol="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Footer Placeholder 5"/>
          <p:cNvSpPr>
            <a:spLocks noGrp="1"/>
          </p:cNvSpPr>
          <p:nvPr>
            <p:ph type="ftr" sz="quarter" idx="4"/>
          </p:nvPr>
        </p:nvSpPr>
        <p:spPr>
          <a:xfrm>
            <a:off x="1628800" y="8460456"/>
            <a:ext cx="4032448" cy="216000"/>
          </a:xfrm>
          <a:prstGeom prst="rect">
            <a:avLst/>
          </a:prstGeom>
        </p:spPr>
        <p:txBody>
          <a:bodyPr vert="horz" lIns="0" tIns="0" rIns="0" bIns="0" rtlCol="0" anchor="ctr"/>
          <a:lstStyle>
            <a:lvl1pPr algn="l">
              <a:defRPr sz="800">
                <a:solidFill>
                  <a:schemeClr val="tx1"/>
                </a:solidFill>
              </a:defRPr>
            </a:lvl1pPr>
          </a:lstStyle>
          <a:p>
            <a:endParaRPr lang="en-GB" noProof="0"/>
          </a:p>
        </p:txBody>
      </p:sp>
      <p:sp>
        <p:nvSpPr>
          <p:cNvPr id="7" name="Slide Number Placeholder 6"/>
          <p:cNvSpPr>
            <a:spLocks noGrp="1"/>
          </p:cNvSpPr>
          <p:nvPr>
            <p:ph type="sldNum" sz="quarter" idx="5"/>
          </p:nvPr>
        </p:nvSpPr>
        <p:spPr>
          <a:xfrm>
            <a:off x="5733256" y="8460456"/>
            <a:ext cx="475085" cy="216000"/>
          </a:xfrm>
          <a:prstGeom prst="rect">
            <a:avLst/>
          </a:prstGeom>
        </p:spPr>
        <p:txBody>
          <a:bodyPr vert="horz" lIns="0" tIns="0" rIns="0" bIns="0" rtlCol="0" anchor="ctr"/>
          <a:lstStyle>
            <a:lvl1pPr algn="r">
              <a:defRPr sz="800">
                <a:solidFill>
                  <a:schemeClr val="tx1"/>
                </a:solidFill>
              </a:defRPr>
            </a:lvl1pPr>
          </a:lstStyle>
          <a:p>
            <a:fld id="{7A99B2F4-8F99-4FDD-A50D-433216698ED4}" type="slidenum">
              <a:rPr lang="en-GB" noProof="0" smtClean="0"/>
              <a:pPr/>
              <a:t>‹#›</a:t>
            </a:fld>
            <a:endParaRPr lang="en-GB" noProof="0"/>
          </a:p>
        </p:txBody>
      </p:sp>
    </p:spTree>
    <p:extLst>
      <p:ext uri="{BB962C8B-B14F-4D97-AF65-F5344CB8AC3E}">
        <p14:creationId xmlns:p14="http://schemas.microsoft.com/office/powerpoint/2010/main" val="362850185"/>
      </p:ext>
    </p:extLst>
  </p:cSld>
  <p:clrMap bg1="lt1" tx1="dk1" bg2="lt2" tx2="dk2" accent1="accent1" accent2="accent2" accent3="accent3" accent4="accent4" accent5="accent5" accent6="accent6" hlink="hlink" folHlink="folHlink"/>
  <p:notesStyle>
    <a:lvl1pPr marL="180000" indent="-180000" algn="l" defTabSz="914400" rtl="0" eaLnBrk="1" latinLnBrk="0" hangingPunct="1">
      <a:lnSpc>
        <a:spcPct val="100000"/>
      </a:lnSpc>
      <a:spcBef>
        <a:spcPts val="1000"/>
      </a:spcBef>
      <a:buClrTx/>
      <a:buSzPct val="80000"/>
      <a:buFont typeface="Wingdings" panose="05000000000000000000" pitchFamily="2" charset="2"/>
      <a:buChar char="n"/>
      <a:defRPr sz="1100" kern="1200">
        <a:solidFill>
          <a:schemeClr val="tx1"/>
        </a:solidFill>
        <a:latin typeface="+mn-lt"/>
        <a:ea typeface="+mn-ea"/>
        <a:cs typeface="+mn-cs"/>
      </a:defRPr>
    </a:lvl1pPr>
    <a:lvl2pPr marL="354013" indent="-171450" algn="l" defTabSz="914400" rtl="0" eaLnBrk="1" latinLnBrk="0" hangingPunct="1">
      <a:lnSpc>
        <a:spcPct val="100000"/>
      </a:lnSpc>
      <a:spcBef>
        <a:spcPts val="1000"/>
      </a:spcBef>
      <a:buClrTx/>
      <a:buSzPct val="80000"/>
      <a:buFont typeface="Wingdings" panose="05000000000000000000" pitchFamily="2" charset="2"/>
      <a:buChar char="o"/>
      <a:defRPr sz="1100" kern="1200">
        <a:solidFill>
          <a:schemeClr val="tx1"/>
        </a:solidFill>
        <a:latin typeface="+mn-lt"/>
        <a:ea typeface="+mn-ea"/>
        <a:cs typeface="+mn-cs"/>
      </a:defRPr>
    </a:lvl2pPr>
    <a:lvl3pPr marL="536575" indent="-182563" algn="l" defTabSz="914400" rtl="0" eaLnBrk="1" latinLnBrk="0" hangingPunct="1">
      <a:lnSpc>
        <a:spcPct val="100000"/>
      </a:lnSpc>
      <a:spcBef>
        <a:spcPts val="1000"/>
      </a:spcBef>
      <a:buClrTx/>
      <a:buSzPct val="80000"/>
      <a:buFont typeface="Wingdings" panose="05000000000000000000" pitchFamily="2" charset="2"/>
      <a:buChar char="n"/>
      <a:defRPr sz="1100" kern="1200">
        <a:solidFill>
          <a:schemeClr val="tx1"/>
        </a:solidFill>
        <a:latin typeface="+mn-lt"/>
        <a:ea typeface="+mn-ea"/>
        <a:cs typeface="+mn-cs"/>
      </a:defRPr>
    </a:lvl3pPr>
    <a:lvl4pPr marL="719138" indent="-182563" algn="l" defTabSz="914400" rtl="0" eaLnBrk="1" latinLnBrk="0" hangingPunct="1">
      <a:lnSpc>
        <a:spcPct val="100000"/>
      </a:lnSpc>
      <a:spcBef>
        <a:spcPts val="1000"/>
      </a:spcBef>
      <a:buClrTx/>
      <a:buSzPct val="80000"/>
      <a:buFont typeface="Wingdings" panose="05000000000000000000" pitchFamily="2" charset="2"/>
      <a:buChar char="o"/>
      <a:defRPr sz="1100" kern="1200">
        <a:solidFill>
          <a:schemeClr val="tx1"/>
        </a:solidFill>
        <a:latin typeface="+mn-lt"/>
        <a:ea typeface="+mn-ea"/>
        <a:cs typeface="+mn-cs"/>
      </a:defRPr>
    </a:lvl4pPr>
    <a:lvl5pPr marL="719138" indent="0" algn="l" defTabSz="987425" rtl="0" eaLnBrk="1" latinLnBrk="0" hangingPunct="1">
      <a:lnSpc>
        <a:spcPct val="100000"/>
      </a:lnSpc>
      <a:spcBef>
        <a:spcPts val="1000"/>
      </a:spcBef>
      <a:buClr>
        <a:schemeClr val="tx2"/>
      </a:buClr>
      <a:buFont typeface="Wingdings" panose="05000000000000000000" pitchFamily="2" charset="2"/>
      <a:buNone/>
      <a:defRPr sz="1100" kern="1200">
        <a:solidFill>
          <a:schemeClr val="tx1"/>
        </a:solidFill>
        <a:latin typeface="+mn-lt"/>
        <a:ea typeface="+mn-ea"/>
        <a:cs typeface="+mn-cs"/>
      </a:defRPr>
    </a:lvl5pPr>
    <a:lvl6pPr marL="719138" indent="0" algn="l" defTabSz="987425" rtl="0" eaLnBrk="1" latinLnBrk="0" hangingPunct="1">
      <a:lnSpc>
        <a:spcPct val="100000"/>
      </a:lnSpc>
      <a:spcBef>
        <a:spcPts val="1000"/>
      </a:spcBef>
      <a:buFont typeface="Arial" panose="020B0604020202020204" pitchFamily="34" charset="0"/>
      <a:buNone/>
      <a:defRPr sz="1100" kern="1200">
        <a:solidFill>
          <a:schemeClr val="tx1"/>
        </a:solidFill>
        <a:latin typeface="+mn-lt"/>
        <a:ea typeface="+mn-ea"/>
        <a:cs typeface="+mn-cs"/>
      </a:defRPr>
    </a:lvl6pPr>
    <a:lvl7pPr marL="719138" indent="0" algn="l" defTabSz="987425" rtl="0" eaLnBrk="1" latinLnBrk="0" hangingPunct="1">
      <a:lnSpc>
        <a:spcPct val="100000"/>
      </a:lnSpc>
      <a:spcBef>
        <a:spcPts val="1000"/>
      </a:spcBef>
      <a:buFont typeface="Arial" panose="020B0604020202020204" pitchFamily="34" charset="0"/>
      <a:buNone/>
      <a:defRPr sz="1100" kern="1200">
        <a:solidFill>
          <a:schemeClr val="tx1"/>
        </a:solidFill>
        <a:latin typeface="+mn-lt"/>
        <a:ea typeface="+mn-ea"/>
        <a:cs typeface="+mn-cs"/>
      </a:defRPr>
    </a:lvl7pPr>
    <a:lvl8pPr marL="719138" indent="0" algn="l" defTabSz="987425" rtl="0" eaLnBrk="1" latinLnBrk="0" hangingPunct="1">
      <a:lnSpc>
        <a:spcPct val="100000"/>
      </a:lnSpc>
      <a:spcBef>
        <a:spcPts val="1000"/>
      </a:spcBef>
      <a:buFont typeface="Arial" panose="020B0604020202020204" pitchFamily="34" charset="0"/>
      <a:buNone/>
      <a:defRPr sz="1100" kern="1200">
        <a:solidFill>
          <a:schemeClr val="tx1"/>
        </a:solidFill>
        <a:latin typeface="+mn-lt"/>
        <a:ea typeface="+mn-ea"/>
        <a:cs typeface="+mn-cs"/>
      </a:defRPr>
    </a:lvl8pPr>
    <a:lvl9pPr marL="719138" indent="0" algn="l" defTabSz="987425" rtl="0" eaLnBrk="1" latinLnBrk="0" hangingPunct="1">
      <a:lnSpc>
        <a:spcPct val="100000"/>
      </a:lnSpc>
      <a:spcBef>
        <a:spcPts val="1000"/>
      </a:spcBef>
      <a:buFont typeface="Arial" panose="020B0604020202020204" pitchFamily="34" charset="0"/>
      <a:buNone/>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12775"/>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4CD02E-3A09-463F-8C1D-EE0A45EA84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32431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12775"/>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4CD02E-3A09-463F-8C1D-EE0A45EA84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67977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12775"/>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4CD02E-3A09-463F-8C1D-EE0A45EA84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268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12775"/>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4CD02E-3A09-463F-8C1D-EE0A45EA84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34597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12775"/>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4CD02E-3A09-463F-8C1D-EE0A45EA84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70598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12775"/>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4CD02E-3A09-463F-8C1D-EE0A45EA84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64185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png"/></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3.xml"/><Relationship Id="rId4" Type="http://schemas.openxmlformats.org/officeDocument/2006/relationships/image" Target="../media/image48.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Master" Target="../slideMasters/slideMaster1.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Master" Target="../slideMasters/slideMaster1.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emf"/><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emf"/><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9.png"/><Relationship Id="rId1" Type="http://schemas.openxmlformats.org/officeDocument/2006/relationships/slideMaster" Target="../slideMasters/slideMaster5.xml"/><Relationship Id="rId4" Type="http://schemas.openxmlformats.org/officeDocument/2006/relationships/image" Target="../media/image50.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9.png"/><Relationship Id="rId1" Type="http://schemas.openxmlformats.org/officeDocument/2006/relationships/slideMaster" Target="../slideMasters/slideMaster5.xml"/><Relationship Id="rId4" Type="http://schemas.openxmlformats.org/officeDocument/2006/relationships/image" Target="../media/image50.pn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emf"/><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11.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png"/><Relationship Id="rId1" Type="http://schemas.openxmlformats.org/officeDocument/2006/relationships/slideMaster" Target="../slideMasters/slideMaster6.xml"/><Relationship Id="rId5" Type="http://schemas.openxmlformats.org/officeDocument/2006/relationships/image" Target="../media/image16.png"/><Relationship Id="rId4" Type="http://schemas.openxmlformats.org/officeDocument/2006/relationships/image" Target="../media/image10.sv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16.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pn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pn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Master" Target="../slideMasters/slideMaster6.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Master" Target="../slideMasters/slideMaster6.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emf"/><Relationship Id="rId1" Type="http://schemas.openxmlformats.org/officeDocument/2006/relationships/slideMaster" Target="../slideMasters/slideMaster6.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emf"/><Relationship Id="rId1" Type="http://schemas.openxmlformats.org/officeDocument/2006/relationships/slideMaster" Target="../slideMasters/slideMaster6.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emf"/><Relationship Id="rId1" Type="http://schemas.openxmlformats.org/officeDocument/2006/relationships/slideMaster" Target="../slideMasters/slideMaster6.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Master" Target="../slideMasters/slideMaster6.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emf"/><Relationship Id="rId1" Type="http://schemas.openxmlformats.org/officeDocument/2006/relationships/slideMaster" Target="../slideMasters/slideMaster6.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emf"/><Relationship Id="rId1" Type="http://schemas.openxmlformats.org/officeDocument/2006/relationships/slideMaster" Target="../slideMasters/slideMaster6.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Master" Target="../slideMasters/slideMaster1.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emf"/><Relationship Id="rId1" Type="http://schemas.openxmlformats.org/officeDocument/2006/relationships/slideMaster" Target="../slideMasters/slideMaster6.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emf"/><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emf"/><Relationship Id="rId1" Type="http://schemas.openxmlformats.org/officeDocument/2006/relationships/slideMaster" Target="../slideMasters/slideMaster6.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emf"/><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Master" Target="../slideMasters/slideMaster6.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emf"/><Relationship Id="rId1" Type="http://schemas.openxmlformats.org/officeDocument/2006/relationships/slideMaster" Target="../slideMasters/slideMaster6.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emf"/><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emf"/><Relationship Id="rId1" Type="http://schemas.openxmlformats.org/officeDocument/2006/relationships/slideMaster" Target="../slideMasters/slideMaster1.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Master" Target="../slideMasters/slideMaster1.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emf"/><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2.xml"/><Relationship Id="rId4" Type="http://schemas.openxmlformats.org/officeDocument/2006/relationships/image" Target="../media/image37.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4.png"/><Relationship Id="rId4" Type="http://schemas.openxmlformats.org/officeDocument/2006/relationships/image" Target="../media/image12.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7.png"/><Relationship Id="rId1" Type="http://schemas.openxmlformats.org/officeDocument/2006/relationships/slideMaster" Target="../slideMasters/slideMaster3.xml"/><Relationship Id="rId4" Type="http://schemas.openxmlformats.org/officeDocument/2006/relationships/image" Target="../media/image39.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16.png"/><Relationship Id="rId4" Type="http://schemas.openxmlformats.org/officeDocument/2006/relationships/image" Target="../media/image10.sv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Static Light Bkgd">
            <a:extLst>
              <a:ext uri="{FF2B5EF4-FFF2-40B4-BE49-F238E27FC236}">
                <a16:creationId xmlns:a16="http://schemas.microsoft.com/office/drawing/2014/main" id="{C4626CD7-1C0C-6928-FA7F-84C22CDFEB5C}"/>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Horizontal Rule">
            <a:extLst>
              <a:ext uri="{FF2B5EF4-FFF2-40B4-BE49-F238E27FC236}">
                <a16:creationId xmlns:a16="http://schemas.microsoft.com/office/drawing/2014/main" id="{429C2072-EE2B-A064-5CA2-6097546F935A}"/>
              </a:ext>
            </a:extLst>
          </p:cNvPr>
          <p:cNvCxnSpPr>
            <a:cxnSpLocks noGrp="1" noRot="1" noMove="1" noResize="1" noEditPoints="1" noAdjustHandles="1" noChangeArrowheads="1" noChangeShapeType="1"/>
          </p:cNvCxnSpPr>
          <p:nvPr userDrawn="1"/>
        </p:nvCxnSpPr>
        <p:spPr>
          <a:xfrm>
            <a:off x="292100" y="1364752"/>
            <a:ext cx="11607800" cy="0"/>
          </a:xfrm>
          <a:prstGeom prst="line">
            <a:avLst/>
          </a:prstGeom>
          <a:ln w="12700">
            <a:solidFill>
              <a:srgbClr val="555555"/>
            </a:solidFill>
          </a:ln>
        </p:spPr>
        <p:style>
          <a:lnRef idx="1">
            <a:schemeClr val="accent1"/>
          </a:lnRef>
          <a:fillRef idx="0">
            <a:schemeClr val="accent1"/>
          </a:fillRef>
          <a:effectRef idx="0">
            <a:schemeClr val="accent1"/>
          </a:effectRef>
          <a:fontRef idx="minor">
            <a:schemeClr val="tx1"/>
          </a:fontRef>
        </p:style>
      </p:cxnSp>
      <p:sp>
        <p:nvSpPr>
          <p:cNvPr id="6" name="Confidential disclaimer">
            <a:extLst>
              <a:ext uri="{FF2B5EF4-FFF2-40B4-BE49-F238E27FC236}">
                <a16:creationId xmlns:a16="http://schemas.microsoft.com/office/drawing/2014/main" id="{BB35ED0A-9206-82C6-8F45-ACF38F7B1A67}"/>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15" name="Copyright Line">
            <a:extLst>
              <a:ext uri="{FF2B5EF4-FFF2-40B4-BE49-F238E27FC236}">
                <a16:creationId xmlns:a16="http://schemas.microsoft.com/office/drawing/2014/main" id="{D439B148-E719-27C3-3403-978BEDC13EC0}"/>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36" name="Footer Placeholder">
            <a:extLst>
              <a:ext uri="{FF2B5EF4-FFF2-40B4-BE49-F238E27FC236}">
                <a16:creationId xmlns:a16="http://schemas.microsoft.com/office/drawing/2014/main" id="{7A2163E9-256E-9B73-6413-FAB496F455C7}"/>
              </a:ext>
            </a:extLst>
          </p:cNvPr>
          <p:cNvSpPr>
            <a:spLocks noGrp="1" noRot="1" noMove="1" noResize="1" noEditPoints="1" noAdjustHandles="1" noChangeArrowheads="1" noChangeShapeType="1"/>
          </p:cNvSpPr>
          <p:nvPr>
            <p:ph type="ftr" sz="quarter" idx="13"/>
          </p:nvPr>
        </p:nvSpPr>
        <p:spPr>
          <a:xfrm>
            <a:off x="3251200" y="6485399"/>
            <a:ext cx="3716336" cy="282957"/>
          </a:xfrm>
          <a:noFill/>
        </p:spPr>
        <p:txBody>
          <a:bodyPr/>
          <a:lstStyle>
            <a:lvl1pPr algn="l">
              <a:defRPr>
                <a:solidFill>
                  <a:schemeClr val="bg1">
                    <a:lumMod val="50000"/>
                  </a:schemeClr>
                </a:solidFill>
              </a:defRPr>
            </a:lvl1pPr>
          </a:lstStyle>
          <a:p>
            <a:endParaRPr lang="en-GB"/>
          </a:p>
        </p:txBody>
      </p:sp>
      <p:sp>
        <p:nvSpPr>
          <p:cNvPr id="8" name="Date Placeholder">
            <a:extLst>
              <a:ext uri="{FF2B5EF4-FFF2-40B4-BE49-F238E27FC236}">
                <a16:creationId xmlns:a16="http://schemas.microsoft.com/office/drawing/2014/main" id="{34C6756D-B2C7-2A2B-E9A7-BB5F5972C730}"/>
              </a:ext>
            </a:extLst>
          </p:cNvPr>
          <p:cNvSpPr>
            <a:spLocks noGrp="1" noRot="1" noMove="1" noResize="1" noEditPoints="1" noAdjustHandles="1" noChangeArrowheads="1" noChangeShapeType="1"/>
          </p:cNvSpPr>
          <p:nvPr>
            <p:ph type="dt" sz="half" idx="12"/>
          </p:nvPr>
        </p:nvSpPr>
        <p:spPr>
          <a:xfrm>
            <a:off x="292100" y="6073688"/>
            <a:ext cx="1744664" cy="282957"/>
          </a:xfrm>
        </p:spPr>
        <p:txBody>
          <a:bodyPr/>
          <a:lstStyle>
            <a:lvl1pPr>
              <a:defRPr sz="1200">
                <a:solidFill>
                  <a:srgbClr val="555555"/>
                </a:solidFill>
              </a:defRPr>
            </a:lvl1pPr>
          </a:lstStyle>
          <a:p>
            <a:fld id="{B6481281-E9D1-47F7-BA91-39AA71050F8A}" type="datetime1">
              <a:rPr lang="en-GB" smtClean="0"/>
              <a:t>18/11/2024</a:t>
            </a:fld>
            <a:endParaRPr lang="en-GB"/>
          </a:p>
        </p:txBody>
      </p:sp>
      <p:sp>
        <p:nvSpPr>
          <p:cNvPr id="19" name="Title/Dept Placeholder">
            <a:extLst>
              <a:ext uri="{FF2B5EF4-FFF2-40B4-BE49-F238E27FC236}">
                <a16:creationId xmlns:a16="http://schemas.microsoft.com/office/drawing/2014/main" id="{6942A971-1821-DF95-6B7B-A7991E06FA8B}"/>
              </a:ext>
            </a:extLst>
          </p:cNvPr>
          <p:cNvSpPr>
            <a:spLocks noGrp="1" noRot="1" noMove="1" noResize="1" noEditPoints="1" noAdjustHandles="1" noChangeArrowheads="1" noChangeShapeType="1"/>
          </p:cNvSpPr>
          <p:nvPr>
            <p:ph type="body" sz="quarter" idx="11" hasCustomPrompt="1"/>
          </p:nvPr>
        </p:nvSpPr>
        <p:spPr>
          <a:xfrm>
            <a:off x="292100" y="5562225"/>
            <a:ext cx="8625842" cy="344385"/>
          </a:xfrm>
        </p:spPr>
        <p:txBody>
          <a:bodyPr tIns="0" bIns="0">
            <a:noAutofit/>
          </a:bodyPr>
          <a:lstStyle>
            <a:lvl1pPr marL="0" indent="0">
              <a:lnSpc>
                <a:spcPct val="100000"/>
              </a:lnSpc>
              <a:spcBef>
                <a:spcPts val="0"/>
              </a:spcBef>
              <a:spcAft>
                <a:spcPts val="0"/>
              </a:spcAft>
              <a:buNone/>
              <a:defRPr sz="1200" b="0">
                <a:solidFill>
                  <a:srgbClr val="555555"/>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8" name="Presenter Name Placeholder">
            <a:extLst>
              <a:ext uri="{FF2B5EF4-FFF2-40B4-BE49-F238E27FC236}">
                <a16:creationId xmlns:a16="http://schemas.microsoft.com/office/drawing/2014/main" id="{4D8E56BE-097F-EB4E-3287-BD1DCBFF4884}"/>
              </a:ext>
            </a:extLst>
          </p:cNvPr>
          <p:cNvSpPr>
            <a:spLocks noGrp="1" noRot="1" noMove="1" noResize="1" noEditPoints="1" noAdjustHandles="1" noChangeArrowheads="1" noChangeShapeType="1"/>
          </p:cNvSpPr>
          <p:nvPr>
            <p:ph type="body" sz="quarter" idx="10" hasCustomPrompt="1"/>
          </p:nvPr>
        </p:nvSpPr>
        <p:spPr>
          <a:xfrm>
            <a:off x="292100" y="5194091"/>
            <a:ext cx="8625841" cy="344384"/>
          </a:xfrm>
        </p:spPr>
        <p:txBody>
          <a:bodyPr tIns="0" bIns="0" anchor="b" anchorCtr="0">
            <a:noAutofit/>
          </a:bodyPr>
          <a:lstStyle>
            <a:lvl1pPr marL="0" indent="0">
              <a:lnSpc>
                <a:spcPct val="100000"/>
              </a:lnSpc>
              <a:spcBef>
                <a:spcPts val="0"/>
              </a:spcBef>
              <a:spcAft>
                <a:spcPts val="0"/>
              </a:spcAft>
              <a:buNone/>
              <a:defRPr sz="1200" b="1">
                <a:solidFill>
                  <a:srgbClr val="555555"/>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Subtitle Placeholder">
            <a:extLst>
              <a:ext uri="{FF2B5EF4-FFF2-40B4-BE49-F238E27FC236}">
                <a16:creationId xmlns:a16="http://schemas.microsoft.com/office/drawing/2014/main" id="{D952C9CE-AA03-A24B-BBD9-8EA2482DC59D}"/>
              </a:ext>
            </a:extLst>
          </p:cNvPr>
          <p:cNvSpPr>
            <a:spLocks noGrp="1" noRot="1" noMove="1" noResize="1" noEditPoints="1" noAdjustHandles="1" noChangeArrowheads="1" noChangeShapeType="1"/>
          </p:cNvSpPr>
          <p:nvPr>
            <p:ph type="subTitle" idx="1"/>
          </p:nvPr>
        </p:nvSpPr>
        <p:spPr>
          <a:xfrm>
            <a:off x="292100" y="4151030"/>
            <a:ext cx="8625840" cy="837882"/>
          </a:xfrm>
        </p:spPr>
        <p:txBody>
          <a:bodyPr>
            <a:noAutofit/>
          </a:bodyPr>
          <a:lstStyle>
            <a:lvl1pPr marL="0" indent="0" algn="l">
              <a:spcBef>
                <a:spcPts val="0"/>
              </a:spcBef>
              <a:spcAft>
                <a:spcPts val="0"/>
              </a:spcAft>
              <a:buNone/>
              <a:defRPr sz="2400">
                <a:solidFill>
                  <a:srgbClr val="55555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itle Placeholder">
            <a:extLst>
              <a:ext uri="{FF2B5EF4-FFF2-40B4-BE49-F238E27FC236}">
                <a16:creationId xmlns:a16="http://schemas.microsoft.com/office/drawing/2014/main" id="{5F151AF7-737A-1648-9BC4-B9D881179FB7}"/>
              </a:ext>
            </a:extLst>
          </p:cNvPr>
          <p:cNvSpPr>
            <a:spLocks noGrp="1" noRot="1" noMove="1" noResize="1" noEditPoints="1" noAdjustHandles="1" noChangeArrowheads="1" noChangeShapeType="1"/>
          </p:cNvSpPr>
          <p:nvPr>
            <p:ph type="ctrTitle" hasCustomPrompt="1"/>
          </p:nvPr>
        </p:nvSpPr>
        <p:spPr>
          <a:xfrm>
            <a:off x="292100" y="1671355"/>
            <a:ext cx="8625840" cy="2387600"/>
          </a:xfrm>
          <a:prstGeom prst="rect">
            <a:avLst/>
          </a:prstGeom>
        </p:spPr>
        <p:txBody>
          <a:bodyPr anchor="b">
            <a:noAutofit/>
          </a:bodyPr>
          <a:lstStyle>
            <a:lvl1pPr algn="l">
              <a:defRPr sz="5400">
                <a:solidFill>
                  <a:srgbClr val="555555"/>
                </a:solidFill>
              </a:defRPr>
            </a:lvl1pPr>
          </a:lstStyle>
          <a:p>
            <a:r>
              <a:rPr lang="en-US"/>
              <a:t>Insert your presentation title here maximum of three lines</a:t>
            </a:r>
          </a:p>
        </p:txBody>
      </p:sp>
      <p:pic>
        <p:nvPicPr>
          <p:cNvPr id="11" name="NielsenIQ GFK lockup" hidden="1">
            <a:extLst>
              <a:ext uri="{FF2B5EF4-FFF2-40B4-BE49-F238E27FC236}">
                <a16:creationId xmlns:a16="http://schemas.microsoft.com/office/drawing/2014/main" id="{7D277D99-518B-9609-51D0-587AB5DBF23C}"/>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6122" y="321743"/>
            <a:ext cx="3377876" cy="753596"/>
          </a:xfrm>
          <a:prstGeom prst="rect">
            <a:avLst/>
          </a:prstGeom>
        </p:spPr>
      </p:pic>
      <p:pic>
        <p:nvPicPr>
          <p:cNvPr id="5" name="NielsenIQ logo+wordmark" descr="A blue text on a black background&#10;&#10;Description automatically generated" hidden="1">
            <a:extLst>
              <a:ext uri="{FF2B5EF4-FFF2-40B4-BE49-F238E27FC236}">
                <a16:creationId xmlns:a16="http://schemas.microsoft.com/office/drawing/2014/main" id="{9851AB56-8AE6-EEF1-0330-E0C0C6360BEC}"/>
              </a:ext>
            </a:extLst>
          </p:cNvPr>
          <p:cNvPicPr>
            <a:picLocks noGrp="1" noRot="1" noChangeAspec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tretch>
            <a:fillRect/>
          </a:stretch>
        </p:blipFill>
        <p:spPr>
          <a:xfrm>
            <a:off x="288558" y="305205"/>
            <a:ext cx="2211998" cy="763139"/>
          </a:xfrm>
          <a:prstGeom prst="rect">
            <a:avLst/>
          </a:prstGeom>
        </p:spPr>
      </p:pic>
      <p:sp>
        <p:nvSpPr>
          <p:cNvPr id="4" name="Nielsen wordmark">
            <a:extLst>
              <a:ext uri="{FF2B5EF4-FFF2-40B4-BE49-F238E27FC236}">
                <a16:creationId xmlns:a16="http://schemas.microsoft.com/office/drawing/2014/main" id="{114DF69D-7EB6-203C-43F0-B2D46A94C483}"/>
              </a:ext>
            </a:extLst>
          </p:cNvPr>
          <p:cNvSpPr>
            <a:spLocks noGrp="1" noRot="1" noMove="1" noResize="1" noEditPoints="1" noAdjustHandles="1" noChangeArrowheads="1" noChangeShapeType="1"/>
          </p:cNvSpPr>
          <p:nvPr/>
        </p:nvSpPr>
        <p:spPr>
          <a:xfrm>
            <a:off x="295274" y="443155"/>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accent1"/>
          </a:solidFill>
          <a:ln w="774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11001485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a:extLst>
              <a:ext uri="{FF2B5EF4-FFF2-40B4-BE49-F238E27FC236}">
                <a16:creationId xmlns:a16="http://schemas.microsoft.com/office/drawing/2014/main" id="{FD1F3F95-8F1D-9A9D-41FB-B771E1512249}"/>
              </a:ext>
            </a:extLst>
          </p:cNvPr>
          <p:cNvSpPr>
            <a:spLocks noGrp="1" noRot="1" noMove="1" noResize="1" noEditPoints="1" noAdjustHandles="1" noChangeArrowheads="1" noChangeShapeType="1"/>
          </p:cNvSpPr>
          <p:nvPr>
            <p:ph type="sldNum" sz="quarter" idx="12"/>
          </p:nvPr>
        </p:nvSpPr>
        <p:spPr/>
        <p:txBody>
          <a:bodyPr/>
          <a:lstStyle/>
          <a:p>
            <a:fld id="{3E04DF46-C0DC-4ADC-9A6F-918CC4703A43}" type="slidenum">
              <a:rPr lang="en-GB" smtClean="0"/>
              <a:t>‹#›</a:t>
            </a:fld>
            <a:endParaRPr lang="en-GB"/>
          </a:p>
        </p:txBody>
      </p:sp>
      <p:sp>
        <p:nvSpPr>
          <p:cNvPr id="5" name="Footer Placeholder">
            <a:extLst>
              <a:ext uri="{FF2B5EF4-FFF2-40B4-BE49-F238E27FC236}">
                <a16:creationId xmlns:a16="http://schemas.microsoft.com/office/drawing/2014/main" id="{9F5B23B2-FEF2-DCC0-334E-3B80B3A03AE6}"/>
              </a:ext>
            </a:extLst>
          </p:cNvPr>
          <p:cNvSpPr>
            <a:spLocks noGrp="1" noRot="1" noMove="1" noResize="1" noEditPoints="1" noAdjustHandles="1" noChangeArrowheads="1" noChangeShapeType="1"/>
          </p:cNvSpPr>
          <p:nvPr>
            <p:ph type="ftr" sz="quarter" idx="11"/>
          </p:nvPr>
        </p:nvSpPr>
        <p:spPr/>
        <p:txBody>
          <a:bodyPr/>
          <a:lstStyle/>
          <a:p>
            <a:endParaRPr lang="en-GB"/>
          </a:p>
        </p:txBody>
      </p:sp>
      <p:sp>
        <p:nvSpPr>
          <p:cNvPr id="4" name="Date Placeholder">
            <a:extLst>
              <a:ext uri="{FF2B5EF4-FFF2-40B4-BE49-F238E27FC236}">
                <a16:creationId xmlns:a16="http://schemas.microsoft.com/office/drawing/2014/main" id="{35847737-8381-A612-E054-E1C098244CD5}"/>
              </a:ext>
            </a:extLst>
          </p:cNvPr>
          <p:cNvSpPr>
            <a:spLocks noGrp="1" noRot="1" noMove="1" noResize="1" noEditPoints="1" noAdjustHandles="1" noChangeArrowheads="1" noChangeShapeType="1"/>
          </p:cNvSpPr>
          <p:nvPr>
            <p:ph type="dt" sz="half" idx="10"/>
          </p:nvPr>
        </p:nvSpPr>
        <p:spPr/>
        <p:txBody>
          <a:bodyPr/>
          <a:lstStyle/>
          <a:p>
            <a:fld id="{96FE6D9B-E395-4A22-A7DB-AC096A22C7CA}" type="datetime1">
              <a:rPr lang="en-GB" smtClean="0"/>
              <a:t>18/11/2024</a:t>
            </a:fld>
            <a:endParaRPr lang="en-GB"/>
          </a:p>
        </p:txBody>
      </p:sp>
      <p:sp>
        <p:nvSpPr>
          <p:cNvPr id="13" name="Source Placeholder">
            <a:extLst>
              <a:ext uri="{FF2B5EF4-FFF2-40B4-BE49-F238E27FC236}">
                <a16:creationId xmlns:a16="http://schemas.microsoft.com/office/drawing/2014/main" id="{81E36804-955F-07A1-88DF-9B603E5E262A}"/>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3" name="Content Placeholder">
            <a:extLst>
              <a:ext uri="{FF2B5EF4-FFF2-40B4-BE49-F238E27FC236}">
                <a16:creationId xmlns:a16="http://schemas.microsoft.com/office/drawing/2014/main" id="{04974C89-D6D3-D29A-E142-BB21F4F82BF1}"/>
              </a:ext>
            </a:extLst>
          </p:cNvPr>
          <p:cNvSpPr>
            <a:spLocks noGrp="1" noRot="1" noMove="1" noResize="1" noEditPoints="1" noAdjustHandles="1" noChangeArrowheads="1" noChangeShapeType="1"/>
          </p:cNvSpPr>
          <p:nvPr>
            <p:ph idx="1" hasCustomPrompt="1"/>
          </p:nvPr>
        </p:nvSpPr>
        <p:spPr/>
        <p:txBody>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ubtitle Placeholder">
            <a:extLst>
              <a:ext uri="{FF2B5EF4-FFF2-40B4-BE49-F238E27FC236}">
                <a16:creationId xmlns:a16="http://schemas.microsoft.com/office/drawing/2014/main" id="{D7CEFD0E-11F5-45EC-2759-A609F998C673}"/>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11" name="Title Placeholder">
            <a:extLst>
              <a:ext uri="{FF2B5EF4-FFF2-40B4-BE49-F238E27FC236}">
                <a16:creationId xmlns:a16="http://schemas.microsoft.com/office/drawing/2014/main" id="{063DF22F-A0F5-4EAA-7380-343ABC31C9B0}"/>
              </a:ext>
            </a:extLst>
          </p:cNvPr>
          <p:cNvSpPr>
            <a:spLocks noGrp="1" noRot="1" noMove="1" noResize="1" noEditPoints="1" noAdjustHandles="1" noChangeArrowheads="1" noChangeShapeType="1"/>
          </p:cNvSpPr>
          <p:nvPr>
            <p:ph type="title" hasCustomPrompt="1"/>
          </p:nvPr>
        </p:nvSpPr>
        <p:spPr/>
        <p:txBody>
          <a:bodyPr/>
          <a:lstStyle/>
          <a:p>
            <a:r>
              <a:rPr lang="en-US"/>
              <a:t>Insert your slide title in Arial Bold 20pt</a:t>
            </a:r>
            <a:endParaRPr lang="en-GB"/>
          </a:p>
        </p:txBody>
      </p:sp>
    </p:spTree>
    <p:extLst>
      <p:ext uri="{BB962C8B-B14F-4D97-AF65-F5344CB8AC3E}">
        <p14:creationId xmlns:p14="http://schemas.microsoft.com/office/powerpoint/2010/main" val="30729793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2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userDrawn="1"/>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97578474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3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270D49C1-E8FD-4100-6077-590D74316FB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03797131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4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Box 13">
            <a:extLst>
              <a:ext uri="{FF2B5EF4-FFF2-40B4-BE49-F238E27FC236}">
                <a16:creationId xmlns:a16="http://schemas.microsoft.com/office/drawing/2014/main" id="{EE2DAE71-2983-34FD-663C-6E97AE5A8A9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a:t>Insert your slide title in Arial bold 20pt</a:t>
            </a:r>
          </a:p>
        </p:txBody>
      </p:sp>
    </p:spTree>
    <p:extLst>
      <p:ext uri="{BB962C8B-B14F-4D97-AF65-F5344CB8AC3E}">
        <p14:creationId xmlns:p14="http://schemas.microsoft.com/office/powerpoint/2010/main" val="149475205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5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011486C1-A975-5880-4C54-03DD13A9F7F3}"/>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a:t>Insert your slide title in Arial bold 20pt</a:t>
            </a:r>
          </a:p>
        </p:txBody>
      </p:sp>
    </p:spTree>
    <p:extLst>
      <p:ext uri="{BB962C8B-B14F-4D97-AF65-F5344CB8AC3E}">
        <p14:creationId xmlns:p14="http://schemas.microsoft.com/office/powerpoint/2010/main" val="210821333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6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B3CE258B-CBCD-8DC5-1665-1A4555B76CDA}"/>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a:t>Insert your slide title in Arial bold 20pt</a:t>
            </a:r>
          </a:p>
        </p:txBody>
      </p:sp>
    </p:spTree>
    <p:extLst>
      <p:ext uri="{BB962C8B-B14F-4D97-AF65-F5344CB8AC3E}">
        <p14:creationId xmlns:p14="http://schemas.microsoft.com/office/powerpoint/2010/main" val="214825017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7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userDrawn="1"/>
        </p:nvGrpSpPr>
        <p:grpSpPr>
          <a:xfrm>
            <a:off x="3936001" y="1448418"/>
            <a:ext cx="8256000" cy="4327900"/>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userDrawn="1"/>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5143500" y="1559544"/>
            <a:ext cx="5842000" cy="3771900"/>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43856928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8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5807441"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7" y="1351231"/>
            <a:ext cx="5807441"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710052" y="1197507"/>
            <a:ext cx="3096000" cy="4787820"/>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8227612" y="1288629"/>
            <a:ext cx="2057400" cy="445008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321548147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9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Tree>
    <p:extLst>
      <p:ext uri="{BB962C8B-B14F-4D97-AF65-F5344CB8AC3E}">
        <p14:creationId xmlns:p14="http://schemas.microsoft.com/office/powerpoint/2010/main" val="282636361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divider_deep_violet">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C7A27B-9C75-06B8-163E-687EF3BAFAB0}"/>
              </a:ext>
            </a:extLst>
          </p:cNvPr>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solidFill>
              </a:rPr>
              <a:t>© 2023 Nielsen Consumer LLC. All Rights Reserved.</a:t>
            </a:r>
          </a:p>
        </p:txBody>
      </p:sp>
      <p:pic>
        <p:nvPicPr>
          <p:cNvPr id="10" name="Picture 9">
            <a:extLst>
              <a:ext uri="{FF2B5EF4-FFF2-40B4-BE49-F238E27FC236}">
                <a16:creationId xmlns:a16="http://schemas.microsoft.com/office/drawing/2014/main" id="{AA994047-62B7-6144-8451-CFF471986DB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a:p>
        </p:txBody>
      </p:sp>
      <p:sp>
        <p:nvSpPr>
          <p:cNvPr id="3" name="TextBox 2">
            <a:extLst>
              <a:ext uri="{FF2B5EF4-FFF2-40B4-BE49-F238E27FC236}">
                <a16:creationId xmlns:a16="http://schemas.microsoft.com/office/drawing/2014/main" id="{78494A49-4E28-F858-29AE-59569FD49FF3}"/>
              </a:ext>
            </a:extLst>
          </p:cNvPr>
          <p:cNvSpPr txBox="1"/>
          <p:nvPr userDrawn="1"/>
        </p:nvSpPr>
        <p:spPr>
          <a:xfrm>
            <a:off x="742950" y="5729288"/>
            <a:ext cx="0" cy="0"/>
          </a:xfrm>
          <a:prstGeom prst="rect">
            <a:avLst/>
          </a:prstGeom>
          <a:noFill/>
        </p:spPr>
        <p:txBody>
          <a:bodyPr wrap="none" lIns="0" rIns="0" rtlCol="0">
            <a:noAutofit/>
          </a:bodyPr>
          <a:lstStyle/>
          <a:p>
            <a:pPr algn="l">
              <a:spcAft>
                <a:spcPts val="600"/>
              </a:spcAft>
            </a:pPr>
            <a:endParaRPr lang="en-US" sz="1600"/>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a:p>
        </p:txBody>
      </p:sp>
      <p:sp>
        <p:nvSpPr>
          <p:cNvPr id="7" name="TextBox 6">
            <a:extLst>
              <a:ext uri="{FF2B5EF4-FFF2-40B4-BE49-F238E27FC236}">
                <a16:creationId xmlns:a16="http://schemas.microsoft.com/office/drawing/2014/main" id="{338050CC-78F0-334E-9588-3ADF7F8B6C40}"/>
              </a:ext>
            </a:extLst>
          </p:cNvPr>
          <p:cNvSpPr txBox="1"/>
          <p:nvPr userDrawn="1"/>
        </p:nvSpPr>
        <p:spPr>
          <a:xfrm>
            <a:off x="5549900" y="6400800"/>
            <a:ext cx="0" cy="0"/>
          </a:xfrm>
          <a:prstGeom prst="rect">
            <a:avLst/>
          </a:prstGeom>
          <a:noFill/>
        </p:spPr>
        <p:txBody>
          <a:bodyPr wrap="none" lIns="0" rIns="0" rtlCol="0">
            <a:noAutofit/>
          </a:bodyPr>
          <a:lstStyle/>
          <a:p>
            <a:pPr algn="l">
              <a:spcAft>
                <a:spcPts val="600"/>
              </a:spcAft>
            </a:pPr>
            <a:endParaRPr lang="en-US" sz="1600"/>
          </a:p>
        </p:txBody>
      </p:sp>
    </p:spTree>
    <p:extLst>
      <p:ext uri="{BB962C8B-B14F-4D97-AF65-F5344CB8AC3E}">
        <p14:creationId xmlns:p14="http://schemas.microsoft.com/office/powerpoint/2010/main" val="4110169738"/>
      </p:ext>
    </p:extLst>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4_divider_deep_violet">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C7A27B-9C75-06B8-163E-687EF3BAFAB0}"/>
              </a:ext>
            </a:extLst>
          </p:cNvPr>
          <p:cNvSpPr/>
          <p:nvPr userDrawn="1"/>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solidFill>
              </a:rPr>
              <a:t>© 2023 Nielsen Consumer LLC. All Rights Reserved.</a:t>
            </a:r>
          </a:p>
        </p:txBody>
      </p:sp>
      <p:pic>
        <p:nvPicPr>
          <p:cNvPr id="10" name="Picture 9">
            <a:extLst>
              <a:ext uri="{FF2B5EF4-FFF2-40B4-BE49-F238E27FC236}">
                <a16:creationId xmlns:a16="http://schemas.microsoft.com/office/drawing/2014/main" id="{AA994047-62B7-6144-8451-CFF471986DB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a:p>
        </p:txBody>
      </p:sp>
      <p:sp>
        <p:nvSpPr>
          <p:cNvPr id="3" name="TextBox 2">
            <a:extLst>
              <a:ext uri="{FF2B5EF4-FFF2-40B4-BE49-F238E27FC236}">
                <a16:creationId xmlns:a16="http://schemas.microsoft.com/office/drawing/2014/main" id="{78494A49-4E28-F858-29AE-59569FD49FF3}"/>
              </a:ext>
            </a:extLst>
          </p:cNvPr>
          <p:cNvSpPr txBox="1"/>
          <p:nvPr userDrawn="1"/>
        </p:nvSpPr>
        <p:spPr>
          <a:xfrm>
            <a:off x="742950" y="5729288"/>
            <a:ext cx="0" cy="0"/>
          </a:xfrm>
          <a:prstGeom prst="rect">
            <a:avLst/>
          </a:prstGeom>
          <a:noFill/>
        </p:spPr>
        <p:txBody>
          <a:bodyPr wrap="none" lIns="0" rIns="0" rtlCol="0">
            <a:noAutofit/>
          </a:bodyPr>
          <a:lstStyle/>
          <a:p>
            <a:pPr algn="l">
              <a:spcAft>
                <a:spcPts val="600"/>
              </a:spcAft>
            </a:pPr>
            <a:endParaRPr lang="en-US" sz="1600"/>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a:p>
        </p:txBody>
      </p:sp>
      <p:sp>
        <p:nvSpPr>
          <p:cNvPr id="7" name="TextBox 6">
            <a:extLst>
              <a:ext uri="{FF2B5EF4-FFF2-40B4-BE49-F238E27FC236}">
                <a16:creationId xmlns:a16="http://schemas.microsoft.com/office/drawing/2014/main" id="{338050CC-78F0-334E-9588-3ADF7F8B6C40}"/>
              </a:ext>
            </a:extLst>
          </p:cNvPr>
          <p:cNvSpPr txBox="1"/>
          <p:nvPr userDrawn="1"/>
        </p:nvSpPr>
        <p:spPr>
          <a:xfrm>
            <a:off x="5549900" y="6400800"/>
            <a:ext cx="0" cy="0"/>
          </a:xfrm>
          <a:prstGeom prst="rect">
            <a:avLst/>
          </a:prstGeom>
          <a:noFill/>
        </p:spPr>
        <p:txBody>
          <a:bodyPr wrap="none" lIns="0" rIns="0" rtlCol="0">
            <a:noAutofit/>
          </a:bodyPr>
          <a:lstStyle/>
          <a:p>
            <a:pPr algn="l">
              <a:spcAft>
                <a:spcPts val="600"/>
              </a:spcAft>
            </a:pPr>
            <a:endParaRPr lang="en-US" sz="1600"/>
          </a:p>
        </p:txBody>
      </p:sp>
      <p:cxnSp>
        <p:nvCxnSpPr>
          <p:cNvPr id="2" name="Straight Connector 1">
            <a:extLst>
              <a:ext uri="{FF2B5EF4-FFF2-40B4-BE49-F238E27FC236}">
                <a16:creationId xmlns:a16="http://schemas.microsoft.com/office/drawing/2014/main" id="{439F3D53-B04D-439D-373E-89F3617BB831}"/>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6579591"/>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Static Light Bkgd">
            <a:extLst>
              <a:ext uri="{FF2B5EF4-FFF2-40B4-BE49-F238E27FC236}">
                <a16:creationId xmlns:a16="http://schemas.microsoft.com/office/drawing/2014/main" id="{D1093FDC-ACBE-C97A-79EC-30B506F35131}"/>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Base Rule">
            <a:extLst>
              <a:ext uri="{FF2B5EF4-FFF2-40B4-BE49-F238E27FC236}">
                <a16:creationId xmlns:a16="http://schemas.microsoft.com/office/drawing/2014/main" id="{BF009615-489A-5DA8-222F-36CEB46D77B1}"/>
              </a:ext>
            </a:extLst>
          </p:cNvPr>
          <p:cNvCxnSpPr>
            <a:cxnSpLocks noGrp="1" noRot="1" noMove="1" noResize="1" noEditPoints="1" noAdjustHandles="1" noChangeArrowheads="1" noChangeShapeType="1"/>
          </p:cNvCxnSpPr>
          <p:nvPr userDrawn="1"/>
        </p:nvCxnSpPr>
        <p:spPr>
          <a:xfrm>
            <a:off x="292100" y="6395755"/>
            <a:ext cx="116078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Slide Number Placeholder 24">
            <a:extLst>
              <a:ext uri="{FF2B5EF4-FFF2-40B4-BE49-F238E27FC236}">
                <a16:creationId xmlns:a16="http://schemas.microsoft.com/office/drawing/2014/main" id="{B92DD1CF-7FD4-0FD2-8A65-D0E8F92598D9}"/>
              </a:ext>
            </a:extLst>
          </p:cNvPr>
          <p:cNvSpPr>
            <a:spLocks noGrp="1" noRot="1" noMove="1" noResize="1" noEditPoints="1" noAdjustHandles="1" noChangeArrowheads="1" noChangeShapeType="1"/>
          </p:cNvSpPr>
          <p:nvPr>
            <p:ph type="sldNum" sz="quarter" idx="12"/>
          </p:nvPr>
        </p:nvSpPr>
        <p:spPr/>
        <p:txBody>
          <a:bodyPr/>
          <a:lstStyle/>
          <a:p>
            <a:fld id="{3E04DF46-C0DC-4ADC-9A6F-918CC4703A43}" type="slidenum">
              <a:rPr lang="en-GB" smtClean="0"/>
              <a:pPr/>
              <a:t>‹#›</a:t>
            </a:fld>
            <a:endParaRPr lang="en-GB"/>
          </a:p>
        </p:txBody>
      </p:sp>
      <p:sp>
        <p:nvSpPr>
          <p:cNvPr id="8" name="Copyright Line">
            <a:extLst>
              <a:ext uri="{FF2B5EF4-FFF2-40B4-BE49-F238E27FC236}">
                <a16:creationId xmlns:a16="http://schemas.microsoft.com/office/drawing/2014/main" id="{D18F1FC4-106D-3BF8-BC65-D648A021FC0D}"/>
              </a:ext>
            </a:extLst>
          </p:cNvPr>
          <p:cNvSpPr txBox="1">
            <a:spLocks noGrp="1" noRot="1" noMove="1" noResize="1" noEditPoints="1" noAdjustHandles="1" noChangeArrowheads="1" noChangeShapeType="1"/>
          </p:cNvSpPr>
          <p:nvPr userDrawn="1"/>
        </p:nvSpPr>
        <p:spPr>
          <a:xfrm>
            <a:off x="9167809" y="6526849"/>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rgbClr val="BBBBBB"/>
                </a:solidFill>
              </a:rPr>
              <a:t>© </a:t>
            </a:r>
            <a:fld id="{92E70860-886D-4303-B2B5-BD1295E1FD39}" type="datetimeyyyy">
              <a:rPr lang="en-US" sz="700" smtClean="0">
                <a:solidFill>
                  <a:srgbClr val="BBBBBB"/>
                </a:solidFill>
              </a:rPr>
              <a:t>2024</a:t>
            </a:fld>
            <a:r>
              <a:rPr lang="en-US" sz="700">
                <a:solidFill>
                  <a:srgbClr val="BBBBBB"/>
                </a:solidFill>
              </a:rPr>
              <a:t> Nielsen Consumer LLC. All Rights Reserved.</a:t>
            </a:r>
          </a:p>
        </p:txBody>
      </p:sp>
      <p:sp>
        <p:nvSpPr>
          <p:cNvPr id="9" name="Confidential disclaimer">
            <a:extLst>
              <a:ext uri="{FF2B5EF4-FFF2-40B4-BE49-F238E27FC236}">
                <a16:creationId xmlns:a16="http://schemas.microsoft.com/office/drawing/2014/main" id="{60EB3927-CDFF-ACD9-F0B3-0FEB504E4496}"/>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24" name="Footer Placeholder">
            <a:extLst>
              <a:ext uri="{FF2B5EF4-FFF2-40B4-BE49-F238E27FC236}">
                <a16:creationId xmlns:a16="http://schemas.microsoft.com/office/drawing/2014/main" id="{0F37A136-F043-61EC-31AE-F924E1D07F08}"/>
              </a:ext>
            </a:extLst>
          </p:cNvPr>
          <p:cNvSpPr>
            <a:spLocks noGrp="1" noRot="1" noMove="1" noResize="1" noEditPoints="1" noAdjustHandles="1" noChangeArrowheads="1" noChangeShapeType="1"/>
          </p:cNvSpPr>
          <p:nvPr>
            <p:ph type="ftr" sz="quarter" idx="11"/>
          </p:nvPr>
        </p:nvSpPr>
        <p:spPr/>
        <p:txBody>
          <a:bodyPr/>
          <a:lstStyle/>
          <a:p>
            <a:endParaRPr lang="en-GB"/>
          </a:p>
        </p:txBody>
      </p:sp>
      <p:sp>
        <p:nvSpPr>
          <p:cNvPr id="23" name="Date Placeholder">
            <a:extLst>
              <a:ext uri="{FF2B5EF4-FFF2-40B4-BE49-F238E27FC236}">
                <a16:creationId xmlns:a16="http://schemas.microsoft.com/office/drawing/2014/main" id="{F83B0E1B-C679-1FAD-01A8-07BEC0BB80C4}"/>
              </a:ext>
            </a:extLst>
          </p:cNvPr>
          <p:cNvSpPr>
            <a:spLocks noGrp="1" noRot="1" noMove="1" noResize="1" noEditPoints="1" noAdjustHandles="1" noChangeArrowheads="1" noChangeShapeType="1"/>
          </p:cNvSpPr>
          <p:nvPr>
            <p:ph type="dt" sz="half" idx="10"/>
          </p:nvPr>
        </p:nvSpPr>
        <p:spPr/>
        <p:txBody>
          <a:bodyPr/>
          <a:lstStyle/>
          <a:p>
            <a:fld id="{F42DF71F-30BE-44BA-A536-D8EF81D0364C}" type="datetime1">
              <a:rPr lang="en-GB" smtClean="0"/>
              <a:pPr/>
              <a:t>18/11/2024</a:t>
            </a:fld>
            <a:endParaRPr lang="en-GB"/>
          </a:p>
        </p:txBody>
      </p:sp>
      <p:sp>
        <p:nvSpPr>
          <p:cNvPr id="3" name="Subtitle Placeholder">
            <a:extLst>
              <a:ext uri="{FF2B5EF4-FFF2-40B4-BE49-F238E27FC236}">
                <a16:creationId xmlns:a16="http://schemas.microsoft.com/office/drawing/2014/main" id="{811C7246-8A71-F257-DB0D-3E1F23CE6970}"/>
              </a:ext>
            </a:extLst>
          </p:cNvPr>
          <p:cNvSpPr>
            <a:spLocks noGrp="1" noRot="1" noMove="1" noResize="1" noEditPoints="1" noAdjustHandles="1" noChangeArrowheads="1" noChangeShapeType="1"/>
          </p:cNvSpPr>
          <p:nvPr>
            <p:ph type="body" idx="1"/>
          </p:nvPr>
        </p:nvSpPr>
        <p:spPr>
          <a:xfrm>
            <a:off x="292100" y="3945964"/>
            <a:ext cx="7121979" cy="1500187"/>
          </a:xfrm>
        </p:spPr>
        <p:txBody>
          <a:bodyPr>
            <a:noAutofit/>
          </a:bodyPr>
          <a:lstStyle>
            <a:lvl1pPr marL="0" indent="0">
              <a:buNone/>
              <a:defRPr sz="2000">
                <a:solidFill>
                  <a:srgbClr val="555555"/>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1219200"/>
            <a:ext cx="7121979" cy="2401887"/>
          </a:xfrm>
        </p:spPr>
        <p:txBody>
          <a:bodyPr anchor="b">
            <a:noAutofit/>
          </a:bodyPr>
          <a:lstStyle>
            <a:lvl1pPr>
              <a:defRPr sz="4400">
                <a:solidFill>
                  <a:srgbClr val="555555"/>
                </a:solidFill>
              </a:defRPr>
            </a:lvl1pPr>
          </a:lstStyle>
          <a:p>
            <a:r>
              <a:rPr lang="en-US"/>
              <a:t>Insert your section header title here maximum of three lines</a:t>
            </a:r>
            <a:endParaRPr lang="en-GB"/>
          </a:p>
        </p:txBody>
      </p:sp>
      <p:pic>
        <p:nvPicPr>
          <p:cNvPr id="4" name="NIQ GFK Lockup" hidden="1">
            <a:extLst>
              <a:ext uri="{FF2B5EF4-FFF2-40B4-BE49-F238E27FC236}">
                <a16:creationId xmlns:a16="http://schemas.microsoft.com/office/drawing/2014/main" id="{7DAD8AF9-6DCC-3308-0439-101A1738A841}"/>
              </a:ext>
            </a:extLst>
          </p:cNvPr>
          <p:cNvPicPr>
            <a:picLocks noGrp="1" noRot="1" noChangeAspect="1" noMove="1" noResize="1" noEditPoints="1" noAdjustHandles="1" noChangeArrowheads="1" noChangeShapeType="1" noCrop="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02626" y="6462285"/>
            <a:ext cx="906224" cy="329184"/>
          </a:xfrm>
          <a:prstGeom prst="rect">
            <a:avLst/>
          </a:prstGeom>
        </p:spPr>
      </p:pic>
      <p:pic>
        <p:nvPicPr>
          <p:cNvPr id="26" name="NielsenIQ logo+wordmark" descr="A blue text on a black background&#10;&#10;Description automatically generated" hidden="1">
            <a:extLst>
              <a:ext uri="{FF2B5EF4-FFF2-40B4-BE49-F238E27FC236}">
                <a16:creationId xmlns:a16="http://schemas.microsoft.com/office/drawing/2014/main" id="{B813BB00-9632-73B0-6654-E6FB69F66A0E}"/>
              </a:ext>
            </a:extLst>
          </p:cNvPr>
          <p:cNvPicPr>
            <a:picLocks noGrp="1" noRot="1" noChangeAspec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tretch>
            <a:fillRect/>
          </a:stretch>
        </p:blipFill>
        <p:spPr>
          <a:xfrm>
            <a:off x="290130" y="6495154"/>
            <a:ext cx="781433" cy="269593"/>
          </a:xfrm>
          <a:prstGeom prst="rect">
            <a:avLst/>
          </a:prstGeom>
        </p:spPr>
      </p:pic>
      <p:pic>
        <p:nvPicPr>
          <p:cNvPr id="5" name="NIQ Logo">
            <a:extLst>
              <a:ext uri="{FF2B5EF4-FFF2-40B4-BE49-F238E27FC236}">
                <a16:creationId xmlns:a16="http://schemas.microsoft.com/office/drawing/2014/main" id="{3FE5C232-E7B5-5DDF-A7C7-8FF7A557AEE9}"/>
              </a:ext>
            </a:extLst>
          </p:cNvPr>
          <p:cNvPicPr>
            <a:picLocks noGrp="1" noRo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37114549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cover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p:spPr>
        <p:txBody>
          <a:bodyPr anchor="b">
            <a:noAutofit/>
          </a:bodyPr>
          <a:lstStyle>
            <a:lvl1pPr algn="l">
              <a:defRPr sz="5400">
                <a:solidFill>
                  <a:schemeClr val="tx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solidFill>
              </a:rPr>
              <a:t>© 2023 Nielsen Consumer LLC. All Rights Reserved.</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userDrawn="1"/>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18" name="Text Placeholder 17">
            <a:extLst>
              <a:ext uri="{FF2B5EF4-FFF2-40B4-BE49-F238E27FC236}">
                <a16:creationId xmlns:a16="http://schemas.microsoft.com/office/drawing/2014/main" id="{4D8E56BE-097F-EB4E-3287-BD1DCBFF4884}"/>
              </a:ext>
            </a:extLst>
          </p:cNvPr>
          <p:cNvSpPr>
            <a:spLocks noGrp="1"/>
          </p:cNvSpPr>
          <p:nvPr>
            <p:ph type="body" sz="quarter" idx="10" hasCustomPrompt="1"/>
          </p:nvPr>
        </p:nvSpPr>
        <p:spPr>
          <a:xfrm>
            <a:off x="288559" y="537566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19" name="Text Placeholder 17">
            <a:extLst>
              <a:ext uri="{FF2B5EF4-FFF2-40B4-BE49-F238E27FC236}">
                <a16:creationId xmlns:a16="http://schemas.microsoft.com/office/drawing/2014/main" id="{6942A971-1821-DF95-6B7B-A7991E06FA8B}"/>
              </a:ext>
            </a:extLst>
          </p:cNvPr>
          <p:cNvSpPr>
            <a:spLocks noGrp="1"/>
          </p:cNvSpPr>
          <p:nvPr>
            <p:ph type="body" sz="quarter" idx="11" hasCustomPrompt="1"/>
          </p:nvPr>
        </p:nvSpPr>
        <p:spPr>
          <a:xfrm>
            <a:off x="288559" y="574380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a:p>
            <a:pPr lvl="0"/>
            <a:r>
              <a:rPr lang="en-US"/>
              <a:t>Date</a:t>
            </a:r>
          </a:p>
        </p:txBody>
      </p:sp>
    </p:spTree>
    <p:extLst>
      <p:ext uri="{BB962C8B-B14F-4D97-AF65-F5344CB8AC3E}">
        <p14:creationId xmlns:p14="http://schemas.microsoft.com/office/powerpoint/2010/main" val="163132593"/>
      </p:ext>
    </p:extLst>
  </p:cSld>
  <p:clrMapOvr>
    <a:overrideClrMapping bg1="dk1" tx1="lt1" bg2="dk2" tx2="lt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Inside - White/title/body text">
  <p:cSld name="Inside - White/title/body text">
    <p:spTree>
      <p:nvGrpSpPr>
        <p:cNvPr id="1" name="Shape 93"/>
        <p:cNvGrpSpPr/>
        <p:nvPr/>
      </p:nvGrpSpPr>
      <p:grpSpPr>
        <a:xfrm>
          <a:off x="0" y="0"/>
          <a:ext cx="0" cy="0"/>
          <a:chOff x="0" y="0"/>
          <a:chExt cx="0" cy="0"/>
        </a:xfrm>
      </p:grpSpPr>
      <p:pic>
        <p:nvPicPr>
          <p:cNvPr id="94" name="Google Shape;94;p10"/>
          <p:cNvPicPr preferRelativeResize="0"/>
          <p:nvPr/>
        </p:nvPicPr>
        <p:blipFill>
          <a:blip r:embed="rId2" cstate="screen">
            <a:alphaModFix/>
            <a:extLst>
              <a:ext uri="{28A0092B-C50C-407E-A947-70E740481C1C}">
                <a14:useLocalDpi xmlns:a14="http://schemas.microsoft.com/office/drawing/2010/main"/>
              </a:ext>
            </a:extLst>
          </a:blip>
          <a:stretch>
            <a:fillRect/>
          </a:stretch>
        </p:blipFill>
        <p:spPr>
          <a:xfrm>
            <a:off x="1" y="857"/>
            <a:ext cx="12191993" cy="6856283"/>
          </a:xfrm>
          <a:prstGeom prst="rect">
            <a:avLst/>
          </a:prstGeom>
          <a:noFill/>
          <a:ln>
            <a:noFill/>
          </a:ln>
        </p:spPr>
      </p:pic>
      <p:sp>
        <p:nvSpPr>
          <p:cNvPr id="95" name="Google Shape;95;p10"/>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SzPts val="1900"/>
              <a:buNone/>
              <a:defRPr>
                <a:latin typeface="Montserrat" panose="00000500000000000000" pitchFamily="2" charset="0"/>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endParaRPr/>
          </a:p>
        </p:txBody>
      </p:sp>
      <p:sp>
        <p:nvSpPr>
          <p:cNvPr id="96" name="Google Shape;96;p10"/>
          <p:cNvSpPr txBox="1">
            <a:spLocks noGrp="1"/>
          </p:cNvSpPr>
          <p:nvPr>
            <p:ph type="body" idx="1"/>
          </p:nvPr>
        </p:nvSpPr>
        <p:spPr>
          <a:xfrm>
            <a:off x="472867" y="1536633"/>
            <a:ext cx="11246400" cy="4555200"/>
          </a:xfrm>
          <a:prstGeom prst="rect">
            <a:avLst/>
          </a:prstGeom>
        </p:spPr>
        <p:txBody>
          <a:bodyPr spcFirstLastPara="1" wrap="square" lIns="0" tIns="91425" rIns="0" bIns="91425" anchor="t" anchorCtr="0">
            <a:noAutofit/>
          </a:bodyPr>
          <a:lstStyle>
            <a:lvl1pPr marL="365751" lvl="0" indent="-365751" rtl="0">
              <a:spcBef>
                <a:spcPts val="0"/>
              </a:spcBef>
              <a:spcAft>
                <a:spcPts val="0"/>
              </a:spcAft>
              <a:buSzPts val="1300"/>
              <a:buFont typeface="Wingdings" pitchFamily="2" charset="2"/>
              <a:buChar char="§"/>
              <a:defRPr>
                <a:latin typeface="Montserrat" panose="00000500000000000000" pitchFamily="2" charset="0"/>
              </a:defRPr>
            </a:lvl1pPr>
            <a:lvl2pPr marL="1219170" lvl="1" indent="-406390" rtl="0">
              <a:spcBef>
                <a:spcPts val="2133"/>
              </a:spcBef>
              <a:spcAft>
                <a:spcPts val="0"/>
              </a:spcAft>
              <a:buSzPts val="1200"/>
              <a:buChar char="⎼"/>
              <a:defRPr/>
            </a:lvl2pPr>
            <a:lvl3pPr marL="1828754" lvl="2" indent="-389457" rtl="0">
              <a:spcBef>
                <a:spcPts val="2133"/>
              </a:spcBef>
              <a:spcAft>
                <a:spcPts val="0"/>
              </a:spcAft>
              <a:buSzPts val="1000"/>
              <a:buChar char="○"/>
              <a:defRPr/>
            </a:lvl3pPr>
            <a:lvl4pPr marL="2438339" lvl="3" indent="-389457" rtl="0">
              <a:spcBef>
                <a:spcPts val="2133"/>
              </a:spcBef>
              <a:spcAft>
                <a:spcPts val="0"/>
              </a:spcAft>
              <a:buSzPts val="1000"/>
              <a:buChar char="■"/>
              <a:defRPr/>
            </a:lvl4pPr>
            <a:lvl5pPr marL="3047924" lvl="4" indent="-389457" rtl="0">
              <a:spcBef>
                <a:spcPts val="2133"/>
              </a:spcBef>
              <a:spcAft>
                <a:spcPts val="0"/>
              </a:spcAft>
              <a:buSzPts val="1000"/>
              <a:buChar char="⎼"/>
              <a:defRPr/>
            </a:lvl5pPr>
            <a:lvl6pPr marL="3657509" lvl="5" indent="-389457" rtl="0">
              <a:spcBef>
                <a:spcPts val="2133"/>
              </a:spcBef>
              <a:spcAft>
                <a:spcPts val="0"/>
              </a:spcAft>
              <a:buSzPts val="1000"/>
              <a:buChar char="○"/>
              <a:defRPr/>
            </a:lvl6pPr>
            <a:lvl7pPr marL="4267093" lvl="6" indent="-389457" rtl="0">
              <a:spcBef>
                <a:spcPts val="2133"/>
              </a:spcBef>
              <a:spcAft>
                <a:spcPts val="0"/>
              </a:spcAft>
              <a:buSzPts val="1000"/>
              <a:buChar char="■"/>
              <a:defRPr/>
            </a:lvl7pPr>
            <a:lvl8pPr marL="4876678" lvl="7" indent="-389457" rtl="0">
              <a:spcBef>
                <a:spcPts val="2133"/>
              </a:spcBef>
              <a:spcAft>
                <a:spcPts val="0"/>
              </a:spcAft>
              <a:buSzPts val="1000"/>
              <a:buChar char="⎼"/>
              <a:defRPr/>
            </a:lvl8pPr>
            <a:lvl9pPr marL="5486263" lvl="8" indent="-389457" rtl="0">
              <a:spcBef>
                <a:spcPts val="2133"/>
              </a:spcBef>
              <a:spcAft>
                <a:spcPts val="2133"/>
              </a:spcAft>
              <a:buSzPts val="1000"/>
              <a:buChar char="○"/>
              <a:defRPr/>
            </a:lvl9pPr>
          </a:lstStyle>
          <a:p>
            <a:endParaRPr/>
          </a:p>
        </p:txBody>
      </p:sp>
      <p:sp>
        <p:nvSpPr>
          <p:cNvPr id="97" name="Google Shape;97;p10"/>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a:solidFill>
                  <a:srgbClr val="888888"/>
                </a:solidFill>
                <a:latin typeface="Montserrat" panose="00000500000000000000" pitchFamily="2" charset="0"/>
                <a:ea typeface="Montserrat Light"/>
                <a:cs typeface="Montserrat Light"/>
                <a:sym typeface="Montserrat Light"/>
              </a:rPr>
              <a:t>© 2022 Nielsen Consumer LLC. All Rights Reserved.</a:t>
            </a:r>
            <a:endParaRPr sz="667" i="0" u="none" strike="noStrike" cap="none">
              <a:solidFill>
                <a:srgbClr val="888888"/>
              </a:solidFill>
              <a:latin typeface="Montserrat" panose="00000500000000000000" pitchFamily="2" charset="0"/>
              <a:ea typeface="Montserrat Light"/>
              <a:cs typeface="Montserrat Light"/>
              <a:sym typeface="Montserrat Light"/>
            </a:endParaRPr>
          </a:p>
        </p:txBody>
      </p:sp>
      <p:sp>
        <p:nvSpPr>
          <p:cNvPr id="98" name="Google Shape;98;p10"/>
          <p:cNvSpPr txBox="1">
            <a:spLocks noGrp="1"/>
          </p:cNvSpPr>
          <p:nvPr>
            <p:ph type="subTitle" idx="2"/>
          </p:nvPr>
        </p:nvSpPr>
        <p:spPr>
          <a:xfrm>
            <a:off x="472867" y="827400"/>
            <a:ext cx="11246400" cy="5124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accent5"/>
              </a:buClr>
              <a:buSzPts val="1500"/>
              <a:buNone/>
              <a:defRPr sz="2000">
                <a:solidFill>
                  <a:schemeClr val="accent5"/>
                </a:solidFill>
                <a:latin typeface="Montserrat" panose="00000500000000000000" pitchFamily="2" charset="0"/>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endParaRPr/>
          </a:p>
        </p:txBody>
      </p:sp>
      <p:sp>
        <p:nvSpPr>
          <p:cNvPr id="100" name="Google Shape;100;p10"/>
          <p:cNvSpPr txBox="1">
            <a:spLocks noGrp="1"/>
          </p:cNvSpPr>
          <p:nvPr>
            <p:ph type="subTitle" idx="3"/>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endParaRPr/>
          </a:p>
        </p:txBody>
      </p:sp>
      <p:pic>
        <p:nvPicPr>
          <p:cNvPr id="101" name="Google Shape;101;p10"/>
          <p:cNvPicPr preferRelativeResize="0"/>
          <p:nvPr/>
        </p:nvPicPr>
        <p:blipFill>
          <a:blip r:embed="rId3" cstate="screen">
            <a:alphaModFix/>
            <a:extLst>
              <a:ext uri="{28A0092B-C50C-407E-A947-70E740481C1C}">
                <a14:useLocalDpi xmlns:a14="http://schemas.microsoft.com/office/drawing/2010/main"/>
              </a:ext>
            </a:extLst>
          </a:blip>
          <a:stretch>
            <a:fillRect/>
          </a:stretch>
        </p:blipFill>
        <p:spPr>
          <a:xfrm>
            <a:off x="0" y="1"/>
            <a:ext cx="472867" cy="474593"/>
          </a:xfrm>
          <a:prstGeom prst="rect">
            <a:avLst/>
          </a:prstGeom>
          <a:noFill/>
          <a:ln>
            <a:noFill/>
          </a:ln>
        </p:spPr>
      </p:pic>
      <p:sp>
        <p:nvSpPr>
          <p:cNvPr id="10" name="Slide Number Placeholder 1">
            <a:extLst>
              <a:ext uri="{FF2B5EF4-FFF2-40B4-BE49-F238E27FC236}">
                <a16:creationId xmlns:a16="http://schemas.microsoft.com/office/drawing/2014/main" id="{8B8E32B6-E88A-4229-B25D-F8239638F337}"/>
              </a:ext>
            </a:extLst>
          </p:cNvPr>
          <p:cNvSpPr txBox="1">
            <a:spLocks/>
          </p:cNvSpPr>
          <p:nvPr userDrawn="1"/>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tx1"/>
                </a:solidFill>
                <a:latin typeface="Montserrat" panose="00000500000000000000" pitchFamily="2" charset="0"/>
              </a:rPr>
              <a:pPr/>
              <a:t>‹#›</a:t>
            </a:fld>
            <a:endParaRPr lang="en-PH" sz="1333">
              <a:solidFill>
                <a:schemeClr val="tx1"/>
              </a:solidFill>
              <a:latin typeface="Montserrat" panose="00000500000000000000" pitchFamily="2" charset="0"/>
            </a:endParaRPr>
          </a:p>
        </p:txBody>
      </p:sp>
    </p:spTree>
    <p:extLst>
      <p:ext uri="{BB962C8B-B14F-4D97-AF65-F5344CB8AC3E}">
        <p14:creationId xmlns:p14="http://schemas.microsoft.com/office/powerpoint/2010/main" val="312048950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niq-gfk_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896BFDF-8A11-893C-1F86-1B0BE271C74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2" name="Text Placeholder 10">
            <a:extLst>
              <a:ext uri="{FF2B5EF4-FFF2-40B4-BE49-F238E27FC236}">
                <a16:creationId xmlns:a16="http://schemas.microsoft.com/office/drawing/2014/main" id="{5F90632C-301E-32EA-91E1-96C5D6220E7F}"/>
              </a:ext>
            </a:extLst>
          </p:cNvPr>
          <p:cNvSpPr>
            <a:spLocks noGrp="1"/>
          </p:cNvSpPr>
          <p:nvPr>
            <p:ph type="body" sz="quarter" idx="17" hasCustomPrompt="1"/>
          </p:nvPr>
        </p:nvSpPr>
        <p:spPr>
          <a:xfrm>
            <a:off x="304800" y="6007235"/>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pic>
        <p:nvPicPr>
          <p:cNvPr id="4" name="Picture 3">
            <a:extLst>
              <a:ext uri="{FF2B5EF4-FFF2-40B4-BE49-F238E27FC236}">
                <a16:creationId xmlns:a16="http://schemas.microsoft.com/office/drawing/2014/main" id="{1A4F50DA-6261-55D9-DDF4-33E2B8BC4F3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69502052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niq-gfk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516D1C96-CD82-49FE-B67D-E8ED83D4F06E}" type="slidenum">
              <a:rPr lang="en-US" smtClean="0"/>
              <a:t>‹#›</a:t>
            </a:fld>
            <a:endParaRPr lang="en-US"/>
          </a:p>
        </p:txBody>
      </p:sp>
      <p:sp>
        <p:nvSpPr>
          <p:cNvPr id="2" name="Text Placeholder 10">
            <a:extLst>
              <a:ext uri="{FF2B5EF4-FFF2-40B4-BE49-F238E27FC236}">
                <a16:creationId xmlns:a16="http://schemas.microsoft.com/office/drawing/2014/main" id="{5F90632C-301E-32EA-91E1-96C5D6220E7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Tree>
    <p:extLst>
      <p:ext uri="{BB962C8B-B14F-4D97-AF65-F5344CB8AC3E}">
        <p14:creationId xmlns:p14="http://schemas.microsoft.com/office/powerpoint/2010/main" val="173115544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Headline only">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B0795529-4D73-3332-2945-704225E04976}"/>
              </a:ext>
            </a:extLst>
          </p:cNvPr>
          <p:cNvSpPr>
            <a:spLocks noGrp="1"/>
          </p:cNvSpPr>
          <p:nvPr>
            <p:ph type="title" hasCustomPrompt="1"/>
          </p:nvPr>
        </p:nvSpPr>
        <p:spPr>
          <a:xfrm>
            <a:off x="335360" y="260648"/>
            <a:ext cx="8063551" cy="369332"/>
          </a:xfrm>
        </p:spPr>
        <p:txBody>
          <a:bodyPr/>
          <a:lstStyle>
            <a:lvl1pPr>
              <a:defRPr/>
            </a:lvl1pPr>
          </a:lstStyle>
          <a:p>
            <a:r>
              <a:rPr lang="en-GB"/>
              <a:t>Insert your headline in </a:t>
            </a:r>
            <a:r>
              <a:rPr lang="en-GB" err="1"/>
              <a:t>Lato</a:t>
            </a:r>
            <a:r>
              <a:rPr lang="en-GB"/>
              <a:t> Heavy 24 </a:t>
            </a:r>
            <a:r>
              <a:rPr lang="en-GB" err="1"/>
              <a:t>pt</a:t>
            </a:r>
            <a:r>
              <a:rPr lang="en-GB"/>
              <a:t> here</a:t>
            </a:r>
          </a:p>
        </p:txBody>
      </p:sp>
      <p:sp>
        <p:nvSpPr>
          <p:cNvPr id="7" name="Subtitle"/>
          <p:cNvSpPr>
            <a:spLocks noGrp="1"/>
          </p:cNvSpPr>
          <p:nvPr>
            <p:ph type="subTitle" idx="13" hasCustomPrompt="1"/>
          </p:nvPr>
        </p:nvSpPr>
        <p:spPr bwMode="gray">
          <a:xfrm>
            <a:off x="335360" y="658788"/>
            <a:ext cx="8063551" cy="360040"/>
          </a:xfrm>
          <a:prstGeom prst="rect">
            <a:avLst/>
          </a:prstGeom>
        </p:spPr>
        <p:txBody>
          <a:bodyPr wrap="none" tIns="0"/>
          <a:lstStyle>
            <a:lvl1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a:t>Insert your sub-headline in </a:t>
            </a:r>
            <a:r>
              <a:rPr lang="en-GB" err="1"/>
              <a:t>Lato</a:t>
            </a:r>
            <a:r>
              <a:rPr lang="en-GB"/>
              <a:t> light 20 </a:t>
            </a:r>
            <a:r>
              <a:rPr lang="en-GB" err="1"/>
              <a:t>pt</a:t>
            </a:r>
            <a:r>
              <a:rPr lang="en-GB"/>
              <a:t> here</a:t>
            </a:r>
          </a:p>
        </p:txBody>
      </p:sp>
      <p:sp>
        <p:nvSpPr>
          <p:cNvPr id="9" name="Source"/>
          <p:cNvSpPr>
            <a:spLocks noGrp="1"/>
          </p:cNvSpPr>
          <p:nvPr>
            <p:ph type="body" sz="quarter" idx="17" hasCustomPrompt="1"/>
          </p:nvPr>
        </p:nvSpPr>
        <p:spPr bwMode="gray">
          <a:xfrm>
            <a:off x="1487488" y="6525000"/>
            <a:ext cx="9144000"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a:latin typeface="+mn-lt"/>
              </a:defRPr>
            </a:lvl6pPr>
            <a:lvl7pPr marL="0" indent="0">
              <a:lnSpc>
                <a:spcPct val="100000"/>
              </a:lnSpc>
              <a:spcBef>
                <a:spcPts val="0"/>
              </a:spcBef>
              <a:buNone/>
              <a:defRPr sz="900">
                <a:latin typeface="+mn-lt"/>
              </a:defRPr>
            </a:lvl7pPr>
            <a:lvl8pPr marL="0" indent="0">
              <a:lnSpc>
                <a:spcPct val="100000"/>
              </a:lnSpc>
              <a:spcBef>
                <a:spcPts val="0"/>
              </a:spcBef>
              <a:buNone/>
              <a:defRPr sz="900">
                <a:latin typeface="+mn-lt"/>
              </a:defRPr>
            </a:lvl8pPr>
            <a:lvl9pPr marL="0" indent="0">
              <a:lnSpc>
                <a:spcPct val="100000"/>
              </a:lnSpc>
              <a:spcBef>
                <a:spcPts val="0"/>
              </a:spcBef>
              <a:buNone/>
              <a:defRPr sz="900">
                <a:latin typeface="+mn-lt"/>
              </a:defRPr>
            </a:lvl9pPr>
          </a:lstStyle>
          <a:p>
            <a:pPr lvl="0"/>
            <a:r>
              <a:rPr lang="en-GB"/>
              <a:t>Source, Footnote</a:t>
            </a:r>
          </a:p>
        </p:txBody>
      </p:sp>
      <p:sp>
        <p:nvSpPr>
          <p:cNvPr id="2" name="Datumsplatzhalter 1">
            <a:extLst>
              <a:ext uri="{FF2B5EF4-FFF2-40B4-BE49-F238E27FC236}">
                <a16:creationId xmlns:a16="http://schemas.microsoft.com/office/drawing/2014/main" id="{B98D2D80-83C7-C3BE-11DE-891FB4F74070}"/>
              </a:ext>
              <a:ext uri="{C183D7F6-B498-43B3-948B-1728B52AA6E4}">
                <adec:decorative xmlns:adec="http://schemas.microsoft.com/office/drawing/2017/decorative" val="1"/>
              </a:ext>
            </a:extLst>
          </p:cNvPr>
          <p:cNvSpPr>
            <a:spLocks noGrp="1"/>
          </p:cNvSpPr>
          <p:nvPr>
            <p:ph type="dt" sz="half" idx="18"/>
          </p:nvPr>
        </p:nvSpPr>
        <p:spPr/>
        <p:txBody>
          <a:bodyPr/>
          <a:lstStyle/>
          <a:p>
            <a:fld id="{4DE93318-5236-4FEB-9F68-8BCB525EBB34}" type="datetime1">
              <a:rPr lang="en-GB" smtClean="0"/>
              <a:t>18/11/2024</a:t>
            </a:fld>
            <a:endParaRPr lang="en-GB"/>
          </a:p>
        </p:txBody>
      </p:sp>
      <p:sp>
        <p:nvSpPr>
          <p:cNvPr id="3" name="Fußzeilenplatzhalter 2">
            <a:extLst>
              <a:ext uri="{FF2B5EF4-FFF2-40B4-BE49-F238E27FC236}">
                <a16:creationId xmlns:a16="http://schemas.microsoft.com/office/drawing/2014/main" id="{B4FF2831-9930-617B-0107-D5E0273C47C9}"/>
              </a:ext>
              <a:ext uri="{C183D7F6-B498-43B3-948B-1728B52AA6E4}">
                <adec:decorative xmlns:adec="http://schemas.microsoft.com/office/drawing/2017/decorative" val="1"/>
              </a:ext>
            </a:extLst>
          </p:cNvPr>
          <p:cNvSpPr>
            <a:spLocks noGrp="1"/>
          </p:cNvSpPr>
          <p:nvPr>
            <p:ph type="ftr" sz="quarter" idx="19"/>
          </p:nvPr>
        </p:nvSpPr>
        <p:spPr/>
        <p:txBody>
          <a:bodyPr/>
          <a:lstStyle/>
          <a:p>
            <a:endParaRPr lang="en-GB"/>
          </a:p>
        </p:txBody>
      </p:sp>
      <p:sp>
        <p:nvSpPr>
          <p:cNvPr id="5" name="Foliennummernplatzhalter 4">
            <a:extLst>
              <a:ext uri="{FF2B5EF4-FFF2-40B4-BE49-F238E27FC236}">
                <a16:creationId xmlns:a16="http://schemas.microsoft.com/office/drawing/2014/main" id="{7C4DE80F-7084-7C4F-A5DC-647F766EC038}"/>
              </a:ext>
              <a:ext uri="{C183D7F6-B498-43B3-948B-1728B52AA6E4}">
                <adec:decorative xmlns:adec="http://schemas.microsoft.com/office/drawing/2017/decorative" val="1"/>
              </a:ext>
            </a:extLst>
          </p:cNvPr>
          <p:cNvSpPr>
            <a:spLocks noGrp="1"/>
          </p:cNvSpPr>
          <p:nvPr>
            <p:ph type="sldNum" sz="quarter" idx="20"/>
          </p:nvPr>
        </p:nvSpPr>
        <p:spPr/>
        <p:txBody>
          <a:bodyPr/>
          <a:lstStyle/>
          <a:p>
            <a:fld id="{FE39C4BC-14FF-4AB6-8138-D11671C6FBF7}" type="slidenum">
              <a:rPr lang="en-GB" smtClean="0"/>
              <a:pPr/>
              <a:t>‹#›</a:t>
            </a:fld>
            <a:endParaRPr lang="en-GB"/>
          </a:p>
        </p:txBody>
      </p:sp>
    </p:spTree>
    <p:extLst>
      <p:ext uri="{BB962C8B-B14F-4D97-AF65-F5344CB8AC3E}">
        <p14:creationId xmlns:p14="http://schemas.microsoft.com/office/powerpoint/2010/main" val="2547303355"/>
      </p:ext>
    </p:extLst>
  </p:cSld>
  <p:clrMapOvr>
    <a:masterClrMapping/>
  </p:clrMapOvr>
  <p:extLst>
    <p:ext uri="{DCECCB84-F9BA-43D5-87BE-67443E8EF086}">
      <p15:sldGuideLst xmlns:p15="http://schemas.microsoft.com/office/powerpoint/2012/main">
        <p15:guide id="1" orient="horz" pos="935">
          <p15:clr>
            <a:srgbClr val="FBAE40"/>
          </p15:clr>
        </p15:guide>
        <p15:guide id="3" pos="7469">
          <p15:clr>
            <a:srgbClr val="FBAE40"/>
          </p15:clr>
        </p15:guide>
        <p15:guide id="4" orient="horz" pos="3838">
          <p15:clr>
            <a:srgbClr val="FBAE40"/>
          </p15:clr>
        </p15:guide>
        <p15:guide id="5" pos="211">
          <p15:clr>
            <a:srgbClr val="FBAE40"/>
          </p15:clr>
        </p15:guide>
        <p15:guide id="6" orient="horz" pos="1298">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niq-gfk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341D27D-C9D4-960C-C280-35DFDBD6B9CE}"/>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4 Nielsen Consumer LLC. All Rights Reserved.</a:t>
            </a:r>
          </a:p>
        </p:txBody>
      </p:sp>
      <p:sp>
        <p:nvSpPr>
          <p:cNvPr id="4" name="Text Placeholder 6">
            <a:extLst>
              <a:ext uri="{FF2B5EF4-FFF2-40B4-BE49-F238E27FC236}">
                <a16:creationId xmlns:a16="http://schemas.microsoft.com/office/drawing/2014/main" id="{C644E75E-F3FD-631A-D490-8B6F7CE333C8}"/>
              </a:ext>
            </a:extLst>
          </p:cNvPr>
          <p:cNvSpPr>
            <a:spLocks noGrp="1" noChangeAspect="1"/>
          </p:cNvSpPr>
          <p:nvPr>
            <p:ph type="body" sz="quarter" idx="16" hasCustomPrompt="1"/>
          </p:nvPr>
        </p:nvSpPr>
        <p:spPr>
          <a:xfrm>
            <a:off x="4275692" y="788545"/>
            <a:ext cx="7595266"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pic>
        <p:nvPicPr>
          <p:cNvPr id="10" name="Picture 9">
            <a:extLst>
              <a:ext uri="{FF2B5EF4-FFF2-40B4-BE49-F238E27FC236}">
                <a16:creationId xmlns:a16="http://schemas.microsoft.com/office/drawing/2014/main" id="{8BA80876-4EBA-D97B-F95A-AE166E0D43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78932" y="6475602"/>
            <a:ext cx="554786" cy="324726"/>
          </a:xfrm>
          <a:prstGeom prst="rect">
            <a:avLst/>
          </a:prstGeom>
        </p:spPr>
      </p:pic>
    </p:spTree>
    <p:extLst>
      <p:ext uri="{BB962C8B-B14F-4D97-AF65-F5344CB8AC3E}">
        <p14:creationId xmlns:p14="http://schemas.microsoft.com/office/powerpoint/2010/main" val="307594966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Closing_Blue">
    <p:spTree>
      <p:nvGrpSpPr>
        <p:cNvPr id="1" name=""/>
        <p:cNvGrpSpPr/>
        <p:nvPr/>
      </p:nvGrpSpPr>
      <p:grpSpPr>
        <a:xfrm>
          <a:off x="0" y="0"/>
          <a:ext cx="0" cy="0"/>
          <a:chOff x="0" y="0"/>
          <a:chExt cx="0" cy="0"/>
        </a:xfrm>
      </p:grpSpPr>
      <p:pic>
        <p:nvPicPr>
          <p:cNvPr id="6" name="Picture 5" descr="A group of people posing for a photo&#10;&#10;Description automatically generated">
            <a:extLst>
              <a:ext uri="{FF2B5EF4-FFF2-40B4-BE49-F238E27FC236}">
                <a16:creationId xmlns:a16="http://schemas.microsoft.com/office/drawing/2014/main" id="{62DBB250-0D58-1657-C6B3-98CA14EC2C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Slide Number Placeholder 2">
            <a:extLst>
              <a:ext uri="{FF2B5EF4-FFF2-40B4-BE49-F238E27FC236}">
                <a16:creationId xmlns:a16="http://schemas.microsoft.com/office/drawing/2014/main" id="{6DD8849B-985E-CE3A-3828-C7E890933180}"/>
              </a:ext>
            </a:extLst>
          </p:cNvPr>
          <p:cNvSpPr>
            <a:spLocks noGrp="1"/>
          </p:cNvSpPr>
          <p:nvPr>
            <p:ph type="sldNum" sz="quarter" idx="10"/>
          </p:nvPr>
        </p:nvSpPr>
        <p:spPr/>
        <p:txBody>
          <a:bodyPr/>
          <a:lstStyle/>
          <a:p>
            <a:fld id="{403EF4E2-7A7A-0548-85F1-5479B7C9E1B2}" type="slidenum">
              <a:rPr lang="en-US" smtClean="0"/>
              <a:pPr/>
              <a:t>‹#›</a:t>
            </a:fld>
            <a:endParaRPr lang="en-US"/>
          </a:p>
        </p:txBody>
      </p:sp>
      <p:sp>
        <p:nvSpPr>
          <p:cNvPr id="9" name="Rectangle 8">
            <a:extLst>
              <a:ext uri="{FF2B5EF4-FFF2-40B4-BE49-F238E27FC236}">
                <a16:creationId xmlns:a16="http://schemas.microsoft.com/office/drawing/2014/main" id="{3D86B18F-F72D-048D-A4A4-8E5B808E94D9}"/>
              </a:ext>
            </a:extLst>
          </p:cNvPr>
          <p:cNvSpPr/>
          <p:nvPr userDrawn="1"/>
        </p:nvSpPr>
        <p:spPr>
          <a:xfrm>
            <a:off x="0" y="0"/>
            <a:ext cx="12192000" cy="6858000"/>
          </a:xfrm>
          <a:prstGeom prst="rect">
            <a:avLst/>
          </a:prstGeom>
          <a:solidFill>
            <a:schemeClr val="tx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0960" rIns="60960" rtlCol="0" anchor="ctr"/>
          <a:lstStyle/>
          <a:p>
            <a:pPr algn="ctr">
              <a:spcAft>
                <a:spcPts val="800"/>
              </a:spcAft>
            </a:pPr>
            <a:endParaRPr lang="en-US" sz="2133"/>
          </a:p>
        </p:txBody>
      </p:sp>
      <p:sp>
        <p:nvSpPr>
          <p:cNvPr id="13" name="Text Placeholder 10">
            <a:extLst>
              <a:ext uri="{FF2B5EF4-FFF2-40B4-BE49-F238E27FC236}">
                <a16:creationId xmlns:a16="http://schemas.microsoft.com/office/drawing/2014/main" id="{C7DFF1AD-458A-6C4D-CEE4-555DA2567F98}"/>
              </a:ext>
            </a:extLst>
          </p:cNvPr>
          <p:cNvSpPr>
            <a:spLocks noGrp="1"/>
          </p:cNvSpPr>
          <p:nvPr>
            <p:ph type="body" sz="quarter" idx="11"/>
          </p:nvPr>
        </p:nvSpPr>
        <p:spPr>
          <a:xfrm>
            <a:off x="345018" y="986368"/>
            <a:ext cx="9205383" cy="944033"/>
          </a:xfrm>
        </p:spPr>
        <p:txBody>
          <a:bodyPr/>
          <a:lstStyle>
            <a:lvl1pPr marL="0" indent="0">
              <a:buNone/>
              <a:defRPr sz="5867" b="1">
                <a:solidFill>
                  <a:schemeClr val="bg1"/>
                </a:solidFill>
              </a:defRPr>
            </a:lvl1pPr>
          </a:lstStyle>
          <a:p>
            <a:pPr lvl="0"/>
            <a:endParaRPr lang="en-US"/>
          </a:p>
        </p:txBody>
      </p:sp>
      <p:sp>
        <p:nvSpPr>
          <p:cNvPr id="14" name="Text Placeholder 10">
            <a:extLst>
              <a:ext uri="{FF2B5EF4-FFF2-40B4-BE49-F238E27FC236}">
                <a16:creationId xmlns:a16="http://schemas.microsoft.com/office/drawing/2014/main" id="{4A975E99-85A2-1208-12C1-C165173BA0FE}"/>
              </a:ext>
            </a:extLst>
          </p:cNvPr>
          <p:cNvSpPr>
            <a:spLocks noGrp="1"/>
          </p:cNvSpPr>
          <p:nvPr>
            <p:ph type="body" sz="quarter" idx="12"/>
          </p:nvPr>
        </p:nvSpPr>
        <p:spPr>
          <a:xfrm>
            <a:off x="345018" y="1972734"/>
            <a:ext cx="9205383" cy="944033"/>
          </a:xfrm>
        </p:spPr>
        <p:txBody>
          <a:bodyPr/>
          <a:lstStyle>
            <a:lvl1pPr marL="0" indent="0">
              <a:buNone/>
              <a:defRPr sz="2133">
                <a:solidFill>
                  <a:schemeClr val="bg1"/>
                </a:solidFill>
              </a:defRPr>
            </a:lvl1pPr>
          </a:lstStyle>
          <a:p>
            <a:pPr lvl="0"/>
            <a:endParaRPr lang="en-US"/>
          </a:p>
        </p:txBody>
      </p:sp>
      <p:sp>
        <p:nvSpPr>
          <p:cNvPr id="15" name="Text Placeholder 10">
            <a:extLst>
              <a:ext uri="{FF2B5EF4-FFF2-40B4-BE49-F238E27FC236}">
                <a16:creationId xmlns:a16="http://schemas.microsoft.com/office/drawing/2014/main" id="{D767D4A6-F4C2-A23C-ED42-456F346622F4}"/>
              </a:ext>
            </a:extLst>
          </p:cNvPr>
          <p:cNvSpPr>
            <a:spLocks noGrp="1"/>
          </p:cNvSpPr>
          <p:nvPr>
            <p:ph type="body" sz="quarter" idx="13"/>
          </p:nvPr>
        </p:nvSpPr>
        <p:spPr>
          <a:xfrm>
            <a:off x="345017" y="2956984"/>
            <a:ext cx="9205383" cy="944033"/>
          </a:xfrm>
        </p:spPr>
        <p:txBody>
          <a:bodyPr/>
          <a:lstStyle>
            <a:lvl1pPr marL="0" indent="0">
              <a:buNone/>
              <a:defRPr sz="1600">
                <a:solidFill>
                  <a:schemeClr val="bg1"/>
                </a:solidFill>
              </a:defRPr>
            </a:lvl1pPr>
          </a:lstStyle>
          <a:p>
            <a:pPr lvl="0"/>
            <a:endParaRPr lang="en-US"/>
          </a:p>
        </p:txBody>
      </p:sp>
      <p:sp>
        <p:nvSpPr>
          <p:cNvPr id="2" name="Rectangle 1">
            <a:extLst>
              <a:ext uri="{FF2B5EF4-FFF2-40B4-BE49-F238E27FC236}">
                <a16:creationId xmlns:a16="http://schemas.microsoft.com/office/drawing/2014/main" id="{91B82075-EF2E-A89A-D957-4DD5EFB69B36}"/>
              </a:ext>
            </a:extLst>
          </p:cNvPr>
          <p:cNvSpPr/>
          <p:nvPr userDrawn="1"/>
        </p:nvSpPr>
        <p:spPr>
          <a:xfrm>
            <a:off x="0" y="985520"/>
            <a:ext cx="223520" cy="9448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0960" rIns="60960" rtlCol="0" anchor="ctr"/>
          <a:lstStyle/>
          <a:p>
            <a:pPr algn="ctr">
              <a:spcAft>
                <a:spcPts val="800"/>
              </a:spcAft>
            </a:pPr>
            <a:endParaRPr lang="en-US" sz="2133"/>
          </a:p>
        </p:txBody>
      </p:sp>
      <p:sp>
        <p:nvSpPr>
          <p:cNvPr id="4" name="TextBox 3">
            <a:extLst>
              <a:ext uri="{FF2B5EF4-FFF2-40B4-BE49-F238E27FC236}">
                <a16:creationId xmlns:a16="http://schemas.microsoft.com/office/drawing/2014/main" id="{B130F8A9-52F7-E6A0-88ED-78A0BFC03777}"/>
              </a:ext>
            </a:extLst>
          </p:cNvPr>
          <p:cNvSpPr txBox="1"/>
          <p:nvPr userDrawn="1"/>
        </p:nvSpPr>
        <p:spPr>
          <a:xfrm>
            <a:off x="2188123" y="6506812"/>
            <a:ext cx="3468317" cy="215444"/>
          </a:xfrm>
          <a:prstGeom prst="rect">
            <a:avLst/>
          </a:prstGeom>
          <a:noFill/>
        </p:spPr>
        <p:txBody>
          <a:bodyPr wrap="square" lIns="0" r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lumMod val="40000"/>
                    <a:lumOff val="60000"/>
                  </a:schemeClr>
                </a:solidFill>
                <a:effectLst/>
                <a:uLnTx/>
                <a:uFillTx/>
                <a:latin typeface="Arial" panose="020B0604020202020204"/>
                <a:ea typeface="+mn-ea"/>
                <a:cs typeface="+mn-cs"/>
              </a:rPr>
              <a:t>© 2023 Nielsen Consumer LLC. All Rights Reserved.</a:t>
            </a:r>
          </a:p>
        </p:txBody>
      </p:sp>
    </p:spTree>
    <p:extLst>
      <p:ext uri="{BB962C8B-B14F-4D97-AF65-F5344CB8AC3E}">
        <p14:creationId xmlns:p14="http://schemas.microsoft.com/office/powerpoint/2010/main" val="179480668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Slide Number Placeholder">
            <a:extLst>
              <a:ext uri="{FF2B5EF4-FFF2-40B4-BE49-F238E27FC236}">
                <a16:creationId xmlns:a16="http://schemas.microsoft.com/office/drawing/2014/main" id="{FD1F3F95-8F1D-9A9D-41FB-B771E1512249}"/>
              </a:ext>
            </a:extLst>
          </p:cNvPr>
          <p:cNvSpPr>
            <a:spLocks noGrp="1" noRot="1" noMove="1" noResize="1" noEditPoints="1" noAdjustHandles="1" noChangeArrowheads="1" noChangeShapeType="1"/>
          </p:cNvSpPr>
          <p:nvPr>
            <p:ph type="sldNum" sz="quarter" idx="12"/>
          </p:nvPr>
        </p:nvSpPr>
        <p:spPr/>
        <p:txBody>
          <a:bodyPr/>
          <a:lstStyle/>
          <a:p>
            <a:fld id="{3E04DF46-C0DC-4ADC-9A6F-918CC4703A43}" type="slidenum">
              <a:rPr lang="en-GB" smtClean="0"/>
              <a:t>‹#›</a:t>
            </a:fld>
            <a:endParaRPr lang="en-GB"/>
          </a:p>
        </p:txBody>
      </p:sp>
      <p:sp>
        <p:nvSpPr>
          <p:cNvPr id="5" name="Footer Placeholder">
            <a:extLst>
              <a:ext uri="{FF2B5EF4-FFF2-40B4-BE49-F238E27FC236}">
                <a16:creationId xmlns:a16="http://schemas.microsoft.com/office/drawing/2014/main" id="{9F5B23B2-FEF2-DCC0-334E-3B80B3A03AE6}"/>
              </a:ext>
            </a:extLst>
          </p:cNvPr>
          <p:cNvSpPr>
            <a:spLocks noGrp="1" noRot="1" noMove="1" noResize="1" noEditPoints="1" noAdjustHandles="1" noChangeArrowheads="1" noChangeShapeType="1"/>
          </p:cNvSpPr>
          <p:nvPr>
            <p:ph type="ftr" sz="quarter" idx="11"/>
          </p:nvPr>
        </p:nvSpPr>
        <p:spPr/>
        <p:txBody>
          <a:bodyPr/>
          <a:lstStyle/>
          <a:p>
            <a:endParaRPr lang="en-GB"/>
          </a:p>
        </p:txBody>
      </p:sp>
      <p:sp>
        <p:nvSpPr>
          <p:cNvPr id="4" name="Date Placeholder">
            <a:extLst>
              <a:ext uri="{FF2B5EF4-FFF2-40B4-BE49-F238E27FC236}">
                <a16:creationId xmlns:a16="http://schemas.microsoft.com/office/drawing/2014/main" id="{35847737-8381-A612-E054-E1C098244CD5}"/>
              </a:ext>
            </a:extLst>
          </p:cNvPr>
          <p:cNvSpPr>
            <a:spLocks noGrp="1" noRot="1" noMove="1" noResize="1" noEditPoints="1" noAdjustHandles="1" noChangeArrowheads="1" noChangeShapeType="1"/>
          </p:cNvSpPr>
          <p:nvPr>
            <p:ph type="dt" sz="half" idx="10"/>
          </p:nvPr>
        </p:nvSpPr>
        <p:spPr/>
        <p:txBody>
          <a:bodyPr/>
          <a:lstStyle/>
          <a:p>
            <a:fld id="{96FE6D9B-E395-4A22-A7DB-AC096A22C7CA}" type="datetime1">
              <a:rPr lang="en-GB" smtClean="0"/>
              <a:t>18/11/2024</a:t>
            </a:fld>
            <a:endParaRPr lang="en-GB"/>
          </a:p>
        </p:txBody>
      </p:sp>
      <p:sp>
        <p:nvSpPr>
          <p:cNvPr id="13" name="Source Placeholder">
            <a:extLst>
              <a:ext uri="{FF2B5EF4-FFF2-40B4-BE49-F238E27FC236}">
                <a16:creationId xmlns:a16="http://schemas.microsoft.com/office/drawing/2014/main" id="{81E36804-955F-07A1-88DF-9B603E5E262A}"/>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3" name="Content Placeholder">
            <a:extLst>
              <a:ext uri="{FF2B5EF4-FFF2-40B4-BE49-F238E27FC236}">
                <a16:creationId xmlns:a16="http://schemas.microsoft.com/office/drawing/2014/main" id="{04974C89-D6D3-D29A-E142-BB21F4F82BF1}"/>
              </a:ext>
            </a:extLst>
          </p:cNvPr>
          <p:cNvSpPr>
            <a:spLocks noGrp="1" noRot="1" noMove="1" noResize="1" noEditPoints="1" noAdjustHandles="1" noChangeArrowheads="1" noChangeShapeType="1"/>
          </p:cNvSpPr>
          <p:nvPr>
            <p:ph idx="1" hasCustomPrompt="1"/>
          </p:nvPr>
        </p:nvSpPr>
        <p:spPr/>
        <p:txBody>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ubtitle Placeholder">
            <a:extLst>
              <a:ext uri="{FF2B5EF4-FFF2-40B4-BE49-F238E27FC236}">
                <a16:creationId xmlns:a16="http://schemas.microsoft.com/office/drawing/2014/main" id="{D7CEFD0E-11F5-45EC-2759-A609F998C673}"/>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11" name="Title Placeholder">
            <a:extLst>
              <a:ext uri="{FF2B5EF4-FFF2-40B4-BE49-F238E27FC236}">
                <a16:creationId xmlns:a16="http://schemas.microsoft.com/office/drawing/2014/main" id="{063DF22F-A0F5-4EAA-7380-343ABC31C9B0}"/>
              </a:ext>
            </a:extLst>
          </p:cNvPr>
          <p:cNvSpPr>
            <a:spLocks noGrp="1" noRot="1" noMove="1" noResize="1" noEditPoints="1" noAdjustHandles="1" noChangeArrowheads="1" noChangeShapeType="1"/>
          </p:cNvSpPr>
          <p:nvPr>
            <p:ph type="title" hasCustomPrompt="1"/>
          </p:nvPr>
        </p:nvSpPr>
        <p:spPr/>
        <p:txBody>
          <a:bodyPr/>
          <a:lstStyle/>
          <a:p>
            <a:r>
              <a:rPr lang="en-US"/>
              <a:t>Insert your slide title in Arial Bold 20pt</a:t>
            </a:r>
            <a:endParaRPr lang="en-GB"/>
          </a:p>
        </p:txBody>
      </p:sp>
    </p:spTree>
    <p:extLst>
      <p:ext uri="{BB962C8B-B14F-4D97-AF65-F5344CB8AC3E}">
        <p14:creationId xmlns:p14="http://schemas.microsoft.com/office/powerpoint/2010/main" val="222719818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1_cobranded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Q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
        <p:nvSpPr>
          <p:cNvPr id="5" name="Picture Placeholder 7">
            <a:extLst>
              <a:ext uri="{FF2B5EF4-FFF2-40B4-BE49-F238E27FC236}">
                <a16:creationId xmlns:a16="http://schemas.microsoft.com/office/drawing/2014/main" id="{6D756667-F2D3-52FC-1B79-5EA11BFFDEA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405373749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3yp_title_and_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60D617-7DD3-52F8-6074-6661777E94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62" imgH="262" progId="TCLayout.ActiveDocument.1">
                  <p:embed/>
                </p:oleObj>
              </mc:Choice>
              <mc:Fallback>
                <p:oleObj name="think-cell Slide" r:id="rId3" imgW="262" imgH="262" progId="TCLayout.ActiveDocument.1">
                  <p:embed/>
                  <p:pic>
                    <p:nvPicPr>
                      <p:cNvPr id="8" name="Object 7" hidden="1">
                        <a:extLst>
                          <a:ext uri="{FF2B5EF4-FFF2-40B4-BE49-F238E27FC236}">
                            <a16:creationId xmlns:a16="http://schemas.microsoft.com/office/drawing/2014/main" id="{6B60D617-7DD3-52F8-6074-6661777E94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82F25C-611F-5946-A757-98CBE87CC8B7}"/>
              </a:ext>
            </a:extLst>
          </p:cNvPr>
          <p:cNvSpPr>
            <a:spLocks noGrp="1"/>
          </p:cNvSpPr>
          <p:nvPr>
            <p:ph type="title" hasCustomPrompt="1"/>
          </p:nvPr>
        </p:nvSpPr>
        <p:spPr>
          <a:xfrm>
            <a:off x="288558" y="321254"/>
            <a:ext cx="11582400" cy="397352"/>
          </a:xfrm>
          <a:prstGeom prst="rect">
            <a:avLst/>
          </a:prstGeom>
        </p:spPr>
        <p:txBody>
          <a:bodyPr vert="horz" anchor="ctr"/>
          <a:lstStyle>
            <a:lvl1pPr>
              <a:defRPr sz="2000"/>
            </a:lvl1pPr>
          </a:lstStyle>
          <a:p>
            <a:r>
              <a:rPr lang="en-US"/>
              <a:t>Insert your slide title in Arial bold 20pt</a:t>
            </a:r>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noChangeAspect="1"/>
          </p:cNvSpPr>
          <p:nvPr>
            <p:ph type="body" sz="quarter" idx="13" hasCustomPrompt="1"/>
          </p:nvPr>
        </p:nvSpPr>
        <p:spPr>
          <a:xfrm>
            <a:off x="288558" y="845697"/>
            <a:ext cx="11582400"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
        <p:nvSpPr>
          <p:cNvPr id="11" name="Text Placeholder 10">
            <a:extLst>
              <a:ext uri="{FF2B5EF4-FFF2-40B4-BE49-F238E27FC236}">
                <a16:creationId xmlns:a16="http://schemas.microsoft.com/office/drawing/2014/main" id="{D84B7C4B-5E7C-3B57-7A87-AA7A24A5F2B5}"/>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5" name="Straight Connector 4">
            <a:extLst>
              <a:ext uri="{FF2B5EF4-FFF2-40B4-BE49-F238E27FC236}">
                <a16:creationId xmlns:a16="http://schemas.microsoft.com/office/drawing/2014/main" id="{6FD4EA98-BF31-5C57-6FCA-CC2DE7D012B7}"/>
              </a:ext>
            </a:extLst>
          </p:cNvPr>
          <p:cNvCxnSpPr>
            <a:cxnSpLocks/>
          </p:cNvCxnSpPr>
          <p:nvPr userDrawn="1"/>
        </p:nvCxnSpPr>
        <p:spPr>
          <a:xfrm>
            <a:off x="278932" y="718606"/>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72818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secHead" preserve="1">
  <p:cSld name="Section Header Blue">
    <p:spTree>
      <p:nvGrpSpPr>
        <p:cNvPr id="1" name=""/>
        <p:cNvGrpSpPr/>
        <p:nvPr/>
      </p:nvGrpSpPr>
      <p:grpSpPr>
        <a:xfrm>
          <a:off x="0" y="0"/>
          <a:ext cx="0" cy="0"/>
          <a:chOff x="0" y="0"/>
          <a:chExt cx="0" cy="0"/>
        </a:xfrm>
      </p:grpSpPr>
      <p:sp>
        <p:nvSpPr>
          <p:cNvPr id="7" name="Static Blue Bkgd">
            <a:extLst>
              <a:ext uri="{FF2B5EF4-FFF2-40B4-BE49-F238E27FC236}">
                <a16:creationId xmlns:a16="http://schemas.microsoft.com/office/drawing/2014/main" id="{D1093FDC-ACBE-C97A-79EC-30B506F35131}"/>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2D6D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Base Rule">
            <a:extLst>
              <a:ext uri="{FF2B5EF4-FFF2-40B4-BE49-F238E27FC236}">
                <a16:creationId xmlns:a16="http://schemas.microsoft.com/office/drawing/2014/main" id="{BF009615-489A-5DA8-222F-36CEB46D77B1}"/>
              </a:ext>
            </a:extLst>
          </p:cNvPr>
          <p:cNvCxnSpPr>
            <a:cxnSpLocks noGrp="1" noRot="1" noMove="1" noResize="1" noEditPoints="1" noAdjustHandles="1" noChangeArrowheads="1" noChangeShapeType="1"/>
          </p:cNvCxnSpPr>
          <p:nvPr userDrawn="1"/>
        </p:nvCxnSpPr>
        <p:spPr>
          <a:xfrm>
            <a:off x="292100" y="6395755"/>
            <a:ext cx="11607801"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5" name="Footer Placeholder">
            <a:extLst>
              <a:ext uri="{FF2B5EF4-FFF2-40B4-BE49-F238E27FC236}">
                <a16:creationId xmlns:a16="http://schemas.microsoft.com/office/drawing/2014/main" id="{9E3F8F0F-7B47-2BB9-7F93-A25C99023E14}"/>
              </a:ext>
            </a:extLst>
          </p:cNvPr>
          <p:cNvSpPr>
            <a:spLocks noGrp="1" noRot="1" noMove="1" noResize="1" noEditPoints="1" noAdjustHandles="1" noChangeArrowheads="1" noChangeShapeType="1"/>
          </p:cNvSpPr>
          <p:nvPr>
            <p:ph type="ftr" sz="quarter" idx="11"/>
          </p:nvPr>
        </p:nvSpPr>
        <p:spPr>
          <a:solidFill>
            <a:schemeClr val="accent1"/>
          </a:solidFill>
        </p:spPr>
        <p:txBody>
          <a:bodyPr/>
          <a:lstStyle>
            <a:lvl1pPr>
              <a:defRPr>
                <a:solidFill>
                  <a:srgbClr val="FFFFFF"/>
                </a:solidFill>
              </a:defRPr>
            </a:lvl1pPr>
          </a:lstStyle>
          <a:p>
            <a:endParaRPr lang="en-GB"/>
          </a:p>
        </p:txBody>
      </p:sp>
      <p:sp>
        <p:nvSpPr>
          <p:cNvPr id="4" name="Date Placeholder">
            <a:extLst>
              <a:ext uri="{FF2B5EF4-FFF2-40B4-BE49-F238E27FC236}">
                <a16:creationId xmlns:a16="http://schemas.microsoft.com/office/drawing/2014/main" id="{51D28747-A5DD-1E44-1383-00C1095A0E2F}"/>
              </a:ext>
            </a:extLst>
          </p:cNvPr>
          <p:cNvSpPr>
            <a:spLocks noGrp="1" noRot="1" noMove="1" noResize="1" noEditPoints="1" noAdjustHandles="1" noChangeArrowheads="1" noChangeShapeType="1"/>
          </p:cNvSpPr>
          <p:nvPr>
            <p:ph type="dt" sz="half" idx="10"/>
          </p:nvPr>
        </p:nvSpPr>
        <p:spPr/>
        <p:txBody>
          <a:bodyPr/>
          <a:lstStyle>
            <a:lvl1pPr>
              <a:defRPr>
                <a:solidFill>
                  <a:srgbClr val="FFFFFF"/>
                </a:solidFill>
              </a:defRPr>
            </a:lvl1pPr>
          </a:lstStyle>
          <a:p>
            <a:fld id="{DE0BD3D1-6E87-4D3B-832D-3A9C60D16F09}" type="datetime1">
              <a:rPr lang="en-GB" smtClean="0"/>
              <a:t>18/11/2024</a:t>
            </a:fld>
            <a:endParaRPr lang="en-GB"/>
          </a:p>
        </p:txBody>
      </p:sp>
      <p:sp>
        <p:nvSpPr>
          <p:cNvPr id="3" name="Subtitle Placeholder">
            <a:extLst>
              <a:ext uri="{FF2B5EF4-FFF2-40B4-BE49-F238E27FC236}">
                <a16:creationId xmlns:a16="http://schemas.microsoft.com/office/drawing/2014/main" id="{811C7246-8A71-F257-DB0D-3E1F23CE6970}"/>
              </a:ext>
            </a:extLst>
          </p:cNvPr>
          <p:cNvSpPr>
            <a:spLocks noGrp="1" noRot="1" noMove="1" noResize="1" noEditPoints="1" noAdjustHandles="1" noChangeArrowheads="1" noChangeShapeType="1"/>
          </p:cNvSpPr>
          <p:nvPr>
            <p:ph type="body" idx="1"/>
          </p:nvPr>
        </p:nvSpPr>
        <p:spPr>
          <a:xfrm>
            <a:off x="292100" y="3945964"/>
            <a:ext cx="7121979" cy="1500187"/>
          </a:xfrm>
        </p:spPr>
        <p:txBody>
          <a:bodyPr>
            <a:noAutofit/>
          </a:bodyPr>
          <a:lstStyle>
            <a:lvl1pPr marL="0" indent="0">
              <a:buNone/>
              <a:defRPr sz="2000">
                <a:solidFill>
                  <a:srgbClr val="FFFFFF"/>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1219200"/>
            <a:ext cx="7121979" cy="2401887"/>
          </a:xfrm>
        </p:spPr>
        <p:txBody>
          <a:bodyPr anchor="b">
            <a:noAutofit/>
          </a:bodyPr>
          <a:lstStyle>
            <a:lvl1pPr>
              <a:defRPr sz="4400">
                <a:solidFill>
                  <a:srgbClr val="FFFFFF"/>
                </a:solidFill>
              </a:defRPr>
            </a:lvl1pPr>
          </a:lstStyle>
          <a:p>
            <a:r>
              <a:rPr lang="en-US"/>
              <a:t>Insert your section header title here maximum of three lines</a:t>
            </a:r>
            <a:endParaRPr lang="en-GB"/>
          </a:p>
        </p:txBody>
      </p:sp>
      <p:pic>
        <p:nvPicPr>
          <p:cNvPr id="14" name="NIQ GFK Lockup" hidden="1">
            <a:extLst>
              <a:ext uri="{FF2B5EF4-FFF2-40B4-BE49-F238E27FC236}">
                <a16:creationId xmlns:a16="http://schemas.microsoft.com/office/drawing/2014/main" id="{EAEBAA35-FD7E-BA1F-342A-81B244F88CFF}"/>
              </a:ext>
            </a:extLst>
          </p:cNvPr>
          <p:cNvPicPr>
            <a:picLocks noGrp="1" noRot="1" noChangeAspec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25" name="NielsenIQ logo+wordmark" hidden="1">
            <a:extLst>
              <a:ext uri="{FF2B5EF4-FFF2-40B4-BE49-F238E27FC236}">
                <a16:creationId xmlns:a16="http://schemas.microsoft.com/office/drawing/2014/main" id="{598FBCD8-A3EE-4A06-6724-A1F5D7027567}"/>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rcRect/>
          <a:stretch/>
        </p:blipFill>
        <p:spPr>
          <a:xfrm>
            <a:off x="290132" y="6495154"/>
            <a:ext cx="781428" cy="269593"/>
          </a:xfrm>
          <a:prstGeom prst="rect">
            <a:avLst/>
          </a:prstGeom>
        </p:spPr>
      </p:pic>
      <p:pic>
        <p:nvPicPr>
          <p:cNvPr id="22" name="NIQ Logo">
            <a:extLst>
              <a:ext uri="{FF2B5EF4-FFF2-40B4-BE49-F238E27FC236}">
                <a16:creationId xmlns:a16="http://schemas.microsoft.com/office/drawing/2014/main" id="{C3AC3518-07F7-E20B-4D4C-9D6C3D043778}"/>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
        <p:nvSpPr>
          <p:cNvPr id="9" name="Slide Number Placeholder 5">
            <a:extLst>
              <a:ext uri="{FF2B5EF4-FFF2-40B4-BE49-F238E27FC236}">
                <a16:creationId xmlns:a16="http://schemas.microsoft.com/office/drawing/2014/main" id="{8BF6C90B-FA60-D635-908D-409369EB143B}"/>
              </a:ext>
            </a:extLst>
          </p:cNvPr>
          <p:cNvSpPr txBox="1">
            <a:spLocks/>
          </p:cNvSpPr>
          <p:nvPr userDrawn="1"/>
        </p:nvSpPr>
        <p:spPr>
          <a:xfrm>
            <a:off x="10985325" y="6444314"/>
            <a:ext cx="90187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03EF4E2-7A7A-0548-85F1-5479B7C9E1B2}" type="slidenum">
              <a:rPr lang="en-US" sz="1200" smtClean="0">
                <a:solidFill>
                  <a:schemeClr val="tx1">
                    <a:lumMod val="50000"/>
                    <a:lumOff val="50000"/>
                  </a:schemeClr>
                </a:solidFill>
              </a:rPr>
              <a:pPr algn="r"/>
              <a:t>‹#›</a:t>
            </a:fld>
            <a:endParaRPr lang="en-US" sz="1200">
              <a:solidFill>
                <a:schemeClr val="tx1">
                  <a:lumMod val="50000"/>
                  <a:lumOff val="50000"/>
                </a:schemeClr>
              </a:solidFill>
            </a:endParaRPr>
          </a:p>
        </p:txBody>
      </p:sp>
      <p:sp>
        <p:nvSpPr>
          <p:cNvPr id="12" name="Copyright Line">
            <a:extLst>
              <a:ext uri="{FF2B5EF4-FFF2-40B4-BE49-F238E27FC236}">
                <a16:creationId xmlns:a16="http://schemas.microsoft.com/office/drawing/2014/main" id="{FB2BB396-4F6B-5E55-C027-A2D7783BE845}"/>
              </a:ext>
            </a:extLst>
          </p:cNvPr>
          <p:cNvSpPr txBox="1"/>
          <p:nvPr userDrawn="1"/>
        </p:nvSpPr>
        <p:spPr>
          <a:xfrm>
            <a:off x="9167809" y="6526850"/>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a:t>
            </a:r>
            <a:fld id="{92E70860-886D-4303-B2B5-BD1295E1FD39}" type="datetimeyyyy">
              <a:rPr lang="en-US" sz="700" smtClean="0">
                <a:solidFill>
                  <a:schemeClr val="tx1">
                    <a:lumMod val="40000"/>
                    <a:lumOff val="60000"/>
                  </a:schemeClr>
                </a:solidFill>
              </a:rPr>
              <a:t>2024</a:t>
            </a:fld>
            <a:r>
              <a:rPr lang="en-US" sz="700">
                <a:solidFill>
                  <a:schemeClr val="tx1">
                    <a:lumMod val="40000"/>
                    <a:lumOff val="60000"/>
                  </a:schemeClr>
                </a:solidFill>
              </a:rPr>
              <a:t> Nielsen Consumer LLC. All Rights Reserved.</a:t>
            </a:r>
          </a:p>
        </p:txBody>
      </p:sp>
      <p:sp>
        <p:nvSpPr>
          <p:cNvPr id="13" name="Confidential disclaimer">
            <a:extLst>
              <a:ext uri="{FF2B5EF4-FFF2-40B4-BE49-F238E27FC236}">
                <a16:creationId xmlns:a16="http://schemas.microsoft.com/office/drawing/2014/main" id="{91888D11-B6A0-177D-B163-64782CFAC347}"/>
              </a:ext>
            </a:extLst>
          </p:cNvPr>
          <p:cNvSpPr txBox="1"/>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Tree>
    <p:extLst>
      <p:ext uri="{BB962C8B-B14F-4D97-AF65-F5344CB8AC3E}">
        <p14:creationId xmlns:p14="http://schemas.microsoft.com/office/powerpoint/2010/main" val="33298424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867" b="1" i="1">
                <a:solidFill>
                  <a:schemeClr val="bg1"/>
                </a:solidFill>
                <a:latin typeface="Georgia"/>
                <a:cs typeface="Georgia"/>
              </a:defRPr>
            </a:lvl1pPr>
          </a:lstStyle>
          <a:p>
            <a:endParaRPr/>
          </a:p>
        </p:txBody>
      </p:sp>
      <p:sp>
        <p:nvSpPr>
          <p:cNvPr id="3" name="Holder 3"/>
          <p:cNvSpPr>
            <a:spLocks noGrp="1"/>
          </p:cNvSpPr>
          <p:nvPr>
            <p:ph type="body" idx="1"/>
          </p:nvPr>
        </p:nvSpPr>
        <p:spPr/>
        <p:txBody>
          <a:bodyPr lIns="0" tIns="0" rIns="0" bIns="0"/>
          <a:lstStyle>
            <a:lvl1pPr>
              <a:defRPr sz="1267" b="0"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defRPr sz="333" b="0" i="0">
                <a:solidFill>
                  <a:schemeClr val="bg1"/>
                </a:solidFill>
                <a:latin typeface="Arial"/>
                <a:cs typeface="Arial"/>
              </a:defRPr>
            </a:lvl1pPr>
          </a:lstStyle>
          <a:p>
            <a:pPr marL="8467">
              <a:lnSpc>
                <a:spcPts val="377"/>
              </a:lnSpc>
            </a:pPr>
            <a:endParaRPr spc="-7"/>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3D180B2D-9A04-F340-978E-1295F85ED47A}" type="datetime1">
              <a:rPr lang="es-MX" smtClean="0"/>
              <a:t>18/11/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5316465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867" b="1" i="1">
                <a:solidFill>
                  <a:schemeClr val="bg1"/>
                </a:solidFill>
                <a:latin typeface="Georgia"/>
                <a:cs typeface="Georgia"/>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333" b="0" i="0">
                <a:solidFill>
                  <a:schemeClr val="bg1"/>
                </a:solidFill>
                <a:latin typeface="Arial"/>
                <a:cs typeface="Arial"/>
              </a:defRPr>
            </a:lvl1pPr>
          </a:lstStyle>
          <a:p>
            <a:pPr marL="8467">
              <a:lnSpc>
                <a:spcPts val="377"/>
              </a:lnSpc>
            </a:pPr>
            <a:endParaRPr spc="-7"/>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CAD27B3F-38BA-1941-A234-70BF21167A8C}" type="datetime1">
              <a:rPr lang="es-MX" smtClean="0"/>
              <a:t>18/11/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20804381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niq-gfk_title_and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2F25C-611F-5946-A757-98CBE87CC8B7}"/>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noChangeAspect="1"/>
          </p:cNvSpPr>
          <p:nvPr>
            <p:ph type="body" sz="quarter" idx="13" hasCustomPrompt="1"/>
          </p:nvPr>
        </p:nvSpPr>
        <p:spPr>
          <a:xfrm>
            <a:off x="288558" y="845697"/>
            <a:ext cx="11582400"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
        <p:nvSpPr>
          <p:cNvPr id="11" name="Text Placeholder 10">
            <a:extLst>
              <a:ext uri="{FF2B5EF4-FFF2-40B4-BE49-F238E27FC236}">
                <a16:creationId xmlns:a16="http://schemas.microsoft.com/office/drawing/2014/main" id="{D84B7C4B-5E7C-3B57-7A87-AA7A24A5F2B5}"/>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5" name="Straight Connector 4">
            <a:extLst>
              <a:ext uri="{FF2B5EF4-FFF2-40B4-BE49-F238E27FC236}">
                <a16:creationId xmlns:a16="http://schemas.microsoft.com/office/drawing/2014/main" id="{6FD4EA98-BF31-5C57-6FCA-CC2DE7D012B7}"/>
              </a:ext>
            </a:extLst>
          </p:cNvPr>
          <p:cNvCxnSpPr>
            <a:cxnSpLocks/>
          </p:cNvCxnSpPr>
          <p:nvPr userDrawn="1"/>
        </p:nvCxnSpPr>
        <p:spPr>
          <a:xfrm>
            <a:off x="278932" y="718606"/>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752843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AAA7089-3043-DF45-9645-BBAAC31D8A8A}" type="datetime1">
              <a:rPr lang="es-MX" smtClean="0"/>
              <a:t>18/1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6D13248-2FDD-334F-BA45-FF54C5C747E1}" type="slidenum">
              <a:rPr lang="en-US"/>
              <a:t>‹#›</a:t>
            </a:fld>
            <a:endParaRPr lang="en-US"/>
          </a:p>
        </p:txBody>
      </p:sp>
    </p:spTree>
    <p:extLst>
      <p:ext uri="{BB962C8B-B14F-4D97-AF65-F5344CB8AC3E}">
        <p14:creationId xmlns:p14="http://schemas.microsoft.com/office/powerpoint/2010/main" val="26977759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yp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2" name="Text Placeholder 10">
            <a:extLst>
              <a:ext uri="{FF2B5EF4-FFF2-40B4-BE49-F238E27FC236}">
                <a16:creationId xmlns:a16="http://schemas.microsoft.com/office/drawing/2014/main" id="{5F90632C-301E-32EA-91E1-96C5D6220E7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Tree>
    <p:extLst>
      <p:ext uri="{BB962C8B-B14F-4D97-AF65-F5344CB8AC3E}">
        <p14:creationId xmlns:p14="http://schemas.microsoft.com/office/powerpoint/2010/main" val="367757008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31524979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361945429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64880721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384124210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Tree>
    <p:extLst>
      <p:ext uri="{BB962C8B-B14F-4D97-AF65-F5344CB8AC3E}">
        <p14:creationId xmlns:p14="http://schemas.microsoft.com/office/powerpoint/2010/main" val="27052743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Section Header Blue">
    <p:spTree>
      <p:nvGrpSpPr>
        <p:cNvPr id="1" name=""/>
        <p:cNvGrpSpPr/>
        <p:nvPr/>
      </p:nvGrpSpPr>
      <p:grpSpPr>
        <a:xfrm>
          <a:off x="0" y="0"/>
          <a:ext cx="0" cy="0"/>
          <a:chOff x="0" y="0"/>
          <a:chExt cx="0" cy="0"/>
        </a:xfrm>
      </p:grpSpPr>
      <p:sp>
        <p:nvSpPr>
          <p:cNvPr id="7" name="Static Blue Bkgd">
            <a:extLst>
              <a:ext uri="{FF2B5EF4-FFF2-40B4-BE49-F238E27FC236}">
                <a16:creationId xmlns:a16="http://schemas.microsoft.com/office/drawing/2014/main" id="{D1093FDC-ACBE-C97A-79EC-30B506F35131}"/>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2D6D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Base Rule">
            <a:extLst>
              <a:ext uri="{FF2B5EF4-FFF2-40B4-BE49-F238E27FC236}">
                <a16:creationId xmlns:a16="http://schemas.microsoft.com/office/drawing/2014/main" id="{BF009615-489A-5DA8-222F-36CEB46D77B1}"/>
              </a:ext>
            </a:extLst>
          </p:cNvPr>
          <p:cNvCxnSpPr>
            <a:cxnSpLocks noGrp="1" noRot="1" noMove="1" noResize="1" noEditPoints="1" noAdjustHandles="1" noChangeArrowheads="1" noChangeShapeType="1"/>
          </p:cNvCxnSpPr>
          <p:nvPr userDrawn="1"/>
        </p:nvCxnSpPr>
        <p:spPr>
          <a:xfrm>
            <a:off x="292100" y="6395755"/>
            <a:ext cx="11607801"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5" name="Footer Placeholder">
            <a:extLst>
              <a:ext uri="{FF2B5EF4-FFF2-40B4-BE49-F238E27FC236}">
                <a16:creationId xmlns:a16="http://schemas.microsoft.com/office/drawing/2014/main" id="{9E3F8F0F-7B47-2BB9-7F93-A25C99023E14}"/>
              </a:ext>
            </a:extLst>
          </p:cNvPr>
          <p:cNvSpPr>
            <a:spLocks noGrp="1" noRot="1" noMove="1" noResize="1" noEditPoints="1" noAdjustHandles="1" noChangeArrowheads="1" noChangeShapeType="1"/>
          </p:cNvSpPr>
          <p:nvPr>
            <p:ph type="ftr" sz="quarter" idx="11"/>
          </p:nvPr>
        </p:nvSpPr>
        <p:spPr>
          <a:solidFill>
            <a:schemeClr val="accent1"/>
          </a:solidFill>
        </p:spPr>
        <p:txBody>
          <a:bodyPr/>
          <a:lstStyle>
            <a:lvl1pPr>
              <a:defRPr>
                <a:solidFill>
                  <a:srgbClr val="FFFFFF"/>
                </a:solidFill>
              </a:defRPr>
            </a:lvl1pPr>
          </a:lstStyle>
          <a:p>
            <a:endParaRPr lang="en-GB"/>
          </a:p>
        </p:txBody>
      </p:sp>
      <p:sp>
        <p:nvSpPr>
          <p:cNvPr id="4" name="Date Placeholder">
            <a:extLst>
              <a:ext uri="{FF2B5EF4-FFF2-40B4-BE49-F238E27FC236}">
                <a16:creationId xmlns:a16="http://schemas.microsoft.com/office/drawing/2014/main" id="{51D28747-A5DD-1E44-1383-00C1095A0E2F}"/>
              </a:ext>
            </a:extLst>
          </p:cNvPr>
          <p:cNvSpPr>
            <a:spLocks noGrp="1" noRot="1" noMove="1" noResize="1" noEditPoints="1" noAdjustHandles="1" noChangeArrowheads="1" noChangeShapeType="1"/>
          </p:cNvSpPr>
          <p:nvPr>
            <p:ph type="dt" sz="half" idx="10"/>
          </p:nvPr>
        </p:nvSpPr>
        <p:spPr/>
        <p:txBody>
          <a:bodyPr/>
          <a:lstStyle>
            <a:lvl1pPr>
              <a:defRPr>
                <a:solidFill>
                  <a:srgbClr val="FFFFFF"/>
                </a:solidFill>
              </a:defRPr>
            </a:lvl1pPr>
          </a:lstStyle>
          <a:p>
            <a:fld id="{DE0BD3D1-6E87-4D3B-832D-3A9C60D16F09}" type="datetime1">
              <a:rPr lang="en-GB" smtClean="0"/>
              <a:t>18/11/2024</a:t>
            </a:fld>
            <a:endParaRPr lang="en-GB"/>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1219200"/>
            <a:ext cx="7121979" cy="2401887"/>
          </a:xfrm>
        </p:spPr>
        <p:txBody>
          <a:bodyPr anchor="b">
            <a:noAutofit/>
          </a:bodyPr>
          <a:lstStyle>
            <a:lvl1pPr>
              <a:defRPr sz="4400">
                <a:solidFill>
                  <a:srgbClr val="FFFFFF"/>
                </a:solidFill>
              </a:defRPr>
            </a:lvl1pPr>
          </a:lstStyle>
          <a:p>
            <a:r>
              <a:rPr lang="en-US"/>
              <a:t>Insert your section header title here maximum of three lines</a:t>
            </a:r>
            <a:endParaRPr lang="en-GB"/>
          </a:p>
        </p:txBody>
      </p:sp>
      <p:pic>
        <p:nvPicPr>
          <p:cNvPr id="14" name="NIQ GFK Lockup" hidden="1">
            <a:extLst>
              <a:ext uri="{FF2B5EF4-FFF2-40B4-BE49-F238E27FC236}">
                <a16:creationId xmlns:a16="http://schemas.microsoft.com/office/drawing/2014/main" id="{EAEBAA35-FD7E-BA1F-342A-81B244F88CFF}"/>
              </a:ext>
            </a:extLst>
          </p:cNvPr>
          <p:cNvPicPr>
            <a:picLocks noGrp="1" noRot="1" noChangeAspec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25" name="NielsenIQ logo+wordmark" hidden="1">
            <a:extLst>
              <a:ext uri="{FF2B5EF4-FFF2-40B4-BE49-F238E27FC236}">
                <a16:creationId xmlns:a16="http://schemas.microsoft.com/office/drawing/2014/main" id="{598FBCD8-A3EE-4A06-6724-A1F5D7027567}"/>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rcRect/>
          <a:stretch/>
        </p:blipFill>
        <p:spPr>
          <a:xfrm>
            <a:off x="290132" y="6495154"/>
            <a:ext cx="781428" cy="269593"/>
          </a:xfrm>
          <a:prstGeom prst="rect">
            <a:avLst/>
          </a:prstGeom>
        </p:spPr>
      </p:pic>
      <p:pic>
        <p:nvPicPr>
          <p:cNvPr id="22" name="NIQ Logo">
            <a:extLst>
              <a:ext uri="{FF2B5EF4-FFF2-40B4-BE49-F238E27FC236}">
                <a16:creationId xmlns:a16="http://schemas.microsoft.com/office/drawing/2014/main" id="{C3AC3518-07F7-E20B-4D4C-9D6C3D043778}"/>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
        <p:nvSpPr>
          <p:cNvPr id="9" name="Slide Number Placeholder 5">
            <a:extLst>
              <a:ext uri="{FF2B5EF4-FFF2-40B4-BE49-F238E27FC236}">
                <a16:creationId xmlns:a16="http://schemas.microsoft.com/office/drawing/2014/main" id="{8BF6C90B-FA60-D635-908D-409369EB143B}"/>
              </a:ext>
            </a:extLst>
          </p:cNvPr>
          <p:cNvSpPr txBox="1">
            <a:spLocks/>
          </p:cNvSpPr>
          <p:nvPr userDrawn="1"/>
        </p:nvSpPr>
        <p:spPr>
          <a:xfrm>
            <a:off x="10985325" y="6444314"/>
            <a:ext cx="90187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03EF4E2-7A7A-0548-85F1-5479B7C9E1B2}" type="slidenum">
              <a:rPr lang="en-US" sz="1200" smtClean="0">
                <a:solidFill>
                  <a:schemeClr val="tx1">
                    <a:lumMod val="50000"/>
                    <a:lumOff val="50000"/>
                  </a:schemeClr>
                </a:solidFill>
              </a:rPr>
              <a:pPr algn="r"/>
              <a:t>‹#›</a:t>
            </a:fld>
            <a:endParaRPr lang="en-US" sz="1200">
              <a:solidFill>
                <a:schemeClr val="tx1">
                  <a:lumMod val="50000"/>
                  <a:lumOff val="50000"/>
                </a:schemeClr>
              </a:solidFill>
            </a:endParaRPr>
          </a:p>
        </p:txBody>
      </p:sp>
      <p:sp>
        <p:nvSpPr>
          <p:cNvPr id="12" name="Copyright Line">
            <a:extLst>
              <a:ext uri="{FF2B5EF4-FFF2-40B4-BE49-F238E27FC236}">
                <a16:creationId xmlns:a16="http://schemas.microsoft.com/office/drawing/2014/main" id="{FB2BB396-4F6B-5E55-C027-A2D7783BE845}"/>
              </a:ext>
            </a:extLst>
          </p:cNvPr>
          <p:cNvSpPr txBox="1"/>
          <p:nvPr userDrawn="1"/>
        </p:nvSpPr>
        <p:spPr>
          <a:xfrm>
            <a:off x="9167809" y="6526850"/>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a:t>
            </a:r>
            <a:fld id="{92E70860-886D-4303-B2B5-BD1295E1FD39}" type="datetimeyyyy">
              <a:rPr lang="en-US" sz="700" smtClean="0">
                <a:solidFill>
                  <a:schemeClr val="tx1">
                    <a:lumMod val="40000"/>
                    <a:lumOff val="60000"/>
                  </a:schemeClr>
                </a:solidFill>
              </a:rPr>
              <a:t>2024</a:t>
            </a:fld>
            <a:r>
              <a:rPr lang="en-US" sz="700">
                <a:solidFill>
                  <a:schemeClr val="tx1">
                    <a:lumMod val="40000"/>
                    <a:lumOff val="60000"/>
                  </a:schemeClr>
                </a:solidFill>
              </a:rPr>
              <a:t> Nielsen Consumer LLC. All Rights Reserved.</a:t>
            </a:r>
          </a:p>
        </p:txBody>
      </p:sp>
      <p:sp>
        <p:nvSpPr>
          <p:cNvPr id="13" name="Confidential disclaimer">
            <a:extLst>
              <a:ext uri="{FF2B5EF4-FFF2-40B4-BE49-F238E27FC236}">
                <a16:creationId xmlns:a16="http://schemas.microsoft.com/office/drawing/2014/main" id="{91888D11-B6A0-177D-B163-64782CFAC347}"/>
              </a:ext>
            </a:extLst>
          </p:cNvPr>
          <p:cNvSpPr txBox="1"/>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Tree>
    <p:extLst>
      <p:ext uri="{BB962C8B-B14F-4D97-AF65-F5344CB8AC3E}">
        <p14:creationId xmlns:p14="http://schemas.microsoft.com/office/powerpoint/2010/main" val="394231947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6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Tree>
    <p:extLst>
      <p:ext uri="{BB962C8B-B14F-4D97-AF65-F5344CB8AC3E}">
        <p14:creationId xmlns:p14="http://schemas.microsoft.com/office/powerpoint/2010/main" val="61359497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8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84315527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392919484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9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D738652-F2B9-77EE-9932-7A515F33FA1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5294848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37555155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1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768B6213-3C0B-98FB-A39E-0937AD93C8E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3467885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2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224E5460-3920-6E99-455B-F732E037D2C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85060071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3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371192878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4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85400335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5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30206572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Dark">
    <p:spTree>
      <p:nvGrpSpPr>
        <p:cNvPr id="1" name=""/>
        <p:cNvGrpSpPr/>
        <p:nvPr/>
      </p:nvGrpSpPr>
      <p:grpSpPr>
        <a:xfrm>
          <a:off x="0" y="0"/>
          <a:ext cx="0" cy="0"/>
          <a:chOff x="0" y="0"/>
          <a:chExt cx="0" cy="0"/>
        </a:xfrm>
      </p:grpSpPr>
      <p:sp>
        <p:nvSpPr>
          <p:cNvPr id="7" name="Static Dark Bkgd">
            <a:extLst>
              <a:ext uri="{FF2B5EF4-FFF2-40B4-BE49-F238E27FC236}">
                <a16:creationId xmlns:a16="http://schemas.microsoft.com/office/drawing/2014/main" id="{D1093FDC-ACBE-C97A-79EC-30B506F35131}"/>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060A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Base Rule">
            <a:extLst>
              <a:ext uri="{FF2B5EF4-FFF2-40B4-BE49-F238E27FC236}">
                <a16:creationId xmlns:a16="http://schemas.microsoft.com/office/drawing/2014/main" id="{BF009615-489A-5DA8-222F-36CEB46D77B1}"/>
              </a:ext>
            </a:extLst>
          </p:cNvPr>
          <p:cNvCxnSpPr>
            <a:cxnSpLocks/>
          </p:cNvCxnSpPr>
          <p:nvPr userDrawn="1"/>
        </p:nvCxnSpPr>
        <p:spPr>
          <a:xfrm>
            <a:off x="292100" y="6395755"/>
            <a:ext cx="11607801"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6" name="Slide Number Placeholder">
            <a:extLst>
              <a:ext uri="{FF2B5EF4-FFF2-40B4-BE49-F238E27FC236}">
                <a16:creationId xmlns:a16="http://schemas.microsoft.com/office/drawing/2014/main" id="{74E97C96-6264-45A7-BD31-3F850D5B4046}"/>
              </a:ext>
            </a:extLst>
          </p:cNvPr>
          <p:cNvSpPr>
            <a:spLocks noGrp="1" noRot="1" noMove="1" noResize="1" noEditPoints="1" noAdjustHandles="1" noChangeArrowheads="1" noChangeShapeType="1"/>
          </p:cNvSpPr>
          <p:nvPr>
            <p:ph type="sldNum" sz="quarter" idx="12"/>
          </p:nvPr>
        </p:nvSpPr>
        <p:spPr/>
        <p:txBody>
          <a:bodyPr/>
          <a:lstStyle>
            <a:lvl1pPr>
              <a:defRPr>
                <a:solidFill>
                  <a:srgbClr val="FFFFFF"/>
                </a:solidFill>
              </a:defRPr>
            </a:lvl1pPr>
          </a:lstStyle>
          <a:p>
            <a:fld id="{3E04DF46-C0DC-4ADC-9A6F-918CC4703A43}" type="slidenum">
              <a:rPr lang="en-GB" smtClean="0"/>
              <a:pPr/>
              <a:t>‹#›</a:t>
            </a:fld>
            <a:endParaRPr lang="en-GB"/>
          </a:p>
        </p:txBody>
      </p:sp>
      <p:sp>
        <p:nvSpPr>
          <p:cNvPr id="8" name="Copyright Line">
            <a:extLst>
              <a:ext uri="{FF2B5EF4-FFF2-40B4-BE49-F238E27FC236}">
                <a16:creationId xmlns:a16="http://schemas.microsoft.com/office/drawing/2014/main" id="{D18F1FC4-106D-3BF8-BC65-D648A021FC0D}"/>
              </a:ext>
            </a:extLst>
          </p:cNvPr>
          <p:cNvSpPr txBox="1">
            <a:spLocks noGrp="1" noRot="1" noMove="1" noResize="1" noEditPoints="1" noAdjustHandles="1" noChangeArrowheads="1" noChangeShapeType="1"/>
          </p:cNvSpPr>
          <p:nvPr userDrawn="1"/>
        </p:nvSpPr>
        <p:spPr>
          <a:xfrm>
            <a:off x="9167809" y="6526849"/>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rgbClr val="BBBBBB"/>
                </a:solidFill>
              </a:rPr>
              <a:t>© </a:t>
            </a:r>
            <a:fld id="{92E70860-886D-4303-B2B5-BD1295E1FD39}" type="datetimeyyyy">
              <a:rPr lang="en-US" sz="700" smtClean="0">
                <a:solidFill>
                  <a:srgbClr val="BBBBBB"/>
                </a:solidFill>
              </a:rPr>
              <a:t>2024</a:t>
            </a:fld>
            <a:r>
              <a:rPr lang="en-US" sz="700">
                <a:solidFill>
                  <a:srgbClr val="BBBBBB"/>
                </a:solidFill>
              </a:rPr>
              <a:t> Nielsen Consumer LLC. All Rights Reserved.</a:t>
            </a:r>
          </a:p>
        </p:txBody>
      </p:sp>
      <p:sp>
        <p:nvSpPr>
          <p:cNvPr id="11" name="Confidential disclaimer">
            <a:extLst>
              <a:ext uri="{FF2B5EF4-FFF2-40B4-BE49-F238E27FC236}">
                <a16:creationId xmlns:a16="http://schemas.microsoft.com/office/drawing/2014/main" id="{E92240A2-16A2-92E0-CB79-8A8DDCBFE3B1}"/>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5" name="Footer Placeholder">
            <a:extLst>
              <a:ext uri="{FF2B5EF4-FFF2-40B4-BE49-F238E27FC236}">
                <a16:creationId xmlns:a16="http://schemas.microsoft.com/office/drawing/2014/main" id="{9E3F8F0F-7B47-2BB9-7F93-A25C99023E14}"/>
              </a:ext>
            </a:extLst>
          </p:cNvPr>
          <p:cNvSpPr>
            <a:spLocks noGrp="1" noRot="1" noMove="1" noResize="1" noEditPoints="1" noAdjustHandles="1" noChangeArrowheads="1" noChangeShapeType="1"/>
          </p:cNvSpPr>
          <p:nvPr>
            <p:ph type="ftr" sz="quarter" idx="11"/>
          </p:nvPr>
        </p:nvSpPr>
        <p:spPr>
          <a:solidFill>
            <a:schemeClr val="tx2"/>
          </a:solidFill>
        </p:spPr>
        <p:txBody>
          <a:bodyPr/>
          <a:lstStyle>
            <a:lvl1pPr>
              <a:defRPr>
                <a:solidFill>
                  <a:srgbClr val="FFFFFF"/>
                </a:solidFill>
              </a:defRPr>
            </a:lvl1pPr>
          </a:lstStyle>
          <a:p>
            <a:endParaRPr lang="en-GB"/>
          </a:p>
        </p:txBody>
      </p:sp>
      <p:sp>
        <p:nvSpPr>
          <p:cNvPr id="4" name="Date Placeholder">
            <a:extLst>
              <a:ext uri="{FF2B5EF4-FFF2-40B4-BE49-F238E27FC236}">
                <a16:creationId xmlns:a16="http://schemas.microsoft.com/office/drawing/2014/main" id="{51D28747-A5DD-1E44-1383-00C1095A0E2F}"/>
              </a:ext>
            </a:extLst>
          </p:cNvPr>
          <p:cNvSpPr>
            <a:spLocks noGrp="1" noRot="1" noMove="1" noResize="1" noEditPoints="1" noAdjustHandles="1" noChangeArrowheads="1" noChangeShapeType="1"/>
          </p:cNvSpPr>
          <p:nvPr>
            <p:ph type="dt" sz="half" idx="10"/>
          </p:nvPr>
        </p:nvSpPr>
        <p:spPr/>
        <p:txBody>
          <a:bodyPr/>
          <a:lstStyle>
            <a:lvl1pPr>
              <a:defRPr>
                <a:solidFill>
                  <a:srgbClr val="FFFFFF"/>
                </a:solidFill>
              </a:defRPr>
            </a:lvl1pPr>
          </a:lstStyle>
          <a:p>
            <a:fld id="{83E59825-7B6A-49C3-B207-8F8E163BC2C4}" type="datetime1">
              <a:rPr lang="en-GB" smtClean="0"/>
              <a:t>18/11/2024</a:t>
            </a:fld>
            <a:endParaRPr lang="en-GB"/>
          </a:p>
        </p:txBody>
      </p:sp>
      <p:sp>
        <p:nvSpPr>
          <p:cNvPr id="3" name="Subtitle Placeholder">
            <a:extLst>
              <a:ext uri="{FF2B5EF4-FFF2-40B4-BE49-F238E27FC236}">
                <a16:creationId xmlns:a16="http://schemas.microsoft.com/office/drawing/2014/main" id="{811C7246-8A71-F257-DB0D-3E1F23CE6970}"/>
              </a:ext>
            </a:extLst>
          </p:cNvPr>
          <p:cNvSpPr>
            <a:spLocks noGrp="1" noRot="1" noMove="1" noResize="1" noEditPoints="1" noAdjustHandles="1" noChangeArrowheads="1" noChangeShapeType="1"/>
          </p:cNvSpPr>
          <p:nvPr>
            <p:ph type="body" idx="1"/>
          </p:nvPr>
        </p:nvSpPr>
        <p:spPr>
          <a:xfrm>
            <a:off x="292100" y="3945964"/>
            <a:ext cx="7121979" cy="1500187"/>
          </a:xfrm>
        </p:spPr>
        <p:txBody>
          <a:bodyPr>
            <a:noAutofit/>
          </a:bodyPr>
          <a:lstStyle>
            <a:lvl1pPr marL="0" indent="0">
              <a:buNone/>
              <a:defRPr sz="2000">
                <a:solidFill>
                  <a:srgbClr val="FFFFFF"/>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1219200"/>
            <a:ext cx="7121979" cy="2401887"/>
          </a:xfrm>
        </p:spPr>
        <p:txBody>
          <a:bodyPr anchor="b">
            <a:noAutofit/>
          </a:bodyPr>
          <a:lstStyle>
            <a:lvl1pPr>
              <a:defRPr sz="4400">
                <a:solidFill>
                  <a:srgbClr val="FFFFFF"/>
                </a:solidFill>
              </a:defRPr>
            </a:lvl1pPr>
          </a:lstStyle>
          <a:p>
            <a:r>
              <a:rPr lang="en-US"/>
              <a:t>Insert your section header title here maximum of three lines</a:t>
            </a:r>
            <a:endParaRPr lang="en-GB"/>
          </a:p>
        </p:txBody>
      </p:sp>
      <p:pic>
        <p:nvPicPr>
          <p:cNvPr id="9" name="NIQ GFK Lockup" hidden="1">
            <a:extLst>
              <a:ext uri="{FF2B5EF4-FFF2-40B4-BE49-F238E27FC236}">
                <a16:creationId xmlns:a16="http://schemas.microsoft.com/office/drawing/2014/main" id="{F72C93F2-029A-F706-FCA1-C00C6620AA84}"/>
              </a:ext>
            </a:extLst>
          </p:cNvPr>
          <p:cNvPicPr>
            <a:picLocks noGrp="1" noRo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24" name="NielsenIQ logo+wordmark" descr="A blue text on a black background&#10;&#10;Description automatically generated" hidden="1">
            <a:extLst>
              <a:ext uri="{FF2B5EF4-FFF2-40B4-BE49-F238E27FC236}">
                <a16:creationId xmlns:a16="http://schemas.microsoft.com/office/drawing/2014/main" id="{30EA2721-2669-7CC1-263F-E48ACB34B739}"/>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tretch>
            <a:fillRect/>
          </a:stretch>
        </p:blipFill>
        <p:spPr>
          <a:xfrm>
            <a:off x="290130" y="6495154"/>
            <a:ext cx="781433" cy="269593"/>
          </a:xfrm>
          <a:prstGeom prst="rect">
            <a:avLst/>
          </a:prstGeom>
        </p:spPr>
      </p:pic>
      <p:pic>
        <p:nvPicPr>
          <p:cNvPr id="22" name="NIQ Logo">
            <a:extLst>
              <a:ext uri="{FF2B5EF4-FFF2-40B4-BE49-F238E27FC236}">
                <a16:creationId xmlns:a16="http://schemas.microsoft.com/office/drawing/2014/main" id="{C2F586F8-1BDB-2AFF-F8FE-C01DC3808778}"/>
              </a:ext>
            </a:extLst>
          </p:cNvPr>
          <p:cNvPicPr>
            <a:picLocks/>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345173191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6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59400626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7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340094379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8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352114086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9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99318071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0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368886158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1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userDrawn="1"/>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366539002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2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userDrawn="1"/>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39652191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3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270D49C1-E8FD-4100-6077-590D74316FB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02816473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4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Box 13">
            <a:extLst>
              <a:ext uri="{FF2B5EF4-FFF2-40B4-BE49-F238E27FC236}">
                <a16:creationId xmlns:a16="http://schemas.microsoft.com/office/drawing/2014/main" id="{EE2DAE71-2983-34FD-663C-6E97AE5A8A9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a:t>Insert your slide title in Arial bold 20pt</a:t>
            </a:r>
          </a:p>
        </p:txBody>
      </p:sp>
    </p:spTree>
    <p:extLst>
      <p:ext uri="{BB962C8B-B14F-4D97-AF65-F5344CB8AC3E}">
        <p14:creationId xmlns:p14="http://schemas.microsoft.com/office/powerpoint/2010/main" val="160606741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5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011486C1-A975-5880-4C54-03DD13A9F7F3}"/>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a:t>Insert your slide title in Arial bold 20pt</a:t>
            </a:r>
          </a:p>
        </p:txBody>
      </p:sp>
    </p:spTree>
    <p:extLst>
      <p:ext uri="{BB962C8B-B14F-4D97-AF65-F5344CB8AC3E}">
        <p14:creationId xmlns:p14="http://schemas.microsoft.com/office/powerpoint/2010/main" val="18921400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Section Header Dark">
    <p:spTree>
      <p:nvGrpSpPr>
        <p:cNvPr id="1" name=""/>
        <p:cNvGrpSpPr/>
        <p:nvPr/>
      </p:nvGrpSpPr>
      <p:grpSpPr>
        <a:xfrm>
          <a:off x="0" y="0"/>
          <a:ext cx="0" cy="0"/>
          <a:chOff x="0" y="0"/>
          <a:chExt cx="0" cy="0"/>
        </a:xfrm>
      </p:grpSpPr>
      <p:cxnSp>
        <p:nvCxnSpPr>
          <p:cNvPr id="10" name="Base Rule">
            <a:extLst>
              <a:ext uri="{FF2B5EF4-FFF2-40B4-BE49-F238E27FC236}">
                <a16:creationId xmlns:a16="http://schemas.microsoft.com/office/drawing/2014/main" id="{BF009615-489A-5DA8-222F-36CEB46D77B1}"/>
              </a:ext>
            </a:extLst>
          </p:cNvPr>
          <p:cNvCxnSpPr>
            <a:cxnSpLocks/>
          </p:cNvCxnSpPr>
          <p:nvPr userDrawn="1"/>
        </p:nvCxnSpPr>
        <p:spPr>
          <a:xfrm>
            <a:off x="292100" y="6395755"/>
            <a:ext cx="116078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a:extLst>
              <a:ext uri="{FF2B5EF4-FFF2-40B4-BE49-F238E27FC236}">
                <a16:creationId xmlns:a16="http://schemas.microsoft.com/office/drawing/2014/main" id="{74E97C96-6264-45A7-BD31-3F850D5B4046}"/>
              </a:ext>
            </a:extLst>
          </p:cNvPr>
          <p:cNvSpPr>
            <a:spLocks noGrp="1" noRot="1" noMove="1" noResize="1" noEditPoints="1" noAdjustHandles="1" noChangeArrowheads="1" noChangeShapeType="1"/>
          </p:cNvSpPr>
          <p:nvPr>
            <p:ph type="sldNum" sz="quarter" idx="12"/>
          </p:nvPr>
        </p:nvSpPr>
        <p:spPr/>
        <p:txBody>
          <a:bodyPr/>
          <a:lstStyle>
            <a:lvl1pPr>
              <a:defRPr>
                <a:solidFill>
                  <a:srgbClr val="FFFFFF"/>
                </a:solidFill>
              </a:defRPr>
            </a:lvl1pPr>
          </a:lstStyle>
          <a:p>
            <a:fld id="{3E04DF46-C0DC-4ADC-9A6F-918CC4703A43}" type="slidenum">
              <a:rPr lang="en-GB" smtClean="0"/>
              <a:pPr/>
              <a:t>‹#›</a:t>
            </a:fld>
            <a:endParaRPr lang="en-GB"/>
          </a:p>
        </p:txBody>
      </p:sp>
      <p:sp>
        <p:nvSpPr>
          <p:cNvPr id="8" name="Copyright Line">
            <a:extLst>
              <a:ext uri="{FF2B5EF4-FFF2-40B4-BE49-F238E27FC236}">
                <a16:creationId xmlns:a16="http://schemas.microsoft.com/office/drawing/2014/main" id="{D18F1FC4-106D-3BF8-BC65-D648A021FC0D}"/>
              </a:ext>
            </a:extLst>
          </p:cNvPr>
          <p:cNvSpPr txBox="1">
            <a:spLocks noGrp="1" noRot="1" noMove="1" noResize="1" noEditPoints="1" noAdjustHandles="1" noChangeArrowheads="1" noChangeShapeType="1"/>
          </p:cNvSpPr>
          <p:nvPr userDrawn="1"/>
        </p:nvSpPr>
        <p:spPr>
          <a:xfrm>
            <a:off x="9167809" y="6526849"/>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rgbClr val="BBBBBB"/>
                </a:solidFill>
              </a:rPr>
              <a:t>© </a:t>
            </a:r>
            <a:fld id="{92E70860-886D-4303-B2B5-BD1295E1FD39}" type="datetimeyyyy">
              <a:rPr lang="en-US" sz="700" smtClean="0">
                <a:solidFill>
                  <a:srgbClr val="BBBBBB"/>
                </a:solidFill>
              </a:rPr>
              <a:t>2024</a:t>
            </a:fld>
            <a:r>
              <a:rPr lang="en-US" sz="700">
                <a:solidFill>
                  <a:srgbClr val="BBBBBB"/>
                </a:solidFill>
              </a:rPr>
              <a:t> Nielsen Consumer LLC. All Rights Reserved.</a:t>
            </a:r>
          </a:p>
        </p:txBody>
      </p:sp>
      <p:sp>
        <p:nvSpPr>
          <p:cNvPr id="11" name="Confidential disclaimer">
            <a:extLst>
              <a:ext uri="{FF2B5EF4-FFF2-40B4-BE49-F238E27FC236}">
                <a16:creationId xmlns:a16="http://schemas.microsoft.com/office/drawing/2014/main" id="{E92240A2-16A2-92E0-CB79-8A8DDCBFE3B1}"/>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pic>
        <p:nvPicPr>
          <p:cNvPr id="9" name="NIQ GFK Lockup" hidden="1">
            <a:extLst>
              <a:ext uri="{FF2B5EF4-FFF2-40B4-BE49-F238E27FC236}">
                <a16:creationId xmlns:a16="http://schemas.microsoft.com/office/drawing/2014/main" id="{F72C93F2-029A-F706-FCA1-C00C6620AA84}"/>
              </a:ext>
            </a:extLst>
          </p:cNvPr>
          <p:cNvPicPr>
            <a:picLocks noGrp="1" noRo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24" name="NielsenIQ logo+wordmark" descr="A blue text on a black background&#10;&#10;Description automatically generated" hidden="1">
            <a:extLst>
              <a:ext uri="{FF2B5EF4-FFF2-40B4-BE49-F238E27FC236}">
                <a16:creationId xmlns:a16="http://schemas.microsoft.com/office/drawing/2014/main" id="{30EA2721-2669-7CC1-263F-E48ACB34B739}"/>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tretch>
            <a:fillRect/>
          </a:stretch>
        </p:blipFill>
        <p:spPr>
          <a:xfrm>
            <a:off x="290130" y="6495154"/>
            <a:ext cx="781433" cy="269593"/>
          </a:xfrm>
          <a:prstGeom prst="rect">
            <a:avLst/>
          </a:prstGeom>
        </p:spPr>
      </p:pic>
      <p:pic>
        <p:nvPicPr>
          <p:cNvPr id="22" name="NIQ Logo">
            <a:extLst>
              <a:ext uri="{FF2B5EF4-FFF2-40B4-BE49-F238E27FC236}">
                <a16:creationId xmlns:a16="http://schemas.microsoft.com/office/drawing/2014/main" id="{C2F586F8-1BDB-2AFF-F8FE-C01DC3808778}"/>
              </a:ext>
            </a:extLst>
          </p:cNvPr>
          <p:cNvPicPr>
            <a:picLocks/>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104020614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6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B3CE258B-CBCD-8DC5-1665-1A4555B76CDA}"/>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a:t>Insert your slide title in Arial bold 20pt</a:t>
            </a:r>
          </a:p>
        </p:txBody>
      </p:sp>
    </p:spTree>
    <p:extLst>
      <p:ext uri="{BB962C8B-B14F-4D97-AF65-F5344CB8AC3E}">
        <p14:creationId xmlns:p14="http://schemas.microsoft.com/office/powerpoint/2010/main" val="322355910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7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userDrawn="1"/>
        </p:nvGrpSpPr>
        <p:grpSpPr>
          <a:xfrm>
            <a:off x="3936001" y="1448418"/>
            <a:ext cx="8256000" cy="4327900"/>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userDrawn="1"/>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5143500" y="1559544"/>
            <a:ext cx="5842000" cy="3771900"/>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348814085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8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5807441"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7" y="1351231"/>
            <a:ext cx="5807441"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710052" y="1197507"/>
            <a:ext cx="3096000" cy="4787820"/>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8227612" y="1288629"/>
            <a:ext cx="2057400" cy="445008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40844605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9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Tree>
    <p:extLst>
      <p:ext uri="{BB962C8B-B14F-4D97-AF65-F5344CB8AC3E}">
        <p14:creationId xmlns:p14="http://schemas.microsoft.com/office/powerpoint/2010/main" val="254826968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slm_quote_blue">
    <p:bg>
      <p:bgPr>
        <a:solidFill>
          <a:srgbClr val="0C3440"/>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A83E184-9D99-D006-1737-01A35A95CFD6}"/>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B60D9EE-C28D-6DB2-74C9-925C2BF28DFF}"/>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431F4A6B-5BC6-3AF2-3877-83503825A9F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pic>
        <p:nvPicPr>
          <p:cNvPr id="7" name="Picture 6">
            <a:extLst>
              <a:ext uri="{FF2B5EF4-FFF2-40B4-BE49-F238E27FC236}">
                <a16:creationId xmlns:a16="http://schemas.microsoft.com/office/drawing/2014/main" id="{0F7A9796-3B19-7822-9590-F60944D28BD4}"/>
              </a:ext>
            </a:extLst>
          </p:cNvPr>
          <p:cNvPicPr>
            <a:picLocks noChangeAspect="1"/>
          </p:cNvPicPr>
          <p:nvPr userDrawn="1"/>
        </p:nvPicPr>
        <p:blipFill>
          <a:blip r:embed="rId4"/>
          <a:srcRect/>
          <a:stretch/>
        </p:blipFill>
        <p:spPr>
          <a:xfrm>
            <a:off x="9316028" y="4805428"/>
            <a:ext cx="2561010" cy="1407807"/>
          </a:xfrm>
          <a:prstGeom prst="rect">
            <a:avLst/>
          </a:prstGeom>
        </p:spPr>
      </p:pic>
    </p:spTree>
    <p:extLst>
      <p:ext uri="{BB962C8B-B14F-4D97-AF65-F5344CB8AC3E}">
        <p14:creationId xmlns:p14="http://schemas.microsoft.com/office/powerpoint/2010/main" val="2726748761"/>
      </p:ext>
    </p:extLst>
  </p:cSld>
  <p:clrMapOvr>
    <a:overrideClrMapping bg1="lt1" tx1="dk1" bg2="lt2" tx2="dk2" accent1="accent1" accent2="accent2" accent3="accent3" accent4="accent4" accent5="accent5" accent6="accent6" hlink="hlink" folHlink="folHlink"/>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slm_divider_blue">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888AA50-051E-1DB8-728E-5655BADD5A89}"/>
              </a:ext>
            </a:extLst>
          </p:cNvPr>
          <p:cNvPicPr>
            <a:picLocks noChangeAspect="1"/>
          </p:cNvPicPr>
          <p:nvPr userDrawn="1"/>
        </p:nvPicPr>
        <p:blipFill>
          <a:blip r:embed="rId2"/>
          <a:src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193C76AA-4DF2-00B8-801D-4B1D52D471DD}"/>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3" name="Picture 2">
            <a:extLst>
              <a:ext uri="{FF2B5EF4-FFF2-40B4-BE49-F238E27FC236}">
                <a16:creationId xmlns:a16="http://schemas.microsoft.com/office/drawing/2014/main" id="{EDAC6100-167E-49ED-3E77-408C1EB57E2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pic>
        <p:nvPicPr>
          <p:cNvPr id="10" name="Picture 9">
            <a:extLst>
              <a:ext uri="{FF2B5EF4-FFF2-40B4-BE49-F238E27FC236}">
                <a16:creationId xmlns:a16="http://schemas.microsoft.com/office/drawing/2014/main" id="{02FAE3CB-6CB3-2657-E50C-927FB968D676}"/>
              </a:ext>
            </a:extLst>
          </p:cNvPr>
          <p:cNvPicPr>
            <a:picLocks noChangeAspect="1"/>
          </p:cNvPicPr>
          <p:nvPr userDrawn="1"/>
        </p:nvPicPr>
        <p:blipFill>
          <a:blip r:embed="rId4"/>
          <a:srcRect/>
          <a:stretch/>
        </p:blipFill>
        <p:spPr>
          <a:xfrm>
            <a:off x="9316028" y="4805428"/>
            <a:ext cx="2561010" cy="1407807"/>
          </a:xfrm>
          <a:prstGeom prst="rect">
            <a:avLst/>
          </a:prstGeom>
        </p:spPr>
      </p:pic>
    </p:spTree>
    <p:extLst>
      <p:ext uri="{BB962C8B-B14F-4D97-AF65-F5344CB8AC3E}">
        <p14:creationId xmlns:p14="http://schemas.microsoft.com/office/powerpoint/2010/main" val="1208329991"/>
      </p:ext>
    </p:extLst>
  </p:cSld>
  <p:clrMapOvr>
    <a:overrideClrMapping bg1="lt1" tx1="dk1" bg2="lt2" tx2="dk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slm_divider_blue_photo">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888AA50-051E-1DB8-728E-5655BADD5A89}"/>
              </a:ext>
            </a:extLst>
          </p:cNvPr>
          <p:cNvPicPr>
            <a:picLocks noChangeAspect="1"/>
          </p:cNvPicPr>
          <p:nvPr userDrawn="1"/>
        </p:nvPicPr>
        <p:blipFill>
          <a:blip r:embed="rId2"/>
          <a:srcRect/>
          <a:stretch/>
        </p:blipFill>
        <p:spPr>
          <a:xfrm>
            <a:off x="0" y="0"/>
            <a:ext cx="12192000" cy="6858000"/>
          </a:xfrm>
          <a:prstGeom prst="rect">
            <a:avLst/>
          </a:prstGeom>
        </p:spPr>
      </p:pic>
      <p:sp>
        <p:nvSpPr>
          <p:cNvPr id="10" name="Picture Placeholder 13">
            <a:extLst>
              <a:ext uri="{FF2B5EF4-FFF2-40B4-BE49-F238E27FC236}">
                <a16:creationId xmlns:a16="http://schemas.microsoft.com/office/drawing/2014/main" id="{3F9FF5A9-9C82-17A5-5887-DADA3894AFB6}"/>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a:t>Click picture icon to add photo</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9" y="1671355"/>
            <a:ext cx="5431522" cy="2387600"/>
          </a:xfrm>
        </p:spPr>
        <p:txBody>
          <a:bodyPr anchor="b">
            <a:noAutofit/>
          </a:bodyPr>
          <a:lstStyle>
            <a:lvl1pPr algn="l">
              <a:defRPr sz="4400">
                <a:solidFill>
                  <a:schemeClr val="bg1"/>
                </a:solidFill>
              </a:defRPr>
            </a:lvl1pPr>
          </a:lstStyle>
          <a:p>
            <a:r>
              <a:rPr lang="en-US"/>
              <a:t>Insert your presentation title here maximum of four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9" y="4151030"/>
            <a:ext cx="5431522"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193C76AA-4DF2-00B8-801D-4B1D52D471DD}"/>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3" name="Picture 2">
            <a:extLst>
              <a:ext uri="{FF2B5EF4-FFF2-40B4-BE49-F238E27FC236}">
                <a16:creationId xmlns:a16="http://schemas.microsoft.com/office/drawing/2014/main" id="{EDAC6100-167E-49ED-3E77-408C1EB57E2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1683328550"/>
      </p:ext>
    </p:extLst>
  </p:cSld>
  <p:clrMapOvr>
    <a:overrideClrMapping bg1="lt1" tx1="dk1" bg2="lt2" tx2="dk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a:p>
        </p:txBody>
      </p:sp>
      <p:sp>
        <p:nvSpPr>
          <p:cNvPr id="7" name="Content Placeholder 5">
            <a:extLst>
              <a:ext uri="{FF2B5EF4-FFF2-40B4-BE49-F238E27FC236}">
                <a16:creationId xmlns:a16="http://schemas.microsoft.com/office/drawing/2014/main" id="{C6E31123-1DFF-DC43-87EA-827AB962E49C}"/>
              </a:ext>
            </a:extLst>
          </p:cNvPr>
          <p:cNvSpPr>
            <a:spLocks noGrp="1"/>
          </p:cNvSpPr>
          <p:nvPr>
            <p:ph sz="quarter" idx="12" hasCustomPrompt="1"/>
          </p:nvPr>
        </p:nvSpPr>
        <p:spPr>
          <a:xfrm>
            <a:off x="274320" y="1012208"/>
            <a:ext cx="5605619" cy="4813600"/>
          </a:xfrm>
          <a:prstGeom prst="rect">
            <a:avLst/>
          </a:prstGeom>
        </p:spPr>
        <p:txBody>
          <a:bodyPr lIns="0"/>
          <a:lstStyle>
            <a:lvl1pPr marL="228600" indent="-228600">
              <a:spcBef>
                <a:spcPts val="800"/>
              </a:spcBef>
              <a:buClr>
                <a:schemeClr val="accent4"/>
              </a:buClr>
              <a:defRPr>
                <a:solidFill>
                  <a:schemeClr val="tx1"/>
                </a:solidFill>
              </a:defRPr>
            </a:lvl1pPr>
            <a:lvl2pPr marL="685800" indent="-228600">
              <a:spcBef>
                <a:spcPts val="800"/>
              </a:spcBef>
              <a:buClr>
                <a:schemeClr val="accent4"/>
              </a:buClr>
              <a:defRPr>
                <a:solidFill>
                  <a:schemeClr val="tx1"/>
                </a:solidFill>
              </a:defRPr>
            </a:lvl2pPr>
            <a:lvl3pPr>
              <a:spcBef>
                <a:spcPts val="800"/>
              </a:spcBef>
              <a:buClr>
                <a:schemeClr val="accent4"/>
              </a:buClr>
              <a:defRPr>
                <a:solidFill>
                  <a:schemeClr val="tx1"/>
                </a:solidFill>
              </a:defRPr>
            </a:lvl3pPr>
            <a:lvl4pPr>
              <a:spcBef>
                <a:spcPts val="800"/>
              </a:spcBef>
              <a:buClr>
                <a:schemeClr val="accent4"/>
              </a:buClr>
              <a:defRPr>
                <a:solidFill>
                  <a:schemeClr val="tx1"/>
                </a:solidFill>
              </a:defRPr>
            </a:lvl4pPr>
            <a:lvl5pPr>
              <a:spcBef>
                <a:spcPts val="800"/>
              </a:spcBef>
              <a:buClr>
                <a:schemeClr val="accent4"/>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F359BA17-F764-3C41-A699-6970BFEF6A4A}"/>
              </a:ext>
            </a:extLst>
          </p:cNvPr>
          <p:cNvSpPr>
            <a:spLocks noGrp="1"/>
          </p:cNvSpPr>
          <p:nvPr>
            <p:ph sz="quarter" idx="13" hasCustomPrompt="1"/>
          </p:nvPr>
        </p:nvSpPr>
        <p:spPr>
          <a:xfrm>
            <a:off x="6225941" y="1012208"/>
            <a:ext cx="5741470" cy="4813600"/>
          </a:xfrm>
          <a:prstGeom prst="rect">
            <a:avLst/>
          </a:prstGeom>
        </p:spPr>
        <p:txBody>
          <a:bodyPr lIns="0"/>
          <a:lstStyle>
            <a:lvl1pPr marL="228600" indent="-228600">
              <a:spcBef>
                <a:spcPts val="800"/>
              </a:spcBef>
              <a:buClr>
                <a:schemeClr val="accent4"/>
              </a:buClr>
              <a:defRPr>
                <a:solidFill>
                  <a:schemeClr val="tx1"/>
                </a:solidFill>
              </a:defRPr>
            </a:lvl1pPr>
            <a:lvl2pPr marL="685800" indent="-228600">
              <a:spcBef>
                <a:spcPts val="800"/>
              </a:spcBef>
              <a:buClr>
                <a:schemeClr val="accent4"/>
              </a:buClr>
              <a:defRPr>
                <a:solidFill>
                  <a:schemeClr val="tx1"/>
                </a:solidFill>
              </a:defRPr>
            </a:lvl2pPr>
            <a:lvl3pPr>
              <a:spcBef>
                <a:spcPts val="800"/>
              </a:spcBef>
              <a:buClr>
                <a:schemeClr val="accent4"/>
              </a:buClr>
              <a:defRPr>
                <a:solidFill>
                  <a:schemeClr val="tx1"/>
                </a:solidFill>
              </a:defRPr>
            </a:lvl3pPr>
            <a:lvl4pPr>
              <a:spcBef>
                <a:spcPts val="800"/>
              </a:spcBef>
              <a:buClr>
                <a:schemeClr val="accent4"/>
              </a:buClr>
              <a:defRPr>
                <a:solidFill>
                  <a:schemeClr val="tx1"/>
                </a:solidFill>
              </a:defRPr>
            </a:lvl4pPr>
            <a:lvl5pPr>
              <a:spcBef>
                <a:spcPts val="800"/>
              </a:spcBef>
              <a:buClr>
                <a:schemeClr val="accent4"/>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032C159F-EDC1-9145-BEEE-F83D91A2E49A}"/>
              </a:ext>
            </a:extLst>
          </p:cNvPr>
          <p:cNvSpPr>
            <a:spLocks noGrp="1"/>
          </p:cNvSpPr>
          <p:nvPr>
            <p:ph type="title" hasCustomPrompt="1"/>
          </p:nvPr>
        </p:nvSpPr>
        <p:spPr/>
        <p:txBody>
          <a:bodyPr/>
          <a:lstStyle/>
          <a:p>
            <a:r>
              <a:rPr lang="en-US"/>
              <a:t>One-line Title</a:t>
            </a:r>
          </a:p>
        </p:txBody>
      </p:sp>
    </p:spTree>
    <p:extLst>
      <p:ext uri="{BB962C8B-B14F-4D97-AF65-F5344CB8AC3E}">
        <p14:creationId xmlns:p14="http://schemas.microsoft.com/office/powerpoint/2010/main" val="22043459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niq-gfk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516D1C96-CD82-49FE-B67D-E8ED83D4F06E}"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341D27D-C9D4-960C-C280-35DFDBD6B9C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sp>
        <p:nvSpPr>
          <p:cNvPr id="4" name="Text Placeholder 6">
            <a:extLst>
              <a:ext uri="{FF2B5EF4-FFF2-40B4-BE49-F238E27FC236}">
                <a16:creationId xmlns:a16="http://schemas.microsoft.com/office/drawing/2014/main" id="{C644E75E-F3FD-631A-D490-8B6F7CE333C8}"/>
              </a:ext>
            </a:extLst>
          </p:cNvPr>
          <p:cNvSpPr>
            <a:spLocks noGrp="1" noChangeAspect="1"/>
          </p:cNvSpPr>
          <p:nvPr>
            <p:ph type="body" sz="quarter" idx="16" hasCustomPrompt="1"/>
          </p:nvPr>
        </p:nvSpPr>
        <p:spPr>
          <a:xfrm>
            <a:off x="4275692" y="788545"/>
            <a:ext cx="7595266"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pic>
        <p:nvPicPr>
          <p:cNvPr id="10" name="Picture 9">
            <a:extLst>
              <a:ext uri="{FF2B5EF4-FFF2-40B4-BE49-F238E27FC236}">
                <a16:creationId xmlns:a16="http://schemas.microsoft.com/office/drawing/2014/main" id="{8BA80876-4EBA-D97B-F95A-AE166E0D4310}"/>
              </a:ext>
            </a:extLst>
          </p:cNvPr>
          <p:cNvPicPr>
            <a:picLocks noChangeAspect="1"/>
          </p:cNvPicPr>
          <p:nvPr/>
        </p:nvPicPr>
        <p:blipFill>
          <a:blip r:embed="rId2"/>
          <a:srcRect/>
          <a:stretch/>
        </p:blipFill>
        <p:spPr>
          <a:xfrm>
            <a:off x="278932" y="6475602"/>
            <a:ext cx="894078" cy="324726"/>
          </a:xfrm>
          <a:prstGeom prst="rect">
            <a:avLst/>
          </a:prstGeom>
        </p:spPr>
      </p:pic>
    </p:spTree>
    <p:extLst>
      <p:ext uri="{BB962C8B-B14F-4D97-AF65-F5344CB8AC3E}">
        <p14:creationId xmlns:p14="http://schemas.microsoft.com/office/powerpoint/2010/main" val="87484718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8288000" h="10287000">
                <a:moveTo>
                  <a:pt x="18287998" y="10286999"/>
                </a:moveTo>
                <a:lnTo>
                  <a:pt x="0" y="10286999"/>
                </a:lnTo>
                <a:lnTo>
                  <a:pt x="0" y="0"/>
                </a:lnTo>
                <a:lnTo>
                  <a:pt x="18287998" y="0"/>
                </a:lnTo>
                <a:lnTo>
                  <a:pt x="18287998" y="10286999"/>
                </a:lnTo>
                <a:close/>
              </a:path>
            </a:pathLst>
          </a:custGeom>
          <a:solidFill>
            <a:srgbClr val="050945"/>
          </a:solidFill>
        </p:spPr>
        <p:txBody>
          <a:bodyPr wrap="square" lIns="0" tIns="0" rIns="0" bIns="0" rtlCol="0"/>
          <a:lstStyle/>
          <a:p>
            <a:endParaRPr sz="1200"/>
          </a:p>
        </p:txBody>
      </p:sp>
      <p:sp>
        <p:nvSpPr>
          <p:cNvPr id="2" name="Holder 2"/>
          <p:cNvSpPr>
            <a:spLocks noGrp="1"/>
          </p:cNvSpPr>
          <p:nvPr>
            <p:ph type="ftr" sz="quarter" idx="5"/>
          </p:nvPr>
        </p:nvSpPr>
        <p:spPr/>
        <p:txBody>
          <a:bodyPr lIns="0" tIns="0" rIns="0" bIns="0"/>
          <a:lstStyle>
            <a:lvl1pPr>
              <a:defRPr sz="333" b="0" i="0">
                <a:solidFill>
                  <a:schemeClr val="bg1"/>
                </a:solidFill>
                <a:latin typeface="Arial"/>
                <a:cs typeface="Arial"/>
              </a:defRPr>
            </a:lvl1pPr>
          </a:lstStyle>
          <a:p>
            <a:pPr marL="8467">
              <a:lnSpc>
                <a:spcPts val="377"/>
              </a:lnSpc>
            </a:pPr>
            <a:r>
              <a:rPr lang="en-US"/>
              <a:t>©</a:t>
            </a:r>
            <a:r>
              <a:rPr lang="en-US" spc="3"/>
              <a:t> </a:t>
            </a:r>
            <a:r>
              <a:rPr lang="en-US"/>
              <a:t>2024</a:t>
            </a:r>
            <a:r>
              <a:rPr lang="en-US" spc="3"/>
              <a:t> </a:t>
            </a:r>
            <a:r>
              <a:rPr lang="en-US"/>
              <a:t>Nielsen</a:t>
            </a:r>
            <a:r>
              <a:rPr lang="en-US" spc="3"/>
              <a:t> </a:t>
            </a:r>
            <a:r>
              <a:rPr lang="en-US"/>
              <a:t>Consumer</a:t>
            </a:r>
            <a:r>
              <a:rPr lang="en-US" spc="3"/>
              <a:t> </a:t>
            </a:r>
            <a:r>
              <a:rPr lang="en-US"/>
              <a:t>LLC.</a:t>
            </a:r>
            <a:r>
              <a:rPr lang="en-US" spc="3"/>
              <a:t> </a:t>
            </a:r>
            <a:r>
              <a:rPr lang="en-US"/>
              <a:t>All</a:t>
            </a:r>
            <a:r>
              <a:rPr lang="en-US" spc="7"/>
              <a:t> </a:t>
            </a:r>
            <a:r>
              <a:rPr lang="en-US"/>
              <a:t>Rights</a:t>
            </a:r>
            <a:r>
              <a:rPr lang="en-US" spc="3"/>
              <a:t> </a:t>
            </a:r>
            <a:r>
              <a:rPr lang="en-US"/>
              <a:t>Reserved.</a:t>
            </a:r>
            <a:r>
              <a:rPr lang="en-US" spc="3"/>
              <a:t> </a:t>
            </a:r>
            <a:r>
              <a:rPr lang="en-US"/>
              <a:t>Confidential</a:t>
            </a:r>
            <a:r>
              <a:rPr lang="en-US" spc="3"/>
              <a:t> </a:t>
            </a:r>
            <a:r>
              <a:rPr lang="en-US"/>
              <a:t>and</a:t>
            </a:r>
            <a:r>
              <a:rPr lang="en-US" spc="3"/>
              <a:t> </a:t>
            </a:r>
            <a:r>
              <a:rPr lang="en-US"/>
              <a:t>proprietary.</a:t>
            </a:r>
            <a:r>
              <a:rPr lang="en-US" spc="7"/>
              <a:t> </a:t>
            </a:r>
            <a:r>
              <a:rPr lang="en-US"/>
              <a:t>Do</a:t>
            </a:r>
            <a:r>
              <a:rPr lang="en-US" spc="3"/>
              <a:t> </a:t>
            </a:r>
            <a:r>
              <a:rPr lang="en-US"/>
              <a:t>not</a:t>
            </a:r>
            <a:r>
              <a:rPr lang="en-US" spc="3"/>
              <a:t> </a:t>
            </a:r>
            <a:r>
              <a:rPr lang="en-US" spc="-7"/>
              <a:t>distribute.</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8/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8706253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_Section Header Dark">
    <p:spTree>
      <p:nvGrpSpPr>
        <p:cNvPr id="1" name=""/>
        <p:cNvGrpSpPr/>
        <p:nvPr/>
      </p:nvGrpSpPr>
      <p:grpSpPr>
        <a:xfrm>
          <a:off x="0" y="0"/>
          <a:ext cx="0" cy="0"/>
          <a:chOff x="0" y="0"/>
          <a:chExt cx="0" cy="0"/>
        </a:xfrm>
      </p:grpSpPr>
      <p:cxnSp>
        <p:nvCxnSpPr>
          <p:cNvPr id="10" name="Base Rule">
            <a:extLst>
              <a:ext uri="{FF2B5EF4-FFF2-40B4-BE49-F238E27FC236}">
                <a16:creationId xmlns:a16="http://schemas.microsoft.com/office/drawing/2014/main" id="{BF009615-489A-5DA8-222F-36CEB46D77B1}"/>
              </a:ext>
            </a:extLst>
          </p:cNvPr>
          <p:cNvCxnSpPr>
            <a:cxnSpLocks/>
          </p:cNvCxnSpPr>
          <p:nvPr userDrawn="1"/>
        </p:nvCxnSpPr>
        <p:spPr>
          <a:xfrm>
            <a:off x="292100" y="6395755"/>
            <a:ext cx="1160780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Slide Number Placeholder">
            <a:extLst>
              <a:ext uri="{FF2B5EF4-FFF2-40B4-BE49-F238E27FC236}">
                <a16:creationId xmlns:a16="http://schemas.microsoft.com/office/drawing/2014/main" id="{74E97C96-6264-45A7-BD31-3F850D5B4046}"/>
              </a:ext>
            </a:extLst>
          </p:cNvPr>
          <p:cNvSpPr>
            <a:spLocks noGrp="1" noRot="1" noMove="1" noResize="1" noEditPoints="1" noAdjustHandles="1" noChangeArrowheads="1" noChangeShapeType="1"/>
          </p:cNvSpPr>
          <p:nvPr>
            <p:ph type="sldNum" sz="quarter" idx="12"/>
          </p:nvPr>
        </p:nvSpPr>
        <p:spPr/>
        <p:txBody>
          <a:bodyPr/>
          <a:lstStyle>
            <a:lvl1pPr>
              <a:defRPr>
                <a:solidFill>
                  <a:srgbClr val="FFFFFF"/>
                </a:solidFill>
              </a:defRPr>
            </a:lvl1pPr>
          </a:lstStyle>
          <a:p>
            <a:fld id="{3E04DF46-C0DC-4ADC-9A6F-918CC4703A43}" type="slidenum">
              <a:rPr lang="en-GB" smtClean="0"/>
              <a:pPr/>
              <a:t>‹#›</a:t>
            </a:fld>
            <a:endParaRPr lang="en-GB"/>
          </a:p>
        </p:txBody>
      </p:sp>
      <p:sp>
        <p:nvSpPr>
          <p:cNvPr id="8" name="Copyright Line">
            <a:extLst>
              <a:ext uri="{FF2B5EF4-FFF2-40B4-BE49-F238E27FC236}">
                <a16:creationId xmlns:a16="http://schemas.microsoft.com/office/drawing/2014/main" id="{D18F1FC4-106D-3BF8-BC65-D648A021FC0D}"/>
              </a:ext>
            </a:extLst>
          </p:cNvPr>
          <p:cNvSpPr txBox="1">
            <a:spLocks noGrp="1" noRot="1" noMove="1" noResize="1" noEditPoints="1" noAdjustHandles="1" noChangeArrowheads="1" noChangeShapeType="1"/>
          </p:cNvSpPr>
          <p:nvPr userDrawn="1"/>
        </p:nvSpPr>
        <p:spPr>
          <a:xfrm>
            <a:off x="9167809" y="6526849"/>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rgbClr val="BBBBBB"/>
                </a:solidFill>
              </a:rPr>
              <a:t>© </a:t>
            </a:r>
            <a:fld id="{92E70860-886D-4303-B2B5-BD1295E1FD39}" type="datetimeyyyy">
              <a:rPr lang="en-US" sz="700" smtClean="0">
                <a:solidFill>
                  <a:srgbClr val="BBBBBB"/>
                </a:solidFill>
              </a:rPr>
              <a:t>2024</a:t>
            </a:fld>
            <a:r>
              <a:rPr lang="en-US" sz="700">
                <a:solidFill>
                  <a:srgbClr val="BBBBBB"/>
                </a:solidFill>
              </a:rPr>
              <a:t> Nielsen Consumer LLC. All Rights Reserved.</a:t>
            </a:r>
          </a:p>
        </p:txBody>
      </p:sp>
      <p:sp>
        <p:nvSpPr>
          <p:cNvPr id="11" name="Confidential disclaimer">
            <a:extLst>
              <a:ext uri="{FF2B5EF4-FFF2-40B4-BE49-F238E27FC236}">
                <a16:creationId xmlns:a16="http://schemas.microsoft.com/office/drawing/2014/main" id="{E92240A2-16A2-92E0-CB79-8A8DDCBFE3B1}"/>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pic>
        <p:nvPicPr>
          <p:cNvPr id="9" name="NIQ GFK Lockup" hidden="1">
            <a:extLst>
              <a:ext uri="{FF2B5EF4-FFF2-40B4-BE49-F238E27FC236}">
                <a16:creationId xmlns:a16="http://schemas.microsoft.com/office/drawing/2014/main" id="{F72C93F2-029A-F706-FCA1-C00C6620AA84}"/>
              </a:ext>
            </a:extLst>
          </p:cNvPr>
          <p:cNvPicPr>
            <a:picLocks noGrp="1" noRo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24" name="NielsenIQ logo+wordmark" descr="A blue text on a black background&#10;&#10;Description automatically generated" hidden="1">
            <a:extLst>
              <a:ext uri="{FF2B5EF4-FFF2-40B4-BE49-F238E27FC236}">
                <a16:creationId xmlns:a16="http://schemas.microsoft.com/office/drawing/2014/main" id="{30EA2721-2669-7CC1-263F-E48ACB34B739}"/>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tretch>
            <a:fillRect/>
          </a:stretch>
        </p:blipFill>
        <p:spPr>
          <a:xfrm>
            <a:off x="290130" y="6495154"/>
            <a:ext cx="781433" cy="269593"/>
          </a:xfrm>
          <a:prstGeom prst="rect">
            <a:avLst/>
          </a:prstGeom>
        </p:spPr>
      </p:pic>
      <p:pic>
        <p:nvPicPr>
          <p:cNvPr id="22" name="NIQ Logo">
            <a:extLst>
              <a:ext uri="{FF2B5EF4-FFF2-40B4-BE49-F238E27FC236}">
                <a16:creationId xmlns:a16="http://schemas.microsoft.com/office/drawing/2014/main" id="{C2F586F8-1BDB-2AFF-F8FE-C01DC3808778}"/>
              </a:ext>
            </a:extLst>
          </p:cNvPr>
          <p:cNvPicPr>
            <a:picLocks/>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243918685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Static Light Bkgd">
            <a:extLst>
              <a:ext uri="{FF2B5EF4-FFF2-40B4-BE49-F238E27FC236}">
                <a16:creationId xmlns:a16="http://schemas.microsoft.com/office/drawing/2014/main" id="{C4626CD7-1C0C-6928-FA7F-84C22CDFEB5C}"/>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Horizontal Rule">
            <a:extLst>
              <a:ext uri="{FF2B5EF4-FFF2-40B4-BE49-F238E27FC236}">
                <a16:creationId xmlns:a16="http://schemas.microsoft.com/office/drawing/2014/main" id="{429C2072-EE2B-A064-5CA2-6097546F935A}"/>
              </a:ext>
            </a:extLst>
          </p:cNvPr>
          <p:cNvCxnSpPr>
            <a:cxnSpLocks noGrp="1" noRot="1" noMove="1" noResize="1" noEditPoints="1" noAdjustHandles="1" noChangeArrowheads="1" noChangeShapeType="1"/>
          </p:cNvCxnSpPr>
          <p:nvPr userDrawn="1"/>
        </p:nvCxnSpPr>
        <p:spPr>
          <a:xfrm>
            <a:off x="292100" y="1364752"/>
            <a:ext cx="11607800" cy="0"/>
          </a:xfrm>
          <a:prstGeom prst="line">
            <a:avLst/>
          </a:prstGeom>
          <a:ln w="12700">
            <a:solidFill>
              <a:srgbClr val="555555"/>
            </a:solidFill>
          </a:ln>
        </p:spPr>
        <p:style>
          <a:lnRef idx="1">
            <a:schemeClr val="accent1"/>
          </a:lnRef>
          <a:fillRef idx="0">
            <a:schemeClr val="accent1"/>
          </a:fillRef>
          <a:effectRef idx="0">
            <a:schemeClr val="accent1"/>
          </a:effectRef>
          <a:fontRef idx="minor">
            <a:schemeClr val="tx1"/>
          </a:fontRef>
        </p:style>
      </p:cxnSp>
      <p:sp>
        <p:nvSpPr>
          <p:cNvPr id="6" name="Confidential disclaimer">
            <a:extLst>
              <a:ext uri="{FF2B5EF4-FFF2-40B4-BE49-F238E27FC236}">
                <a16:creationId xmlns:a16="http://schemas.microsoft.com/office/drawing/2014/main" id="{BB35ED0A-9206-82C6-8F45-ACF38F7B1A67}"/>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15" name="Copyright Line">
            <a:extLst>
              <a:ext uri="{FF2B5EF4-FFF2-40B4-BE49-F238E27FC236}">
                <a16:creationId xmlns:a16="http://schemas.microsoft.com/office/drawing/2014/main" id="{D439B148-E719-27C3-3403-978BEDC13EC0}"/>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36" name="Footer Placeholder">
            <a:extLst>
              <a:ext uri="{FF2B5EF4-FFF2-40B4-BE49-F238E27FC236}">
                <a16:creationId xmlns:a16="http://schemas.microsoft.com/office/drawing/2014/main" id="{7A2163E9-256E-9B73-6413-FAB496F455C7}"/>
              </a:ext>
            </a:extLst>
          </p:cNvPr>
          <p:cNvSpPr>
            <a:spLocks noGrp="1" noRot="1" noMove="1" noResize="1" noEditPoints="1" noAdjustHandles="1" noChangeArrowheads="1" noChangeShapeType="1"/>
          </p:cNvSpPr>
          <p:nvPr>
            <p:ph type="ftr" sz="quarter" idx="13"/>
          </p:nvPr>
        </p:nvSpPr>
        <p:spPr>
          <a:xfrm>
            <a:off x="3251200" y="6485399"/>
            <a:ext cx="3716336" cy="282957"/>
          </a:xfrm>
          <a:noFill/>
        </p:spPr>
        <p:txBody>
          <a:bodyPr/>
          <a:lstStyle>
            <a:lvl1pPr algn="l">
              <a:defRPr>
                <a:solidFill>
                  <a:schemeClr val="bg1">
                    <a:lumMod val="50000"/>
                  </a:schemeClr>
                </a:solidFill>
              </a:defRPr>
            </a:lvl1pPr>
          </a:lstStyle>
          <a:p>
            <a:endParaRPr lang="en-GB"/>
          </a:p>
        </p:txBody>
      </p:sp>
      <p:sp>
        <p:nvSpPr>
          <p:cNvPr id="8" name="Date Placeholder">
            <a:extLst>
              <a:ext uri="{FF2B5EF4-FFF2-40B4-BE49-F238E27FC236}">
                <a16:creationId xmlns:a16="http://schemas.microsoft.com/office/drawing/2014/main" id="{34C6756D-B2C7-2A2B-E9A7-BB5F5972C730}"/>
              </a:ext>
            </a:extLst>
          </p:cNvPr>
          <p:cNvSpPr>
            <a:spLocks noGrp="1" noRot="1" noMove="1" noResize="1" noEditPoints="1" noAdjustHandles="1" noChangeArrowheads="1" noChangeShapeType="1"/>
          </p:cNvSpPr>
          <p:nvPr>
            <p:ph type="dt" sz="half" idx="12"/>
          </p:nvPr>
        </p:nvSpPr>
        <p:spPr>
          <a:xfrm>
            <a:off x="292100" y="6073688"/>
            <a:ext cx="1744664" cy="282957"/>
          </a:xfrm>
        </p:spPr>
        <p:txBody>
          <a:bodyPr/>
          <a:lstStyle>
            <a:lvl1pPr>
              <a:defRPr sz="1200">
                <a:solidFill>
                  <a:srgbClr val="555555"/>
                </a:solidFill>
              </a:defRPr>
            </a:lvl1pPr>
          </a:lstStyle>
          <a:p>
            <a:fld id="{B6481281-E9D1-47F7-BA91-39AA71050F8A}" type="datetime1">
              <a:rPr lang="en-GB" smtClean="0"/>
              <a:t>18/11/2024</a:t>
            </a:fld>
            <a:endParaRPr lang="en-GB"/>
          </a:p>
        </p:txBody>
      </p:sp>
      <p:sp>
        <p:nvSpPr>
          <p:cNvPr id="19" name="Title/Dept Placeholder">
            <a:extLst>
              <a:ext uri="{FF2B5EF4-FFF2-40B4-BE49-F238E27FC236}">
                <a16:creationId xmlns:a16="http://schemas.microsoft.com/office/drawing/2014/main" id="{6942A971-1821-DF95-6B7B-A7991E06FA8B}"/>
              </a:ext>
            </a:extLst>
          </p:cNvPr>
          <p:cNvSpPr>
            <a:spLocks noGrp="1" noRot="1" noMove="1" noResize="1" noEditPoints="1" noAdjustHandles="1" noChangeArrowheads="1" noChangeShapeType="1"/>
          </p:cNvSpPr>
          <p:nvPr>
            <p:ph type="body" sz="quarter" idx="11" hasCustomPrompt="1"/>
          </p:nvPr>
        </p:nvSpPr>
        <p:spPr>
          <a:xfrm>
            <a:off x="292100" y="5562225"/>
            <a:ext cx="8625842" cy="344385"/>
          </a:xfrm>
        </p:spPr>
        <p:txBody>
          <a:bodyPr tIns="0" bIns="0">
            <a:noAutofit/>
          </a:bodyPr>
          <a:lstStyle>
            <a:lvl1pPr marL="0" indent="0">
              <a:lnSpc>
                <a:spcPct val="100000"/>
              </a:lnSpc>
              <a:spcBef>
                <a:spcPts val="0"/>
              </a:spcBef>
              <a:spcAft>
                <a:spcPts val="0"/>
              </a:spcAft>
              <a:buNone/>
              <a:defRPr sz="1200" b="0">
                <a:solidFill>
                  <a:srgbClr val="555555"/>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8" name="Presenter Name Placeholder">
            <a:extLst>
              <a:ext uri="{FF2B5EF4-FFF2-40B4-BE49-F238E27FC236}">
                <a16:creationId xmlns:a16="http://schemas.microsoft.com/office/drawing/2014/main" id="{4D8E56BE-097F-EB4E-3287-BD1DCBFF4884}"/>
              </a:ext>
            </a:extLst>
          </p:cNvPr>
          <p:cNvSpPr>
            <a:spLocks noGrp="1" noRot="1" noMove="1" noResize="1" noEditPoints="1" noAdjustHandles="1" noChangeArrowheads="1" noChangeShapeType="1"/>
          </p:cNvSpPr>
          <p:nvPr>
            <p:ph type="body" sz="quarter" idx="10" hasCustomPrompt="1"/>
          </p:nvPr>
        </p:nvSpPr>
        <p:spPr>
          <a:xfrm>
            <a:off x="292100" y="5194091"/>
            <a:ext cx="8625841" cy="344384"/>
          </a:xfrm>
        </p:spPr>
        <p:txBody>
          <a:bodyPr tIns="0" bIns="0" anchor="b" anchorCtr="0">
            <a:noAutofit/>
          </a:bodyPr>
          <a:lstStyle>
            <a:lvl1pPr marL="0" indent="0">
              <a:lnSpc>
                <a:spcPct val="100000"/>
              </a:lnSpc>
              <a:spcBef>
                <a:spcPts val="0"/>
              </a:spcBef>
              <a:spcAft>
                <a:spcPts val="0"/>
              </a:spcAft>
              <a:buNone/>
              <a:defRPr sz="1200" b="1">
                <a:solidFill>
                  <a:srgbClr val="555555"/>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Subtitle Placeholder">
            <a:extLst>
              <a:ext uri="{FF2B5EF4-FFF2-40B4-BE49-F238E27FC236}">
                <a16:creationId xmlns:a16="http://schemas.microsoft.com/office/drawing/2014/main" id="{D952C9CE-AA03-A24B-BBD9-8EA2482DC59D}"/>
              </a:ext>
            </a:extLst>
          </p:cNvPr>
          <p:cNvSpPr>
            <a:spLocks noGrp="1" noRot="1" noMove="1" noResize="1" noEditPoints="1" noAdjustHandles="1" noChangeArrowheads="1" noChangeShapeType="1"/>
          </p:cNvSpPr>
          <p:nvPr>
            <p:ph type="subTitle" idx="1"/>
          </p:nvPr>
        </p:nvSpPr>
        <p:spPr>
          <a:xfrm>
            <a:off x="292100" y="4151030"/>
            <a:ext cx="8625840" cy="837882"/>
          </a:xfrm>
        </p:spPr>
        <p:txBody>
          <a:bodyPr>
            <a:noAutofit/>
          </a:bodyPr>
          <a:lstStyle>
            <a:lvl1pPr marL="0" indent="0" algn="l">
              <a:spcBef>
                <a:spcPts val="0"/>
              </a:spcBef>
              <a:spcAft>
                <a:spcPts val="0"/>
              </a:spcAft>
              <a:buNone/>
              <a:defRPr sz="2400">
                <a:solidFill>
                  <a:srgbClr val="55555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itle Placeholder">
            <a:extLst>
              <a:ext uri="{FF2B5EF4-FFF2-40B4-BE49-F238E27FC236}">
                <a16:creationId xmlns:a16="http://schemas.microsoft.com/office/drawing/2014/main" id="{5F151AF7-737A-1648-9BC4-B9D881179FB7}"/>
              </a:ext>
            </a:extLst>
          </p:cNvPr>
          <p:cNvSpPr>
            <a:spLocks noGrp="1" noRot="1" noMove="1" noResize="1" noEditPoints="1" noAdjustHandles="1" noChangeArrowheads="1" noChangeShapeType="1"/>
          </p:cNvSpPr>
          <p:nvPr>
            <p:ph type="ctrTitle" hasCustomPrompt="1"/>
          </p:nvPr>
        </p:nvSpPr>
        <p:spPr>
          <a:xfrm>
            <a:off x="292100" y="1671355"/>
            <a:ext cx="8625840" cy="2387600"/>
          </a:xfrm>
          <a:prstGeom prst="rect">
            <a:avLst/>
          </a:prstGeom>
        </p:spPr>
        <p:txBody>
          <a:bodyPr anchor="b">
            <a:noAutofit/>
          </a:bodyPr>
          <a:lstStyle>
            <a:lvl1pPr algn="l">
              <a:defRPr sz="5400">
                <a:solidFill>
                  <a:srgbClr val="555555"/>
                </a:solidFill>
              </a:defRPr>
            </a:lvl1pPr>
          </a:lstStyle>
          <a:p>
            <a:r>
              <a:rPr lang="en-US"/>
              <a:t>Insert your presentation title here maximum of three lines</a:t>
            </a:r>
          </a:p>
        </p:txBody>
      </p:sp>
      <p:pic>
        <p:nvPicPr>
          <p:cNvPr id="11" name="NielsenIQ GFK lockup" hidden="1">
            <a:extLst>
              <a:ext uri="{FF2B5EF4-FFF2-40B4-BE49-F238E27FC236}">
                <a16:creationId xmlns:a16="http://schemas.microsoft.com/office/drawing/2014/main" id="{7D277D99-518B-9609-51D0-587AB5DBF23C}"/>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6122" y="321743"/>
            <a:ext cx="3377876" cy="753596"/>
          </a:xfrm>
          <a:prstGeom prst="rect">
            <a:avLst/>
          </a:prstGeom>
        </p:spPr>
      </p:pic>
      <p:pic>
        <p:nvPicPr>
          <p:cNvPr id="5" name="NielsenIQ logo+wordmark" descr="A blue text on a black background&#10;&#10;Description automatically generated" hidden="1">
            <a:extLst>
              <a:ext uri="{FF2B5EF4-FFF2-40B4-BE49-F238E27FC236}">
                <a16:creationId xmlns:a16="http://schemas.microsoft.com/office/drawing/2014/main" id="{9851AB56-8AE6-EEF1-0330-E0C0C6360BEC}"/>
              </a:ext>
            </a:extLst>
          </p:cNvPr>
          <p:cNvPicPr>
            <a:picLocks noGrp="1" noRot="1" noChangeAspec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tretch>
            <a:fillRect/>
          </a:stretch>
        </p:blipFill>
        <p:spPr>
          <a:xfrm>
            <a:off x="288558" y="305205"/>
            <a:ext cx="2211998" cy="763139"/>
          </a:xfrm>
          <a:prstGeom prst="rect">
            <a:avLst/>
          </a:prstGeom>
        </p:spPr>
      </p:pic>
      <p:sp>
        <p:nvSpPr>
          <p:cNvPr id="4" name="Nielsen wordmark">
            <a:extLst>
              <a:ext uri="{FF2B5EF4-FFF2-40B4-BE49-F238E27FC236}">
                <a16:creationId xmlns:a16="http://schemas.microsoft.com/office/drawing/2014/main" id="{114DF69D-7EB6-203C-43F0-B2D46A94C483}"/>
              </a:ext>
            </a:extLst>
          </p:cNvPr>
          <p:cNvSpPr>
            <a:spLocks noGrp="1" noRot="1" noMove="1" noResize="1" noEditPoints="1" noAdjustHandles="1" noChangeArrowheads="1" noChangeShapeType="1"/>
          </p:cNvSpPr>
          <p:nvPr/>
        </p:nvSpPr>
        <p:spPr>
          <a:xfrm>
            <a:off x="295274" y="443155"/>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accent1"/>
          </a:solidFill>
          <a:ln w="774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241672698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6" name="Static Dark Bkgd">
            <a:extLst>
              <a:ext uri="{FF2B5EF4-FFF2-40B4-BE49-F238E27FC236}">
                <a16:creationId xmlns:a16="http://schemas.microsoft.com/office/drawing/2014/main" id="{C44FA2BA-550D-EDA0-ABAB-D662C16F1376}"/>
              </a:ext>
            </a:extLst>
          </p:cNvPr>
          <p:cNvSpPr>
            <a:spLocks noGrp="1" noRot="1" noMove="1" noResize="1" noEditPoints="1" noAdjustHandles="1" noChangeArrowheads="1" noChangeShapeType="1"/>
          </p:cNvSpPr>
          <p:nvPr userDrawn="1"/>
        </p:nvSpPr>
        <p:spPr>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Horizontal Rule">
            <a:extLst>
              <a:ext uri="{FF2B5EF4-FFF2-40B4-BE49-F238E27FC236}">
                <a16:creationId xmlns:a16="http://schemas.microsoft.com/office/drawing/2014/main" id="{429C2072-EE2B-A064-5CA2-6097546F935A}"/>
              </a:ext>
            </a:extLst>
          </p:cNvPr>
          <p:cNvCxnSpPr>
            <a:cxnSpLocks noGrp="1" noRot="1" noMove="1" noResize="1" noEditPoints="1" noAdjustHandles="1" noChangeArrowheads="1" noChangeShapeType="1"/>
          </p:cNvCxnSpPr>
          <p:nvPr userDrawn="1"/>
        </p:nvCxnSpPr>
        <p:spPr>
          <a:xfrm>
            <a:off x="292100" y="1364752"/>
            <a:ext cx="116078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Confidential disclaimer">
            <a:extLst>
              <a:ext uri="{FF2B5EF4-FFF2-40B4-BE49-F238E27FC236}">
                <a16:creationId xmlns:a16="http://schemas.microsoft.com/office/drawing/2014/main" id="{0CFED10E-E876-D584-0DE6-56605800FA66}"/>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15" name="Copyright Line">
            <a:extLst>
              <a:ext uri="{FF2B5EF4-FFF2-40B4-BE49-F238E27FC236}">
                <a16:creationId xmlns:a16="http://schemas.microsoft.com/office/drawing/2014/main" id="{D439B148-E719-27C3-3403-978BEDC13EC0}"/>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10" name="Footer Placeholder">
            <a:extLst>
              <a:ext uri="{FF2B5EF4-FFF2-40B4-BE49-F238E27FC236}">
                <a16:creationId xmlns:a16="http://schemas.microsoft.com/office/drawing/2014/main" id="{671A6FA9-FE3E-4211-C84B-88F574FE8550}"/>
              </a:ext>
            </a:extLst>
          </p:cNvPr>
          <p:cNvSpPr>
            <a:spLocks noGrp="1" noRot="1" noMove="1" noResize="1" noEditPoints="1" noAdjustHandles="1" noChangeArrowheads="1" noChangeShapeType="1"/>
          </p:cNvSpPr>
          <p:nvPr>
            <p:ph type="ftr" sz="quarter" idx="13"/>
          </p:nvPr>
        </p:nvSpPr>
        <p:spPr>
          <a:xfrm>
            <a:off x="3251200" y="6485399"/>
            <a:ext cx="3716336" cy="282957"/>
          </a:xfrm>
          <a:noFill/>
        </p:spPr>
        <p:txBody>
          <a:bodyPr/>
          <a:lstStyle>
            <a:lvl1pPr algn="l">
              <a:defRPr>
                <a:solidFill>
                  <a:srgbClr val="FFFFFF"/>
                </a:solidFill>
              </a:defRPr>
            </a:lvl1pPr>
          </a:lstStyle>
          <a:p>
            <a:endParaRPr lang="en-GB"/>
          </a:p>
        </p:txBody>
      </p:sp>
      <p:sp>
        <p:nvSpPr>
          <p:cNvPr id="8" name="Date Placeholder">
            <a:extLst>
              <a:ext uri="{FF2B5EF4-FFF2-40B4-BE49-F238E27FC236}">
                <a16:creationId xmlns:a16="http://schemas.microsoft.com/office/drawing/2014/main" id="{34C6756D-B2C7-2A2B-E9A7-BB5F5972C730}"/>
              </a:ext>
            </a:extLst>
          </p:cNvPr>
          <p:cNvSpPr>
            <a:spLocks noGrp="1" noRot="1" noMove="1" noResize="1" noEditPoints="1" noAdjustHandles="1" noChangeArrowheads="1" noChangeShapeType="1"/>
          </p:cNvSpPr>
          <p:nvPr>
            <p:ph type="dt" sz="half" idx="12"/>
          </p:nvPr>
        </p:nvSpPr>
        <p:spPr>
          <a:xfrm>
            <a:off x="292100" y="6073688"/>
            <a:ext cx="1744664" cy="282957"/>
          </a:xfrm>
        </p:spPr>
        <p:txBody>
          <a:bodyPr/>
          <a:lstStyle>
            <a:lvl1pPr>
              <a:defRPr sz="1200">
                <a:solidFill>
                  <a:srgbClr val="FFFFFF"/>
                </a:solidFill>
              </a:defRPr>
            </a:lvl1pPr>
          </a:lstStyle>
          <a:p>
            <a:fld id="{6939B06F-C1B3-44B6-B618-A1DBE0D9FD92}" type="datetime1">
              <a:rPr lang="en-GB" smtClean="0"/>
              <a:t>18/11/2024</a:t>
            </a:fld>
            <a:endParaRPr lang="en-GB"/>
          </a:p>
        </p:txBody>
      </p:sp>
      <p:sp>
        <p:nvSpPr>
          <p:cNvPr id="19" name="Title/Dept Placeholder">
            <a:extLst>
              <a:ext uri="{FF2B5EF4-FFF2-40B4-BE49-F238E27FC236}">
                <a16:creationId xmlns:a16="http://schemas.microsoft.com/office/drawing/2014/main" id="{6942A971-1821-DF95-6B7B-A7991E06FA8B}"/>
              </a:ext>
            </a:extLst>
          </p:cNvPr>
          <p:cNvSpPr>
            <a:spLocks noGrp="1" noRot="1" noMove="1" noResize="1" noEditPoints="1" noAdjustHandles="1" noChangeArrowheads="1" noChangeShapeType="1"/>
          </p:cNvSpPr>
          <p:nvPr>
            <p:ph type="body" sz="quarter" idx="11" hasCustomPrompt="1"/>
          </p:nvPr>
        </p:nvSpPr>
        <p:spPr>
          <a:xfrm>
            <a:off x="292100" y="5562225"/>
            <a:ext cx="8625842" cy="344385"/>
          </a:xfrm>
        </p:spPr>
        <p:txBody>
          <a:bodyPr tIns="0" bIns="0">
            <a:noAutofit/>
          </a:bodyPr>
          <a:lstStyle>
            <a:lvl1pPr marL="0" indent="0">
              <a:lnSpc>
                <a:spcPct val="100000"/>
              </a:lnSpc>
              <a:spcBef>
                <a:spcPts val="0"/>
              </a:spcBef>
              <a:spcAft>
                <a:spcPts val="0"/>
              </a:spcAft>
              <a:buNone/>
              <a:defRPr sz="1200" b="0">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8" name="Presenter Name Placeholder">
            <a:extLst>
              <a:ext uri="{FF2B5EF4-FFF2-40B4-BE49-F238E27FC236}">
                <a16:creationId xmlns:a16="http://schemas.microsoft.com/office/drawing/2014/main" id="{4D8E56BE-097F-EB4E-3287-BD1DCBFF4884}"/>
              </a:ext>
            </a:extLst>
          </p:cNvPr>
          <p:cNvSpPr>
            <a:spLocks noGrp="1" noRot="1" noMove="1" noResize="1" noEditPoints="1" noAdjustHandles="1" noChangeArrowheads="1" noChangeShapeType="1"/>
          </p:cNvSpPr>
          <p:nvPr>
            <p:ph type="body" sz="quarter" idx="10" hasCustomPrompt="1"/>
          </p:nvPr>
        </p:nvSpPr>
        <p:spPr>
          <a:xfrm>
            <a:off x="292100" y="5194091"/>
            <a:ext cx="8625841" cy="344384"/>
          </a:xfrm>
        </p:spPr>
        <p:txBody>
          <a:bodyPr tIns="0" bIns="0" anchor="b" anchorCtr="0">
            <a:noAutofit/>
          </a:bodyPr>
          <a:lstStyle>
            <a:lvl1pPr marL="0" indent="0">
              <a:lnSpc>
                <a:spcPct val="100000"/>
              </a:lnSpc>
              <a:spcBef>
                <a:spcPts val="0"/>
              </a:spcBef>
              <a:spcAft>
                <a:spcPts val="0"/>
              </a:spcAft>
              <a:buNone/>
              <a:defRPr sz="1200" b="1">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Subtitle Placeholder">
            <a:extLst>
              <a:ext uri="{FF2B5EF4-FFF2-40B4-BE49-F238E27FC236}">
                <a16:creationId xmlns:a16="http://schemas.microsoft.com/office/drawing/2014/main" id="{D952C9CE-AA03-A24B-BBD9-8EA2482DC59D}"/>
              </a:ext>
            </a:extLst>
          </p:cNvPr>
          <p:cNvSpPr>
            <a:spLocks noGrp="1" noRot="1" noMove="1" noResize="1" noEditPoints="1" noAdjustHandles="1" noChangeArrowheads="1" noChangeShapeType="1"/>
          </p:cNvSpPr>
          <p:nvPr>
            <p:ph type="subTitle" idx="1"/>
          </p:nvPr>
        </p:nvSpPr>
        <p:spPr>
          <a:xfrm>
            <a:off x="292100" y="4151030"/>
            <a:ext cx="8625840" cy="837882"/>
          </a:xfrm>
        </p:spPr>
        <p:txBody>
          <a:bodyPr>
            <a:noAutofit/>
          </a:bodyPr>
          <a:lstStyle>
            <a:lvl1pPr marL="0" indent="0" algn="l">
              <a:spcBef>
                <a:spcPts val="0"/>
              </a:spcBef>
              <a:spcAft>
                <a:spcPts val="0"/>
              </a:spcAft>
              <a:buNone/>
              <a:defRPr sz="24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itle Placeholder">
            <a:extLst>
              <a:ext uri="{FF2B5EF4-FFF2-40B4-BE49-F238E27FC236}">
                <a16:creationId xmlns:a16="http://schemas.microsoft.com/office/drawing/2014/main" id="{5F151AF7-737A-1648-9BC4-B9D881179FB7}"/>
              </a:ext>
            </a:extLst>
          </p:cNvPr>
          <p:cNvSpPr>
            <a:spLocks noGrp="1" noRot="1" noMove="1" noResize="1" noEditPoints="1" noAdjustHandles="1" noChangeArrowheads="1" noChangeShapeType="1"/>
          </p:cNvSpPr>
          <p:nvPr>
            <p:ph type="ctrTitle" hasCustomPrompt="1"/>
          </p:nvPr>
        </p:nvSpPr>
        <p:spPr>
          <a:xfrm>
            <a:off x="292100" y="1671355"/>
            <a:ext cx="8625840" cy="2387600"/>
          </a:xfrm>
          <a:prstGeom prst="rect">
            <a:avLst/>
          </a:prstGeom>
        </p:spPr>
        <p:txBody>
          <a:bodyPr anchor="b">
            <a:noAutofit/>
          </a:bodyPr>
          <a:lstStyle>
            <a:lvl1pPr algn="l">
              <a:defRPr sz="5400">
                <a:solidFill>
                  <a:srgbClr val="FFFFFF"/>
                </a:solidFill>
              </a:defRPr>
            </a:lvl1pPr>
          </a:lstStyle>
          <a:p>
            <a:r>
              <a:rPr lang="en-US"/>
              <a:t>Insert your presentation title here maximum of three lines</a:t>
            </a:r>
          </a:p>
        </p:txBody>
      </p:sp>
      <p:pic>
        <p:nvPicPr>
          <p:cNvPr id="11" name="NielsenIQ GFK lockup" hidden="1">
            <a:extLst>
              <a:ext uri="{FF2B5EF4-FFF2-40B4-BE49-F238E27FC236}">
                <a16:creationId xmlns:a16="http://schemas.microsoft.com/office/drawing/2014/main" id="{F5A22785-6BE6-D1CC-4D14-4C9F4152DA6F}"/>
              </a:ext>
            </a:extLst>
          </p:cNvPr>
          <p:cNvPicPr>
            <a:picLocks noGrp="1" noRot="1" noChangeAspec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86122" y="321743"/>
            <a:ext cx="3377876" cy="753596"/>
          </a:xfrm>
          <a:prstGeom prst="rect">
            <a:avLst/>
          </a:prstGeom>
        </p:spPr>
      </p:pic>
      <p:pic>
        <p:nvPicPr>
          <p:cNvPr id="12" name="NielsenIQ logo+wordmark" hidden="1">
            <a:extLst>
              <a:ext uri="{FF2B5EF4-FFF2-40B4-BE49-F238E27FC236}">
                <a16:creationId xmlns:a16="http://schemas.microsoft.com/office/drawing/2014/main" id="{8189DD20-160D-9FA4-6050-54CA59644796}"/>
              </a:ext>
            </a:extLst>
          </p:cNvPr>
          <p:cNvPicPr>
            <a:picLocks noGrp="1" noRot="1" noMove="1" noResize="1" noEditPoints="1" noAdjustHandles="1" noChangeArrowheads="1" noChangeShapeType="1" noCrop="1"/>
          </p:cNvPicPr>
          <p:nvPr userDrawn="1"/>
        </p:nvPicPr>
        <p:blipFill>
          <a:blip r:embed="rId4">
            <a:extLst>
              <a:ext uri="{28A0092B-C50C-407E-A947-70E740481C1C}">
                <a14:useLocalDpi xmlns:a14="http://schemas.microsoft.com/office/drawing/2010/main" val="0"/>
              </a:ext>
            </a:extLst>
          </a:blip>
          <a:srcRect l="59" r="59"/>
          <a:stretch/>
        </p:blipFill>
        <p:spPr>
          <a:xfrm>
            <a:off x="288558" y="305205"/>
            <a:ext cx="2211753" cy="763139"/>
          </a:xfrm>
          <a:prstGeom prst="rect">
            <a:avLst/>
          </a:prstGeom>
        </p:spPr>
      </p:pic>
      <p:sp>
        <p:nvSpPr>
          <p:cNvPr id="23" name="Nielsen wordmark">
            <a:extLst>
              <a:ext uri="{FF2B5EF4-FFF2-40B4-BE49-F238E27FC236}">
                <a16:creationId xmlns:a16="http://schemas.microsoft.com/office/drawing/2014/main" id="{A534929D-2AB3-3703-CE21-C24AAF5B90DA}"/>
              </a:ext>
            </a:extLst>
          </p:cNvPr>
          <p:cNvSpPr>
            <a:spLocks noGrp="1" noRot="1" noMove="1" noResize="1" noEditPoints="1" noAdjustHandles="1" noChangeArrowheads="1" noChangeShapeType="1"/>
          </p:cNvSpPr>
          <p:nvPr userDrawn="1"/>
        </p:nvSpPr>
        <p:spPr>
          <a:xfrm>
            <a:off x="295274" y="443155"/>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tx2"/>
          </a:solidFill>
          <a:ln w="774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76231956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Slide Dark">
    <p:spTree>
      <p:nvGrpSpPr>
        <p:cNvPr id="1" name=""/>
        <p:cNvGrpSpPr/>
        <p:nvPr/>
      </p:nvGrpSpPr>
      <p:grpSpPr>
        <a:xfrm>
          <a:off x="0" y="0"/>
          <a:ext cx="0" cy="0"/>
          <a:chOff x="0" y="0"/>
          <a:chExt cx="0" cy="0"/>
        </a:xfrm>
      </p:grpSpPr>
      <p:sp>
        <p:nvSpPr>
          <p:cNvPr id="6" name="Static Dark Bkgd">
            <a:extLst>
              <a:ext uri="{FF2B5EF4-FFF2-40B4-BE49-F238E27FC236}">
                <a16:creationId xmlns:a16="http://schemas.microsoft.com/office/drawing/2014/main" id="{C44FA2BA-550D-EDA0-ABAB-D662C16F1376}"/>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060A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Horizontal Rule">
            <a:extLst>
              <a:ext uri="{FF2B5EF4-FFF2-40B4-BE49-F238E27FC236}">
                <a16:creationId xmlns:a16="http://schemas.microsoft.com/office/drawing/2014/main" id="{429C2072-EE2B-A064-5CA2-6097546F935A}"/>
              </a:ext>
            </a:extLst>
          </p:cNvPr>
          <p:cNvCxnSpPr>
            <a:cxnSpLocks noGrp="1" noRot="1" noMove="1" noResize="1" noEditPoints="1" noAdjustHandles="1" noChangeArrowheads="1" noChangeShapeType="1"/>
          </p:cNvCxnSpPr>
          <p:nvPr userDrawn="1"/>
        </p:nvCxnSpPr>
        <p:spPr>
          <a:xfrm>
            <a:off x="292100" y="1364752"/>
            <a:ext cx="116078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5" name="Confidential disclaimer">
            <a:extLst>
              <a:ext uri="{FF2B5EF4-FFF2-40B4-BE49-F238E27FC236}">
                <a16:creationId xmlns:a16="http://schemas.microsoft.com/office/drawing/2014/main" id="{15979AA9-9DD3-3AAB-213C-8B9A6FF3D1DF}"/>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15" name="Copyright Line">
            <a:extLst>
              <a:ext uri="{FF2B5EF4-FFF2-40B4-BE49-F238E27FC236}">
                <a16:creationId xmlns:a16="http://schemas.microsoft.com/office/drawing/2014/main" id="{D439B148-E719-27C3-3403-978BEDC13EC0}"/>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10" name="Footer Placeholder">
            <a:extLst>
              <a:ext uri="{FF2B5EF4-FFF2-40B4-BE49-F238E27FC236}">
                <a16:creationId xmlns:a16="http://schemas.microsoft.com/office/drawing/2014/main" id="{671A6FA9-FE3E-4211-C84B-88F574FE8550}"/>
              </a:ext>
            </a:extLst>
          </p:cNvPr>
          <p:cNvSpPr>
            <a:spLocks noGrp="1" noRot="1" noMove="1" noResize="1" noEditPoints="1" noAdjustHandles="1" noChangeArrowheads="1" noChangeShapeType="1"/>
          </p:cNvSpPr>
          <p:nvPr>
            <p:ph type="ftr" sz="quarter" idx="13"/>
          </p:nvPr>
        </p:nvSpPr>
        <p:spPr>
          <a:xfrm>
            <a:off x="3251200" y="6485399"/>
            <a:ext cx="3716336" cy="282957"/>
          </a:xfrm>
          <a:solidFill>
            <a:schemeClr val="tx2"/>
          </a:solidFill>
        </p:spPr>
        <p:txBody>
          <a:bodyPr/>
          <a:lstStyle>
            <a:lvl1pPr algn="l">
              <a:defRPr>
                <a:solidFill>
                  <a:srgbClr val="FFFFFF"/>
                </a:solidFill>
              </a:defRPr>
            </a:lvl1pPr>
          </a:lstStyle>
          <a:p>
            <a:endParaRPr lang="en-GB"/>
          </a:p>
        </p:txBody>
      </p:sp>
      <p:sp>
        <p:nvSpPr>
          <p:cNvPr id="8" name="Date Placeholder">
            <a:extLst>
              <a:ext uri="{FF2B5EF4-FFF2-40B4-BE49-F238E27FC236}">
                <a16:creationId xmlns:a16="http://schemas.microsoft.com/office/drawing/2014/main" id="{34C6756D-B2C7-2A2B-E9A7-BB5F5972C730}"/>
              </a:ext>
            </a:extLst>
          </p:cNvPr>
          <p:cNvSpPr>
            <a:spLocks noGrp="1" noRot="1" noMove="1" noResize="1" noEditPoints="1" noAdjustHandles="1" noChangeArrowheads="1" noChangeShapeType="1"/>
          </p:cNvSpPr>
          <p:nvPr>
            <p:ph type="dt" sz="half" idx="12"/>
          </p:nvPr>
        </p:nvSpPr>
        <p:spPr>
          <a:xfrm>
            <a:off x="292100" y="6073688"/>
            <a:ext cx="1744664" cy="282957"/>
          </a:xfrm>
        </p:spPr>
        <p:txBody>
          <a:bodyPr/>
          <a:lstStyle>
            <a:lvl1pPr>
              <a:defRPr sz="1200">
                <a:solidFill>
                  <a:srgbClr val="FFFFFF"/>
                </a:solidFill>
              </a:defRPr>
            </a:lvl1pPr>
          </a:lstStyle>
          <a:p>
            <a:fld id="{6939B06F-C1B3-44B6-B618-A1DBE0D9FD92}" type="datetime1">
              <a:rPr lang="en-GB" smtClean="0"/>
              <a:t>18/11/2024</a:t>
            </a:fld>
            <a:endParaRPr lang="en-GB"/>
          </a:p>
        </p:txBody>
      </p:sp>
      <p:sp>
        <p:nvSpPr>
          <p:cNvPr id="19" name="Title/Dept Placeholder">
            <a:extLst>
              <a:ext uri="{FF2B5EF4-FFF2-40B4-BE49-F238E27FC236}">
                <a16:creationId xmlns:a16="http://schemas.microsoft.com/office/drawing/2014/main" id="{6942A971-1821-DF95-6B7B-A7991E06FA8B}"/>
              </a:ext>
            </a:extLst>
          </p:cNvPr>
          <p:cNvSpPr>
            <a:spLocks noGrp="1" noRot="1" noMove="1" noResize="1" noEditPoints="1" noAdjustHandles="1" noChangeArrowheads="1" noChangeShapeType="1"/>
          </p:cNvSpPr>
          <p:nvPr>
            <p:ph type="body" sz="quarter" idx="11" hasCustomPrompt="1"/>
          </p:nvPr>
        </p:nvSpPr>
        <p:spPr>
          <a:xfrm>
            <a:off x="292100" y="5562225"/>
            <a:ext cx="8625842" cy="344385"/>
          </a:xfrm>
        </p:spPr>
        <p:txBody>
          <a:bodyPr tIns="0" bIns="0">
            <a:noAutofit/>
          </a:bodyPr>
          <a:lstStyle>
            <a:lvl1pPr marL="0" indent="0">
              <a:lnSpc>
                <a:spcPct val="100000"/>
              </a:lnSpc>
              <a:spcBef>
                <a:spcPts val="0"/>
              </a:spcBef>
              <a:spcAft>
                <a:spcPts val="0"/>
              </a:spcAft>
              <a:buNone/>
              <a:defRPr sz="1200" b="0">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8" name="Presenter Name Placeholder">
            <a:extLst>
              <a:ext uri="{FF2B5EF4-FFF2-40B4-BE49-F238E27FC236}">
                <a16:creationId xmlns:a16="http://schemas.microsoft.com/office/drawing/2014/main" id="{4D8E56BE-097F-EB4E-3287-BD1DCBFF4884}"/>
              </a:ext>
            </a:extLst>
          </p:cNvPr>
          <p:cNvSpPr>
            <a:spLocks noGrp="1" noRot="1" noMove="1" noResize="1" noEditPoints="1" noAdjustHandles="1" noChangeArrowheads="1" noChangeShapeType="1"/>
          </p:cNvSpPr>
          <p:nvPr>
            <p:ph type="body" sz="quarter" idx="10" hasCustomPrompt="1"/>
          </p:nvPr>
        </p:nvSpPr>
        <p:spPr>
          <a:xfrm>
            <a:off x="292100" y="5194091"/>
            <a:ext cx="8625841" cy="344384"/>
          </a:xfrm>
        </p:spPr>
        <p:txBody>
          <a:bodyPr tIns="0" bIns="0" anchor="b" anchorCtr="0">
            <a:noAutofit/>
          </a:bodyPr>
          <a:lstStyle>
            <a:lvl1pPr marL="0" indent="0">
              <a:lnSpc>
                <a:spcPct val="100000"/>
              </a:lnSpc>
              <a:spcBef>
                <a:spcPts val="0"/>
              </a:spcBef>
              <a:spcAft>
                <a:spcPts val="0"/>
              </a:spcAft>
              <a:buNone/>
              <a:defRPr sz="1200" b="1">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Subtitle Placeholder">
            <a:extLst>
              <a:ext uri="{FF2B5EF4-FFF2-40B4-BE49-F238E27FC236}">
                <a16:creationId xmlns:a16="http://schemas.microsoft.com/office/drawing/2014/main" id="{D952C9CE-AA03-A24B-BBD9-8EA2482DC59D}"/>
              </a:ext>
            </a:extLst>
          </p:cNvPr>
          <p:cNvSpPr>
            <a:spLocks noGrp="1" noRot="1" noMove="1" noResize="1" noEditPoints="1" noAdjustHandles="1" noChangeArrowheads="1" noChangeShapeType="1"/>
          </p:cNvSpPr>
          <p:nvPr>
            <p:ph type="subTitle" idx="1"/>
          </p:nvPr>
        </p:nvSpPr>
        <p:spPr>
          <a:xfrm>
            <a:off x="292100" y="4151030"/>
            <a:ext cx="8625840" cy="837882"/>
          </a:xfrm>
        </p:spPr>
        <p:txBody>
          <a:bodyPr>
            <a:noAutofit/>
          </a:bodyPr>
          <a:lstStyle>
            <a:lvl1pPr marL="0" indent="0" algn="l">
              <a:spcBef>
                <a:spcPts val="0"/>
              </a:spcBef>
              <a:spcAft>
                <a:spcPts val="0"/>
              </a:spcAft>
              <a:buNone/>
              <a:defRPr sz="24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itle Placeholder">
            <a:extLst>
              <a:ext uri="{FF2B5EF4-FFF2-40B4-BE49-F238E27FC236}">
                <a16:creationId xmlns:a16="http://schemas.microsoft.com/office/drawing/2014/main" id="{5F151AF7-737A-1648-9BC4-B9D881179FB7}"/>
              </a:ext>
            </a:extLst>
          </p:cNvPr>
          <p:cNvSpPr>
            <a:spLocks noGrp="1" noRot="1" noMove="1" noResize="1" noEditPoints="1" noAdjustHandles="1" noChangeArrowheads="1" noChangeShapeType="1"/>
          </p:cNvSpPr>
          <p:nvPr>
            <p:ph type="ctrTitle" hasCustomPrompt="1"/>
          </p:nvPr>
        </p:nvSpPr>
        <p:spPr>
          <a:xfrm>
            <a:off x="292100" y="1671355"/>
            <a:ext cx="8625840" cy="2387600"/>
          </a:xfrm>
          <a:prstGeom prst="rect">
            <a:avLst/>
          </a:prstGeom>
        </p:spPr>
        <p:txBody>
          <a:bodyPr anchor="b">
            <a:noAutofit/>
          </a:bodyPr>
          <a:lstStyle>
            <a:lvl1pPr algn="l">
              <a:defRPr sz="5400">
                <a:solidFill>
                  <a:srgbClr val="FFFFFF"/>
                </a:solidFill>
              </a:defRPr>
            </a:lvl1pPr>
          </a:lstStyle>
          <a:p>
            <a:r>
              <a:rPr lang="en-US"/>
              <a:t>Insert your presentation title here maximum of three lines</a:t>
            </a:r>
          </a:p>
        </p:txBody>
      </p:sp>
      <p:pic>
        <p:nvPicPr>
          <p:cNvPr id="4" name="NielsenIQ GFK lockup" hidden="1">
            <a:extLst>
              <a:ext uri="{FF2B5EF4-FFF2-40B4-BE49-F238E27FC236}">
                <a16:creationId xmlns:a16="http://schemas.microsoft.com/office/drawing/2014/main" id="{C8AAA83D-C3BC-19DA-FC85-5AFC9A752B02}"/>
              </a:ext>
            </a:extLst>
          </p:cNvPr>
          <p:cNvPicPr>
            <a:picLocks noGrp="1" noRo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86122" y="321743"/>
            <a:ext cx="3377876" cy="753596"/>
          </a:xfrm>
          <a:prstGeom prst="rect">
            <a:avLst/>
          </a:prstGeom>
        </p:spPr>
      </p:pic>
      <p:pic>
        <p:nvPicPr>
          <p:cNvPr id="12" name="NielsenIQ logo+wordmark" descr="A blue text on a black background&#10;&#10;Description automatically generated" hidden="1">
            <a:extLst>
              <a:ext uri="{FF2B5EF4-FFF2-40B4-BE49-F238E27FC236}">
                <a16:creationId xmlns:a16="http://schemas.microsoft.com/office/drawing/2014/main" id="{8189DD20-160D-9FA4-6050-54CA59644796}"/>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tretch>
            <a:fillRect/>
          </a:stretch>
        </p:blipFill>
        <p:spPr>
          <a:xfrm>
            <a:off x="288558" y="305205"/>
            <a:ext cx="2211998" cy="763139"/>
          </a:xfrm>
          <a:prstGeom prst="rect">
            <a:avLst/>
          </a:prstGeom>
        </p:spPr>
      </p:pic>
      <p:sp>
        <p:nvSpPr>
          <p:cNvPr id="23" name="Nielsen wordmark">
            <a:extLst>
              <a:ext uri="{FF2B5EF4-FFF2-40B4-BE49-F238E27FC236}">
                <a16:creationId xmlns:a16="http://schemas.microsoft.com/office/drawing/2014/main" id="{ACEC4A6E-78BA-F45C-EDE6-561ED4C493CF}"/>
              </a:ext>
            </a:extLst>
          </p:cNvPr>
          <p:cNvSpPr>
            <a:spLocks noGrp="1" noRot="1" noMove="1" noResize="1" noEditPoints="1" noAdjustHandles="1" noChangeArrowheads="1" noChangeShapeType="1"/>
          </p:cNvSpPr>
          <p:nvPr userDrawn="1"/>
        </p:nvSpPr>
        <p:spPr>
          <a:xfrm>
            <a:off x="295274" y="443155"/>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accent1"/>
          </a:solidFill>
          <a:ln w="774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232587549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Cover Photo Circle">
    <p:spTree>
      <p:nvGrpSpPr>
        <p:cNvPr id="1" name=""/>
        <p:cNvGrpSpPr/>
        <p:nvPr/>
      </p:nvGrpSpPr>
      <p:grpSpPr>
        <a:xfrm>
          <a:off x="0" y="0"/>
          <a:ext cx="0" cy="0"/>
          <a:chOff x="0" y="0"/>
          <a:chExt cx="0" cy="0"/>
        </a:xfrm>
      </p:grpSpPr>
      <p:sp>
        <p:nvSpPr>
          <p:cNvPr id="29" name="Static Light Bkgd">
            <a:extLst>
              <a:ext uri="{FF2B5EF4-FFF2-40B4-BE49-F238E27FC236}">
                <a16:creationId xmlns:a16="http://schemas.microsoft.com/office/drawing/2014/main" id="{EE705342-7994-AFF3-15FD-F6FDEC9AE6B0}"/>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0" name="Photo Accent Circles">
            <a:extLst>
              <a:ext uri="{FF2B5EF4-FFF2-40B4-BE49-F238E27FC236}">
                <a16:creationId xmlns:a16="http://schemas.microsoft.com/office/drawing/2014/main" id="{05F2AB47-2DD7-8B76-D4C4-88A3A382FA8A}"/>
              </a:ext>
            </a:extLst>
          </p:cNvPr>
          <p:cNvGrpSpPr>
            <a:grpSpLocks noGrp="1" noUngrp="1" noRot="1" noMove="1" noResize="1"/>
          </p:cNvGrpSpPr>
          <p:nvPr userDrawn="1"/>
        </p:nvGrpSpPr>
        <p:grpSpPr>
          <a:xfrm>
            <a:off x="5942370" y="1"/>
            <a:ext cx="6249631" cy="6778171"/>
            <a:chOff x="5942370" y="1"/>
            <a:chExt cx="6249631" cy="6778171"/>
          </a:xfrm>
        </p:grpSpPr>
        <p:sp>
          <p:nvSpPr>
            <p:cNvPr id="28" name="Freeform: Shape 27">
              <a:extLst>
                <a:ext uri="{FF2B5EF4-FFF2-40B4-BE49-F238E27FC236}">
                  <a16:creationId xmlns:a16="http://schemas.microsoft.com/office/drawing/2014/main" id="{41DBC157-DD06-141E-B188-1EB8D24163C1}"/>
                </a:ext>
              </a:extLst>
            </p:cNvPr>
            <p:cNvSpPr>
              <a:spLocks noGrp="1" noRot="1" noMove="1" noResize="1" noEditPoints="1" noAdjustHandles="1" noChangeArrowheads="1" noChangeShapeType="1"/>
            </p:cNvSpPr>
            <p:nvPr userDrawn="1"/>
          </p:nvSpPr>
          <p:spPr>
            <a:xfrm>
              <a:off x="5942370" y="1"/>
              <a:ext cx="6249631" cy="6778171"/>
            </a:xfrm>
            <a:custGeom>
              <a:avLst/>
              <a:gdLst>
                <a:gd name="connsiteX0" fmla="*/ 1133398 w 6249631"/>
                <a:gd name="connsiteY0" fmla="*/ 0 h 6778171"/>
                <a:gd name="connsiteX1" fmla="*/ 6249631 w 6249631"/>
                <a:gd name="connsiteY1" fmla="*/ 0 h 6778171"/>
                <a:gd name="connsiteX2" fmla="*/ 6249631 w 6249631"/>
                <a:gd name="connsiteY2" fmla="*/ 6079239 h 6778171"/>
                <a:gd name="connsiteX3" fmla="*/ 6227147 w 6249631"/>
                <a:gd name="connsiteY3" fmla="*/ 6096052 h 6778171"/>
                <a:gd name="connsiteX4" fmla="*/ 3994041 w 6249631"/>
                <a:gd name="connsiteY4" fmla="*/ 6778171 h 6778171"/>
                <a:gd name="connsiteX5" fmla="*/ 0 w 6249631"/>
                <a:gd name="connsiteY5" fmla="*/ 2784130 h 6778171"/>
                <a:gd name="connsiteX6" fmla="*/ 912045 w 6249631"/>
                <a:gd name="connsiteY6" fmla="*/ 243549 h 6778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9631" h="6778171">
                  <a:moveTo>
                    <a:pt x="1133398" y="0"/>
                  </a:moveTo>
                  <a:lnTo>
                    <a:pt x="6249631" y="0"/>
                  </a:lnTo>
                  <a:lnTo>
                    <a:pt x="6249631" y="6079239"/>
                  </a:lnTo>
                  <a:lnTo>
                    <a:pt x="6227147" y="6096052"/>
                  </a:lnTo>
                  <a:cubicBezTo>
                    <a:pt x="5589694" y="6526707"/>
                    <a:pt x="4821234" y="6778171"/>
                    <a:pt x="3994041" y="6778171"/>
                  </a:cubicBezTo>
                  <a:cubicBezTo>
                    <a:pt x="1788193" y="6778171"/>
                    <a:pt x="0" y="4989978"/>
                    <a:pt x="0" y="2784130"/>
                  </a:cubicBezTo>
                  <a:cubicBezTo>
                    <a:pt x="0" y="1819072"/>
                    <a:pt x="342272" y="933955"/>
                    <a:pt x="912045" y="243549"/>
                  </a:cubicBezTo>
                  <a:close/>
                </a:path>
              </a:pathLst>
            </a:cu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a:p>
          </p:txBody>
        </p:sp>
        <p:sp>
          <p:nvSpPr>
            <p:cNvPr id="21" name="Freeform: Shape 20">
              <a:extLst>
                <a:ext uri="{FF2B5EF4-FFF2-40B4-BE49-F238E27FC236}">
                  <a16:creationId xmlns:a16="http://schemas.microsoft.com/office/drawing/2014/main" id="{95D9CB59-0278-69D3-1B88-9D97D9D9BF66}"/>
                </a:ext>
              </a:extLst>
            </p:cNvPr>
            <p:cNvSpPr>
              <a:spLocks noGrp="1" noRot="1" noMove="1" noResize="1" noEditPoints="1" noAdjustHandles="1" noChangeArrowheads="1" noChangeShapeType="1"/>
            </p:cNvSpPr>
            <p:nvPr userDrawn="1"/>
          </p:nvSpPr>
          <p:spPr>
            <a:xfrm>
              <a:off x="6596886" y="1"/>
              <a:ext cx="5595114" cy="6115087"/>
            </a:xfrm>
            <a:custGeom>
              <a:avLst/>
              <a:gdLst>
                <a:gd name="connsiteX0" fmla="*/ 1504880 w 5595114"/>
                <a:gd name="connsiteY0" fmla="*/ 0 h 6115087"/>
                <a:gd name="connsiteX1" fmla="*/ 5157035 w 5595114"/>
                <a:gd name="connsiteY1" fmla="*/ 0 h 6115087"/>
                <a:gd name="connsiteX2" fmla="*/ 5193327 w 5595114"/>
                <a:gd name="connsiteY2" fmla="*/ 22048 h 6115087"/>
                <a:gd name="connsiteX3" fmla="*/ 5449755 w 5595114"/>
                <a:gd name="connsiteY3" fmla="*/ 213802 h 6115087"/>
                <a:gd name="connsiteX4" fmla="*/ 5595114 w 5595114"/>
                <a:gd name="connsiteY4" fmla="*/ 345913 h 6115087"/>
                <a:gd name="connsiteX5" fmla="*/ 5595114 w 5595114"/>
                <a:gd name="connsiteY5" fmla="*/ 5222347 h 6115087"/>
                <a:gd name="connsiteX6" fmla="*/ 5449755 w 5595114"/>
                <a:gd name="connsiteY6" fmla="*/ 5354459 h 6115087"/>
                <a:gd name="connsiteX7" fmla="*/ 3330957 w 5595114"/>
                <a:gd name="connsiteY7" fmla="*/ 6115087 h 6115087"/>
                <a:gd name="connsiteX8" fmla="*/ 0 w 5595114"/>
                <a:gd name="connsiteY8" fmla="*/ 2784130 h 6115087"/>
                <a:gd name="connsiteX9" fmla="*/ 1468588 w 5595114"/>
                <a:gd name="connsiteY9" fmla="*/ 22048 h 611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5114" h="6115087">
                  <a:moveTo>
                    <a:pt x="1504880" y="0"/>
                  </a:moveTo>
                  <a:lnTo>
                    <a:pt x="5157035" y="0"/>
                  </a:lnTo>
                  <a:lnTo>
                    <a:pt x="5193327" y="22048"/>
                  </a:lnTo>
                  <a:cubicBezTo>
                    <a:pt x="5281931" y="81908"/>
                    <a:pt x="5367500" y="145919"/>
                    <a:pt x="5449755" y="213802"/>
                  </a:cubicBezTo>
                  <a:lnTo>
                    <a:pt x="5595114" y="345913"/>
                  </a:lnTo>
                  <a:lnTo>
                    <a:pt x="5595114" y="5222347"/>
                  </a:lnTo>
                  <a:lnTo>
                    <a:pt x="5449755" y="5354459"/>
                  </a:lnTo>
                  <a:cubicBezTo>
                    <a:pt x="4873969" y="5829639"/>
                    <a:pt x="4135798" y="6115087"/>
                    <a:pt x="3330957" y="6115087"/>
                  </a:cubicBezTo>
                  <a:cubicBezTo>
                    <a:pt x="1491320" y="6115087"/>
                    <a:pt x="0" y="4623767"/>
                    <a:pt x="0" y="2784130"/>
                  </a:cubicBezTo>
                  <a:cubicBezTo>
                    <a:pt x="0" y="1634357"/>
                    <a:pt x="582547" y="620645"/>
                    <a:pt x="1468588" y="22048"/>
                  </a:cubicBezTo>
                  <a:close/>
                </a:path>
              </a:pathLst>
            </a:custGeom>
            <a:solidFill>
              <a:srgbClr val="DADAD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rgbClr val="DADADA"/>
                </a:solidFill>
              </a:endParaRPr>
            </a:p>
          </p:txBody>
        </p:sp>
        <p:sp>
          <p:nvSpPr>
            <p:cNvPr id="23" name="Freeform: Shape 22">
              <a:extLst>
                <a:ext uri="{FF2B5EF4-FFF2-40B4-BE49-F238E27FC236}">
                  <a16:creationId xmlns:a16="http://schemas.microsoft.com/office/drawing/2014/main" id="{CEF44984-8F7A-8C11-AE43-676924BE717A}"/>
                </a:ext>
              </a:extLst>
            </p:cNvPr>
            <p:cNvSpPr>
              <a:spLocks noGrp="1" noRot="1" noMove="1" noResize="1" noEditPoints="1" noAdjustHandles="1" noChangeArrowheads="1" noChangeShapeType="1"/>
            </p:cNvSpPr>
            <p:nvPr userDrawn="1"/>
          </p:nvSpPr>
          <p:spPr>
            <a:xfrm>
              <a:off x="7172234" y="28520"/>
              <a:ext cx="5019767" cy="5511220"/>
            </a:xfrm>
            <a:custGeom>
              <a:avLst/>
              <a:gdLst>
                <a:gd name="connsiteX0" fmla="*/ 2755610 w 5019767"/>
                <a:gd name="connsiteY0" fmla="*/ 0 h 5511220"/>
                <a:gd name="connsiteX1" fmla="*/ 4881972 w 5019767"/>
                <a:gd name="connsiteY1" fmla="*/ 1002786 h 5511220"/>
                <a:gd name="connsiteX2" fmla="*/ 5019767 w 5019767"/>
                <a:gd name="connsiteY2" fmla="*/ 1187056 h 5511220"/>
                <a:gd name="connsiteX3" fmla="*/ 5019767 w 5019767"/>
                <a:gd name="connsiteY3" fmla="*/ 4324164 h 5511220"/>
                <a:gd name="connsiteX4" fmla="*/ 4881972 w 5019767"/>
                <a:gd name="connsiteY4" fmla="*/ 4508434 h 5511220"/>
                <a:gd name="connsiteX5" fmla="*/ 2755610 w 5019767"/>
                <a:gd name="connsiteY5" fmla="*/ 5511220 h 5511220"/>
                <a:gd name="connsiteX6" fmla="*/ 0 w 5019767"/>
                <a:gd name="connsiteY6" fmla="*/ 2755610 h 5511220"/>
                <a:gd name="connsiteX7" fmla="*/ 2755610 w 5019767"/>
                <a:gd name="connsiteY7" fmla="*/ 0 h 5511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19767" h="5511220">
                  <a:moveTo>
                    <a:pt x="2755610" y="0"/>
                  </a:moveTo>
                  <a:cubicBezTo>
                    <a:pt x="3611668" y="0"/>
                    <a:pt x="4376553" y="390360"/>
                    <a:pt x="4881972" y="1002786"/>
                  </a:cubicBezTo>
                  <a:lnTo>
                    <a:pt x="5019767" y="1187056"/>
                  </a:lnTo>
                  <a:lnTo>
                    <a:pt x="5019767" y="4324164"/>
                  </a:lnTo>
                  <a:lnTo>
                    <a:pt x="4881972" y="4508434"/>
                  </a:lnTo>
                  <a:cubicBezTo>
                    <a:pt x="4376553" y="5120861"/>
                    <a:pt x="3611668" y="5511220"/>
                    <a:pt x="2755610" y="5511220"/>
                  </a:cubicBezTo>
                  <a:cubicBezTo>
                    <a:pt x="1233729" y="5511220"/>
                    <a:pt x="0" y="4277491"/>
                    <a:pt x="0" y="2755610"/>
                  </a:cubicBezTo>
                  <a:cubicBezTo>
                    <a:pt x="0" y="1233729"/>
                    <a:pt x="1233729" y="0"/>
                    <a:pt x="2755610"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sp>
        <p:nvSpPr>
          <p:cNvPr id="9" name="Copyright Line">
            <a:extLst>
              <a:ext uri="{FF2B5EF4-FFF2-40B4-BE49-F238E27FC236}">
                <a16:creationId xmlns:a16="http://schemas.microsoft.com/office/drawing/2014/main" id="{D2389545-B6D7-497B-37D4-C8C4C52F8A14}"/>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5" name="Confidential disclaimer">
            <a:extLst>
              <a:ext uri="{FF2B5EF4-FFF2-40B4-BE49-F238E27FC236}">
                <a16:creationId xmlns:a16="http://schemas.microsoft.com/office/drawing/2014/main" id="{0B3A39F8-8D7C-C8DD-497D-7F28EC8D8B6D}"/>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26" name="Footer Placeholder">
            <a:extLst>
              <a:ext uri="{FF2B5EF4-FFF2-40B4-BE49-F238E27FC236}">
                <a16:creationId xmlns:a16="http://schemas.microsoft.com/office/drawing/2014/main" id="{82B2F640-F33B-8BC7-0A7C-2CC5589C1730}"/>
              </a:ext>
            </a:extLst>
          </p:cNvPr>
          <p:cNvSpPr>
            <a:spLocks noGrp="1" noRot="1" noMove="1" noResize="1" noEditPoints="1" noAdjustHandles="1" noChangeArrowheads="1" noChangeShapeType="1"/>
          </p:cNvSpPr>
          <p:nvPr>
            <p:ph type="ftr" sz="quarter" idx="15"/>
          </p:nvPr>
        </p:nvSpPr>
        <p:spPr>
          <a:xfrm>
            <a:off x="3251195" y="6485399"/>
            <a:ext cx="3716341" cy="282957"/>
          </a:xfrm>
        </p:spPr>
        <p:txBody>
          <a:bodyPr/>
          <a:lstStyle>
            <a:lvl1pPr algn="l">
              <a:defRPr/>
            </a:lvl1pPr>
          </a:lstStyle>
          <a:p>
            <a:endParaRPr lang="en-GB"/>
          </a:p>
        </p:txBody>
      </p:sp>
      <p:sp>
        <p:nvSpPr>
          <p:cNvPr id="25" name="Picture Placeholder">
            <a:extLst>
              <a:ext uri="{FF2B5EF4-FFF2-40B4-BE49-F238E27FC236}">
                <a16:creationId xmlns:a16="http://schemas.microsoft.com/office/drawing/2014/main" id="{278BDEAF-4B5A-EDEC-5FBB-5BDC0B1311E4}"/>
              </a:ext>
            </a:extLst>
          </p:cNvPr>
          <p:cNvSpPr>
            <a:spLocks noGrp="1" noRot="1" noMove="1" noResize="1" noEditPoints="1" noAdjustHandles="1" noChangeArrowheads="1" noChangeShapeType="1"/>
          </p:cNvSpPr>
          <p:nvPr>
            <p:ph type="pic" sz="quarter" idx="12" hasCustomPrompt="1"/>
          </p:nvPr>
        </p:nvSpPr>
        <p:spPr>
          <a:xfrm>
            <a:off x="7465671" y="321957"/>
            <a:ext cx="4726329" cy="4924346"/>
          </a:xfrm>
          <a:custGeom>
            <a:avLst/>
            <a:gdLst>
              <a:gd name="connsiteX0" fmla="*/ 2462173 w 4726329"/>
              <a:gd name="connsiteY0" fmla="*/ 0 h 4924346"/>
              <a:gd name="connsiteX1" fmla="*/ 4627175 w 4726329"/>
              <a:gd name="connsiteY1" fmla="*/ 1288555 h 4924346"/>
              <a:gd name="connsiteX2" fmla="*/ 4726329 w 4726329"/>
              <a:gd name="connsiteY2" fmla="*/ 1494386 h 4924346"/>
              <a:gd name="connsiteX3" fmla="*/ 4726329 w 4726329"/>
              <a:gd name="connsiteY3" fmla="*/ 3429960 h 4924346"/>
              <a:gd name="connsiteX4" fmla="*/ 4627175 w 4726329"/>
              <a:gd name="connsiteY4" fmla="*/ 3635791 h 4924346"/>
              <a:gd name="connsiteX5" fmla="*/ 2462173 w 4726329"/>
              <a:gd name="connsiteY5" fmla="*/ 4924346 h 4924346"/>
              <a:gd name="connsiteX6" fmla="*/ 0 w 4726329"/>
              <a:gd name="connsiteY6" fmla="*/ 2462173 h 4924346"/>
              <a:gd name="connsiteX7" fmla="*/ 2462173 w 4726329"/>
              <a:gd name="connsiteY7" fmla="*/ 0 h 4924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6329" h="4924346">
                <a:moveTo>
                  <a:pt x="2462173" y="0"/>
                </a:moveTo>
                <a:cubicBezTo>
                  <a:pt x="3397050" y="0"/>
                  <a:pt x="4210233" y="521034"/>
                  <a:pt x="4627175" y="1288555"/>
                </a:cubicBezTo>
                <a:lnTo>
                  <a:pt x="4726329" y="1494386"/>
                </a:lnTo>
                <a:lnTo>
                  <a:pt x="4726329" y="3429960"/>
                </a:lnTo>
                <a:lnTo>
                  <a:pt x="4627175" y="3635791"/>
                </a:lnTo>
                <a:cubicBezTo>
                  <a:pt x="4210233" y="4403313"/>
                  <a:pt x="3397050" y="4924346"/>
                  <a:pt x="2462173" y="4924346"/>
                </a:cubicBezTo>
                <a:cubicBezTo>
                  <a:pt x="1102352" y="4924346"/>
                  <a:pt x="0" y="3821994"/>
                  <a:pt x="0" y="2462173"/>
                </a:cubicBezTo>
                <a:cubicBezTo>
                  <a:pt x="0" y="1102352"/>
                  <a:pt x="1102352" y="0"/>
                  <a:pt x="2462173" y="0"/>
                </a:cubicBezTo>
                <a:close/>
              </a:path>
            </a:pathLst>
          </a:custGeom>
          <a:solidFill>
            <a:srgbClr val="777777"/>
          </a:solidFill>
        </p:spPr>
        <p:txBody>
          <a:bodyPr wrap="square" anchor="ctr" anchorCtr="1">
            <a:noAutofit/>
          </a:bodyPr>
          <a:lstStyle>
            <a:lvl1pPr marL="0" indent="0" algn="ctr">
              <a:buNone/>
              <a:defRPr>
                <a:solidFill>
                  <a:srgbClr val="FFFFFF"/>
                </a:solidFill>
              </a:defRPr>
            </a:lvl1pPr>
          </a:lstStyle>
          <a:p>
            <a:r>
              <a:rPr lang="en-US"/>
              <a:t>Click picture icon to add photo</a:t>
            </a:r>
          </a:p>
        </p:txBody>
      </p:sp>
      <p:sp>
        <p:nvSpPr>
          <p:cNvPr id="11" name="Date Placeholder">
            <a:extLst>
              <a:ext uri="{FF2B5EF4-FFF2-40B4-BE49-F238E27FC236}">
                <a16:creationId xmlns:a16="http://schemas.microsoft.com/office/drawing/2014/main" id="{56FDEAC7-8736-5846-42B8-66DC00FA3B94}"/>
              </a:ext>
            </a:extLst>
          </p:cNvPr>
          <p:cNvSpPr>
            <a:spLocks noGrp="1" noRot="1" noMove="1" noResize="1" noEditPoints="1" noAdjustHandles="1" noChangeArrowheads="1" noChangeShapeType="1"/>
          </p:cNvSpPr>
          <p:nvPr>
            <p:ph type="dt" sz="half" idx="14"/>
          </p:nvPr>
        </p:nvSpPr>
        <p:spPr>
          <a:xfrm>
            <a:off x="292100" y="5036705"/>
            <a:ext cx="1744664" cy="282957"/>
          </a:xfrm>
        </p:spPr>
        <p:txBody>
          <a:bodyPr/>
          <a:lstStyle>
            <a:lvl1pPr>
              <a:defRPr sz="1200">
                <a:solidFill>
                  <a:srgbClr val="555555"/>
                </a:solidFill>
              </a:defRPr>
            </a:lvl1pPr>
          </a:lstStyle>
          <a:p>
            <a:fld id="{1C2394C5-9FC7-4913-9E8E-D41BCF75875A}" type="datetime1">
              <a:rPr lang="en-GB" smtClean="0"/>
              <a:t>18/11/2024</a:t>
            </a:fld>
            <a:endParaRPr lang="en-GB"/>
          </a:p>
        </p:txBody>
      </p:sp>
      <p:sp>
        <p:nvSpPr>
          <p:cNvPr id="3" name="Title/Dept Placeholder">
            <a:extLst>
              <a:ext uri="{FF2B5EF4-FFF2-40B4-BE49-F238E27FC236}">
                <a16:creationId xmlns:a16="http://schemas.microsoft.com/office/drawing/2014/main" id="{F49547DD-E825-E7A3-C48A-64AA78C199D4}"/>
              </a:ext>
            </a:extLst>
          </p:cNvPr>
          <p:cNvSpPr>
            <a:spLocks noGrp="1" noRot="1" noMove="1" noResize="1" noEditPoints="1" noAdjustHandles="1" noChangeArrowheads="1" noChangeShapeType="1"/>
          </p:cNvSpPr>
          <p:nvPr>
            <p:ph type="body" sz="quarter" idx="11" hasCustomPrompt="1"/>
          </p:nvPr>
        </p:nvSpPr>
        <p:spPr>
          <a:xfrm>
            <a:off x="292100" y="4560602"/>
            <a:ext cx="6689728" cy="344385"/>
          </a:xfrm>
        </p:spPr>
        <p:txBody>
          <a:bodyPr tIns="0" bIns="0">
            <a:noAutofit/>
          </a:bodyPr>
          <a:lstStyle>
            <a:lvl1pPr marL="0" indent="0">
              <a:lnSpc>
                <a:spcPct val="100000"/>
              </a:lnSpc>
              <a:spcBef>
                <a:spcPts val="0"/>
              </a:spcBef>
              <a:spcAft>
                <a:spcPts val="0"/>
              </a:spcAft>
              <a:buNone/>
              <a:defRPr sz="1200" b="0">
                <a:solidFill>
                  <a:srgbClr val="555555"/>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2" name="Presenter Name Placeholder">
            <a:extLst>
              <a:ext uri="{FF2B5EF4-FFF2-40B4-BE49-F238E27FC236}">
                <a16:creationId xmlns:a16="http://schemas.microsoft.com/office/drawing/2014/main" id="{5A598B2A-BB91-C356-7BCC-18D04DA85A8D}"/>
              </a:ext>
            </a:extLst>
          </p:cNvPr>
          <p:cNvSpPr>
            <a:spLocks noGrp="1" noRot="1" noMove="1" noResize="1" noEditPoints="1" noAdjustHandles="1" noChangeArrowheads="1" noChangeShapeType="1"/>
          </p:cNvSpPr>
          <p:nvPr>
            <p:ph type="body" sz="quarter" idx="10" hasCustomPrompt="1"/>
          </p:nvPr>
        </p:nvSpPr>
        <p:spPr>
          <a:xfrm>
            <a:off x="292100" y="4192468"/>
            <a:ext cx="6689728" cy="344384"/>
          </a:xfrm>
        </p:spPr>
        <p:txBody>
          <a:bodyPr tIns="0" bIns="0" anchor="b" anchorCtr="0">
            <a:noAutofit/>
          </a:bodyPr>
          <a:lstStyle>
            <a:lvl1pPr marL="0" indent="0">
              <a:lnSpc>
                <a:spcPct val="100000"/>
              </a:lnSpc>
              <a:spcBef>
                <a:spcPts val="0"/>
              </a:spcBef>
              <a:spcAft>
                <a:spcPts val="0"/>
              </a:spcAft>
              <a:buNone/>
              <a:defRPr sz="1200" b="1">
                <a:solidFill>
                  <a:srgbClr val="555555"/>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8" name="Subtitle Placeholder">
            <a:extLst>
              <a:ext uri="{FF2B5EF4-FFF2-40B4-BE49-F238E27FC236}">
                <a16:creationId xmlns:a16="http://schemas.microsoft.com/office/drawing/2014/main" id="{23B6A8FC-C3C4-F7DA-BF00-D56866D5808E}"/>
              </a:ext>
            </a:extLst>
          </p:cNvPr>
          <p:cNvSpPr>
            <a:spLocks noGrp="1" noRot="1" noMove="1" noResize="1" noEditPoints="1" noAdjustHandles="1" noChangeArrowheads="1" noChangeShapeType="1"/>
          </p:cNvSpPr>
          <p:nvPr>
            <p:ph type="subTitle" idx="1"/>
          </p:nvPr>
        </p:nvSpPr>
        <p:spPr>
          <a:xfrm>
            <a:off x="292100" y="3114710"/>
            <a:ext cx="6689729" cy="837882"/>
          </a:xfrm>
        </p:spPr>
        <p:txBody>
          <a:bodyPr>
            <a:noAutofit/>
          </a:bodyPr>
          <a:lstStyle>
            <a:lvl1pPr marL="0" indent="0" algn="l">
              <a:spcBef>
                <a:spcPts val="0"/>
              </a:spcBef>
              <a:spcAft>
                <a:spcPts val="0"/>
              </a:spcAft>
              <a:buNone/>
              <a:defRPr sz="2000">
                <a:solidFill>
                  <a:srgbClr val="55555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Title Placeholder">
            <a:extLst>
              <a:ext uri="{FF2B5EF4-FFF2-40B4-BE49-F238E27FC236}">
                <a16:creationId xmlns:a16="http://schemas.microsoft.com/office/drawing/2014/main" id="{615225DC-38B1-15E3-05E6-88F5A6B976CF}"/>
              </a:ext>
            </a:extLst>
          </p:cNvPr>
          <p:cNvSpPr>
            <a:spLocks noGrp="1" noRot="1" noMove="1" noResize="1" noEditPoints="1" noAdjustHandles="1" noChangeArrowheads="1" noChangeShapeType="1"/>
          </p:cNvSpPr>
          <p:nvPr>
            <p:ph type="ctrTitle" hasCustomPrompt="1"/>
          </p:nvPr>
        </p:nvSpPr>
        <p:spPr>
          <a:xfrm>
            <a:off x="292100" y="654818"/>
            <a:ext cx="6689729" cy="2387600"/>
          </a:xfrm>
          <a:prstGeom prst="rect">
            <a:avLst/>
          </a:prstGeom>
        </p:spPr>
        <p:txBody>
          <a:bodyPr anchor="b">
            <a:noAutofit/>
          </a:bodyPr>
          <a:lstStyle>
            <a:lvl1pPr algn="l">
              <a:defRPr sz="4400">
                <a:solidFill>
                  <a:srgbClr val="555555"/>
                </a:solidFill>
              </a:defRPr>
            </a:lvl1pPr>
          </a:lstStyle>
          <a:p>
            <a:r>
              <a:rPr lang="en-US"/>
              <a:t>Insert your presentation title here maximum of three lines</a:t>
            </a:r>
          </a:p>
        </p:txBody>
      </p:sp>
      <p:pic>
        <p:nvPicPr>
          <p:cNvPr id="7" name="NielsenIQ GFK lockup" hidden="1">
            <a:extLst>
              <a:ext uri="{FF2B5EF4-FFF2-40B4-BE49-F238E27FC236}">
                <a16:creationId xmlns:a16="http://schemas.microsoft.com/office/drawing/2014/main" id="{0FDFD67B-3477-8375-7F26-D08E6067C995}"/>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6122" y="5539740"/>
            <a:ext cx="3377876" cy="753596"/>
          </a:xfrm>
          <a:prstGeom prst="rect">
            <a:avLst/>
          </a:prstGeom>
        </p:spPr>
      </p:pic>
      <p:pic>
        <p:nvPicPr>
          <p:cNvPr id="14" name="NielsenIQ logo+wordmark" descr="A blue text on a black background&#10;&#10;Description automatically generated" hidden="1">
            <a:extLst>
              <a:ext uri="{FF2B5EF4-FFF2-40B4-BE49-F238E27FC236}">
                <a16:creationId xmlns:a16="http://schemas.microsoft.com/office/drawing/2014/main" id="{C8F8171E-1658-79B9-9EAC-E88E789EA287}"/>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tretch>
            <a:fillRect/>
          </a:stretch>
        </p:blipFill>
        <p:spPr>
          <a:xfrm>
            <a:off x="288558" y="5563212"/>
            <a:ext cx="2155411" cy="743616"/>
          </a:xfrm>
          <a:prstGeom prst="rect">
            <a:avLst/>
          </a:prstGeom>
        </p:spPr>
      </p:pic>
      <p:sp>
        <p:nvSpPr>
          <p:cNvPr id="22" name="Nielsen wordmark">
            <a:extLst>
              <a:ext uri="{FF2B5EF4-FFF2-40B4-BE49-F238E27FC236}">
                <a16:creationId xmlns:a16="http://schemas.microsoft.com/office/drawing/2014/main" id="{D75B41C8-8FEA-463D-AB87-6F4962F7D5EE}"/>
              </a:ext>
            </a:extLst>
          </p:cNvPr>
          <p:cNvSpPr>
            <a:spLocks noGrp="1" noRot="1" noMove="1" noResize="1" noEditPoints="1" noAdjustHandles="1" noChangeArrowheads="1" noChangeShapeType="1"/>
          </p:cNvSpPr>
          <p:nvPr/>
        </p:nvSpPr>
        <p:spPr>
          <a:xfrm>
            <a:off x="295274" y="5686380"/>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accent1"/>
          </a:solidFill>
          <a:ln w="774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218544244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Cover Photo Circle Blue">
    <p:spTree>
      <p:nvGrpSpPr>
        <p:cNvPr id="1" name=""/>
        <p:cNvGrpSpPr/>
        <p:nvPr/>
      </p:nvGrpSpPr>
      <p:grpSpPr>
        <a:xfrm>
          <a:off x="0" y="0"/>
          <a:ext cx="0" cy="0"/>
          <a:chOff x="0" y="0"/>
          <a:chExt cx="0" cy="0"/>
        </a:xfrm>
      </p:grpSpPr>
      <p:sp>
        <p:nvSpPr>
          <p:cNvPr id="29" name="Static Light Bkgd">
            <a:extLst>
              <a:ext uri="{FF2B5EF4-FFF2-40B4-BE49-F238E27FC236}">
                <a16:creationId xmlns:a16="http://schemas.microsoft.com/office/drawing/2014/main" id="{EE705342-7994-AFF3-15FD-F6FDEC9AE6B0}"/>
              </a:ext>
            </a:extLst>
          </p:cNvPr>
          <p:cNvSpPr>
            <a:spLocks noGrp="1" noRot="1" noMove="1" noResize="1" noEditPoints="1" noAdjustHandles="1" noChangeArrowheads="1" noChangeShapeType="1"/>
          </p:cNvSpPr>
          <p:nvPr userDrawn="1"/>
        </p:nvSpPr>
        <p:spPr>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Photo Accent Circles">
            <a:extLst>
              <a:ext uri="{FF2B5EF4-FFF2-40B4-BE49-F238E27FC236}">
                <a16:creationId xmlns:a16="http://schemas.microsoft.com/office/drawing/2014/main" id="{142AC587-6F39-6154-A37A-868A63F4F005}"/>
              </a:ext>
            </a:extLst>
          </p:cNvPr>
          <p:cNvGrpSpPr>
            <a:grpSpLocks noGrp="1" noUngrp="1" noRot="1" noMove="1" noResize="1"/>
          </p:cNvGrpSpPr>
          <p:nvPr userDrawn="1"/>
        </p:nvGrpSpPr>
        <p:grpSpPr>
          <a:xfrm>
            <a:off x="5942370" y="1"/>
            <a:ext cx="6249631" cy="6778171"/>
            <a:chOff x="5942370" y="1"/>
            <a:chExt cx="6249631" cy="6778171"/>
          </a:xfrm>
        </p:grpSpPr>
        <p:sp>
          <p:nvSpPr>
            <p:cNvPr id="28" name="Freeform: Shape 27">
              <a:extLst>
                <a:ext uri="{FF2B5EF4-FFF2-40B4-BE49-F238E27FC236}">
                  <a16:creationId xmlns:a16="http://schemas.microsoft.com/office/drawing/2014/main" id="{41DBC157-DD06-141E-B188-1EB8D24163C1}"/>
                </a:ext>
              </a:extLst>
            </p:cNvPr>
            <p:cNvSpPr>
              <a:spLocks noGrp="1" noRot="1" noMove="1" noResize="1" noEditPoints="1" noAdjustHandles="1" noChangeArrowheads="1" noChangeShapeType="1"/>
            </p:cNvSpPr>
            <p:nvPr userDrawn="1"/>
          </p:nvSpPr>
          <p:spPr>
            <a:xfrm>
              <a:off x="5942370" y="1"/>
              <a:ext cx="6249631" cy="6778171"/>
            </a:xfrm>
            <a:custGeom>
              <a:avLst/>
              <a:gdLst>
                <a:gd name="connsiteX0" fmla="*/ 1133398 w 6249631"/>
                <a:gd name="connsiteY0" fmla="*/ 0 h 6778171"/>
                <a:gd name="connsiteX1" fmla="*/ 6249631 w 6249631"/>
                <a:gd name="connsiteY1" fmla="*/ 0 h 6778171"/>
                <a:gd name="connsiteX2" fmla="*/ 6249631 w 6249631"/>
                <a:gd name="connsiteY2" fmla="*/ 6079239 h 6778171"/>
                <a:gd name="connsiteX3" fmla="*/ 6227147 w 6249631"/>
                <a:gd name="connsiteY3" fmla="*/ 6096052 h 6778171"/>
                <a:gd name="connsiteX4" fmla="*/ 3994041 w 6249631"/>
                <a:gd name="connsiteY4" fmla="*/ 6778171 h 6778171"/>
                <a:gd name="connsiteX5" fmla="*/ 0 w 6249631"/>
                <a:gd name="connsiteY5" fmla="*/ 2784130 h 6778171"/>
                <a:gd name="connsiteX6" fmla="*/ 912045 w 6249631"/>
                <a:gd name="connsiteY6" fmla="*/ 243549 h 6778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9631" h="6778171">
                  <a:moveTo>
                    <a:pt x="1133398" y="0"/>
                  </a:moveTo>
                  <a:lnTo>
                    <a:pt x="6249631" y="0"/>
                  </a:lnTo>
                  <a:lnTo>
                    <a:pt x="6249631" y="6079239"/>
                  </a:lnTo>
                  <a:lnTo>
                    <a:pt x="6227147" y="6096052"/>
                  </a:lnTo>
                  <a:cubicBezTo>
                    <a:pt x="5589694" y="6526707"/>
                    <a:pt x="4821234" y="6778171"/>
                    <a:pt x="3994041" y="6778171"/>
                  </a:cubicBezTo>
                  <a:cubicBezTo>
                    <a:pt x="1788193" y="6778171"/>
                    <a:pt x="0" y="4989978"/>
                    <a:pt x="0" y="2784130"/>
                  </a:cubicBezTo>
                  <a:cubicBezTo>
                    <a:pt x="0" y="1819072"/>
                    <a:pt x="342272" y="933955"/>
                    <a:pt x="912045" y="243549"/>
                  </a:cubicBezTo>
                  <a:close/>
                </a:path>
              </a:pathLst>
            </a:custGeom>
            <a:solidFill>
              <a:srgbClr val="0A52ED"/>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a:p>
          </p:txBody>
        </p:sp>
        <p:sp>
          <p:nvSpPr>
            <p:cNvPr id="21" name="Freeform: Shape 20">
              <a:extLst>
                <a:ext uri="{FF2B5EF4-FFF2-40B4-BE49-F238E27FC236}">
                  <a16:creationId xmlns:a16="http://schemas.microsoft.com/office/drawing/2014/main" id="{95D9CB59-0278-69D3-1B88-9D97D9D9BF66}"/>
                </a:ext>
              </a:extLst>
            </p:cNvPr>
            <p:cNvSpPr>
              <a:spLocks noGrp="1" noRot="1" noMove="1" noResize="1" noEditPoints="1" noAdjustHandles="1" noChangeArrowheads="1" noChangeShapeType="1"/>
            </p:cNvSpPr>
            <p:nvPr userDrawn="1"/>
          </p:nvSpPr>
          <p:spPr>
            <a:xfrm>
              <a:off x="6596886" y="1"/>
              <a:ext cx="5595114" cy="6115087"/>
            </a:xfrm>
            <a:custGeom>
              <a:avLst/>
              <a:gdLst>
                <a:gd name="connsiteX0" fmla="*/ 1504880 w 5595114"/>
                <a:gd name="connsiteY0" fmla="*/ 0 h 6115087"/>
                <a:gd name="connsiteX1" fmla="*/ 5157035 w 5595114"/>
                <a:gd name="connsiteY1" fmla="*/ 0 h 6115087"/>
                <a:gd name="connsiteX2" fmla="*/ 5193327 w 5595114"/>
                <a:gd name="connsiteY2" fmla="*/ 22048 h 6115087"/>
                <a:gd name="connsiteX3" fmla="*/ 5449755 w 5595114"/>
                <a:gd name="connsiteY3" fmla="*/ 213802 h 6115087"/>
                <a:gd name="connsiteX4" fmla="*/ 5595114 w 5595114"/>
                <a:gd name="connsiteY4" fmla="*/ 345913 h 6115087"/>
                <a:gd name="connsiteX5" fmla="*/ 5595114 w 5595114"/>
                <a:gd name="connsiteY5" fmla="*/ 5222347 h 6115087"/>
                <a:gd name="connsiteX6" fmla="*/ 5449755 w 5595114"/>
                <a:gd name="connsiteY6" fmla="*/ 5354459 h 6115087"/>
                <a:gd name="connsiteX7" fmla="*/ 3330957 w 5595114"/>
                <a:gd name="connsiteY7" fmla="*/ 6115087 h 6115087"/>
                <a:gd name="connsiteX8" fmla="*/ 0 w 5595114"/>
                <a:gd name="connsiteY8" fmla="*/ 2784130 h 6115087"/>
                <a:gd name="connsiteX9" fmla="*/ 1468588 w 5595114"/>
                <a:gd name="connsiteY9" fmla="*/ 22048 h 611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5114" h="6115087">
                  <a:moveTo>
                    <a:pt x="1504880" y="0"/>
                  </a:moveTo>
                  <a:lnTo>
                    <a:pt x="5157035" y="0"/>
                  </a:lnTo>
                  <a:lnTo>
                    <a:pt x="5193327" y="22048"/>
                  </a:lnTo>
                  <a:cubicBezTo>
                    <a:pt x="5281931" y="81908"/>
                    <a:pt x="5367500" y="145919"/>
                    <a:pt x="5449755" y="213802"/>
                  </a:cubicBezTo>
                  <a:lnTo>
                    <a:pt x="5595114" y="345913"/>
                  </a:lnTo>
                  <a:lnTo>
                    <a:pt x="5595114" y="5222347"/>
                  </a:lnTo>
                  <a:lnTo>
                    <a:pt x="5449755" y="5354459"/>
                  </a:lnTo>
                  <a:cubicBezTo>
                    <a:pt x="4873969" y="5829639"/>
                    <a:pt x="4135798" y="6115087"/>
                    <a:pt x="3330957" y="6115087"/>
                  </a:cubicBezTo>
                  <a:cubicBezTo>
                    <a:pt x="1491320" y="6115087"/>
                    <a:pt x="0" y="4623767"/>
                    <a:pt x="0" y="2784130"/>
                  </a:cubicBezTo>
                  <a:cubicBezTo>
                    <a:pt x="0" y="1634357"/>
                    <a:pt x="582547" y="620645"/>
                    <a:pt x="1468588" y="22048"/>
                  </a:cubicBezTo>
                  <a:close/>
                </a:path>
              </a:pathLst>
            </a:custGeom>
            <a:solidFill>
              <a:srgbClr val="0946C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rgbClr val="DADADA"/>
                </a:solidFill>
              </a:endParaRPr>
            </a:p>
          </p:txBody>
        </p:sp>
        <p:sp>
          <p:nvSpPr>
            <p:cNvPr id="23" name="Freeform: Shape 22">
              <a:extLst>
                <a:ext uri="{FF2B5EF4-FFF2-40B4-BE49-F238E27FC236}">
                  <a16:creationId xmlns:a16="http://schemas.microsoft.com/office/drawing/2014/main" id="{CEF44984-8F7A-8C11-AE43-676924BE717A}"/>
                </a:ext>
              </a:extLst>
            </p:cNvPr>
            <p:cNvSpPr>
              <a:spLocks noGrp="1" noRot="1" noMove="1" noResize="1" noEditPoints="1" noAdjustHandles="1" noChangeArrowheads="1" noChangeShapeType="1"/>
            </p:cNvSpPr>
            <p:nvPr userDrawn="1"/>
          </p:nvSpPr>
          <p:spPr>
            <a:xfrm>
              <a:off x="7172234" y="28520"/>
              <a:ext cx="5019767" cy="5511220"/>
            </a:xfrm>
            <a:custGeom>
              <a:avLst/>
              <a:gdLst>
                <a:gd name="connsiteX0" fmla="*/ 2755610 w 5019767"/>
                <a:gd name="connsiteY0" fmla="*/ 0 h 5511220"/>
                <a:gd name="connsiteX1" fmla="*/ 4881972 w 5019767"/>
                <a:gd name="connsiteY1" fmla="*/ 1002786 h 5511220"/>
                <a:gd name="connsiteX2" fmla="*/ 5019767 w 5019767"/>
                <a:gd name="connsiteY2" fmla="*/ 1187056 h 5511220"/>
                <a:gd name="connsiteX3" fmla="*/ 5019767 w 5019767"/>
                <a:gd name="connsiteY3" fmla="*/ 4324164 h 5511220"/>
                <a:gd name="connsiteX4" fmla="*/ 4881972 w 5019767"/>
                <a:gd name="connsiteY4" fmla="*/ 4508434 h 5511220"/>
                <a:gd name="connsiteX5" fmla="*/ 2755610 w 5019767"/>
                <a:gd name="connsiteY5" fmla="*/ 5511220 h 5511220"/>
                <a:gd name="connsiteX6" fmla="*/ 0 w 5019767"/>
                <a:gd name="connsiteY6" fmla="*/ 2755610 h 5511220"/>
                <a:gd name="connsiteX7" fmla="*/ 2755610 w 5019767"/>
                <a:gd name="connsiteY7" fmla="*/ 0 h 5511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19767" h="5511220">
                  <a:moveTo>
                    <a:pt x="2755610" y="0"/>
                  </a:moveTo>
                  <a:cubicBezTo>
                    <a:pt x="3611668" y="0"/>
                    <a:pt x="4376553" y="390360"/>
                    <a:pt x="4881972" y="1002786"/>
                  </a:cubicBezTo>
                  <a:lnTo>
                    <a:pt x="5019767" y="1187056"/>
                  </a:lnTo>
                  <a:lnTo>
                    <a:pt x="5019767" y="4324164"/>
                  </a:lnTo>
                  <a:lnTo>
                    <a:pt x="4881972" y="4508434"/>
                  </a:lnTo>
                  <a:cubicBezTo>
                    <a:pt x="4376553" y="5120861"/>
                    <a:pt x="3611668" y="5511220"/>
                    <a:pt x="2755610" y="5511220"/>
                  </a:cubicBezTo>
                  <a:cubicBezTo>
                    <a:pt x="1233729" y="5511220"/>
                    <a:pt x="0" y="4277491"/>
                    <a:pt x="0" y="2755610"/>
                  </a:cubicBezTo>
                  <a:cubicBezTo>
                    <a:pt x="0" y="1233729"/>
                    <a:pt x="1233729" y="0"/>
                    <a:pt x="2755610" y="0"/>
                  </a:cubicBezTo>
                  <a:close/>
                </a:path>
              </a:pathLst>
            </a:custGeom>
            <a:solidFill>
              <a:srgbClr val="073BAC"/>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sp>
        <p:nvSpPr>
          <p:cNvPr id="9" name="Copyright Line">
            <a:extLst>
              <a:ext uri="{FF2B5EF4-FFF2-40B4-BE49-F238E27FC236}">
                <a16:creationId xmlns:a16="http://schemas.microsoft.com/office/drawing/2014/main" id="{D2389545-B6D7-497B-37D4-C8C4C52F8A14}"/>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10" name="Confidential disclaimer">
            <a:extLst>
              <a:ext uri="{FF2B5EF4-FFF2-40B4-BE49-F238E27FC236}">
                <a16:creationId xmlns:a16="http://schemas.microsoft.com/office/drawing/2014/main" id="{8C70182C-829B-A5E4-6775-1B5FA533227D}"/>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5" name="Footer Placeholder">
            <a:extLst>
              <a:ext uri="{FF2B5EF4-FFF2-40B4-BE49-F238E27FC236}">
                <a16:creationId xmlns:a16="http://schemas.microsoft.com/office/drawing/2014/main" id="{30FBF3F0-9A58-D48C-BF4F-1611549E2897}"/>
              </a:ext>
            </a:extLst>
          </p:cNvPr>
          <p:cNvSpPr>
            <a:spLocks noGrp="1" noRot="1" noMove="1" noResize="1" noEditPoints="1" noAdjustHandles="1" noChangeArrowheads="1" noChangeShapeType="1"/>
          </p:cNvSpPr>
          <p:nvPr>
            <p:ph type="ftr" sz="quarter" idx="15"/>
          </p:nvPr>
        </p:nvSpPr>
        <p:spPr/>
        <p:txBody>
          <a:bodyPr/>
          <a:lstStyle>
            <a:lvl1pPr>
              <a:defRPr>
                <a:solidFill>
                  <a:schemeClr val="bg1"/>
                </a:solidFill>
              </a:defRPr>
            </a:lvl1pPr>
          </a:lstStyle>
          <a:p>
            <a:endParaRPr lang="en-GB"/>
          </a:p>
        </p:txBody>
      </p:sp>
      <p:sp>
        <p:nvSpPr>
          <p:cNvPr id="25" name="Picture Placeholder">
            <a:extLst>
              <a:ext uri="{FF2B5EF4-FFF2-40B4-BE49-F238E27FC236}">
                <a16:creationId xmlns:a16="http://schemas.microsoft.com/office/drawing/2014/main" id="{278BDEAF-4B5A-EDEC-5FBB-5BDC0B1311E4}"/>
              </a:ext>
            </a:extLst>
          </p:cNvPr>
          <p:cNvSpPr>
            <a:spLocks noGrp="1" noRot="1" noMove="1" noResize="1" noEditPoints="1" noAdjustHandles="1" noChangeArrowheads="1" noChangeShapeType="1"/>
          </p:cNvSpPr>
          <p:nvPr>
            <p:ph type="pic" sz="quarter" idx="12" hasCustomPrompt="1"/>
          </p:nvPr>
        </p:nvSpPr>
        <p:spPr>
          <a:xfrm>
            <a:off x="7465671" y="321957"/>
            <a:ext cx="4726329" cy="4924346"/>
          </a:xfrm>
          <a:custGeom>
            <a:avLst/>
            <a:gdLst>
              <a:gd name="connsiteX0" fmla="*/ 2462173 w 4726329"/>
              <a:gd name="connsiteY0" fmla="*/ 0 h 4924346"/>
              <a:gd name="connsiteX1" fmla="*/ 4627175 w 4726329"/>
              <a:gd name="connsiteY1" fmla="*/ 1288555 h 4924346"/>
              <a:gd name="connsiteX2" fmla="*/ 4726329 w 4726329"/>
              <a:gd name="connsiteY2" fmla="*/ 1494386 h 4924346"/>
              <a:gd name="connsiteX3" fmla="*/ 4726329 w 4726329"/>
              <a:gd name="connsiteY3" fmla="*/ 3429960 h 4924346"/>
              <a:gd name="connsiteX4" fmla="*/ 4627175 w 4726329"/>
              <a:gd name="connsiteY4" fmla="*/ 3635791 h 4924346"/>
              <a:gd name="connsiteX5" fmla="*/ 2462173 w 4726329"/>
              <a:gd name="connsiteY5" fmla="*/ 4924346 h 4924346"/>
              <a:gd name="connsiteX6" fmla="*/ 0 w 4726329"/>
              <a:gd name="connsiteY6" fmla="*/ 2462173 h 4924346"/>
              <a:gd name="connsiteX7" fmla="*/ 2462173 w 4726329"/>
              <a:gd name="connsiteY7" fmla="*/ 0 h 4924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6329" h="4924346">
                <a:moveTo>
                  <a:pt x="2462173" y="0"/>
                </a:moveTo>
                <a:cubicBezTo>
                  <a:pt x="3397050" y="0"/>
                  <a:pt x="4210233" y="521034"/>
                  <a:pt x="4627175" y="1288555"/>
                </a:cubicBezTo>
                <a:lnTo>
                  <a:pt x="4726329" y="1494386"/>
                </a:lnTo>
                <a:lnTo>
                  <a:pt x="4726329" y="3429960"/>
                </a:lnTo>
                <a:lnTo>
                  <a:pt x="4627175" y="3635791"/>
                </a:lnTo>
                <a:cubicBezTo>
                  <a:pt x="4210233" y="4403313"/>
                  <a:pt x="3397050" y="4924346"/>
                  <a:pt x="2462173" y="4924346"/>
                </a:cubicBezTo>
                <a:cubicBezTo>
                  <a:pt x="1102352" y="4924346"/>
                  <a:pt x="0" y="3821994"/>
                  <a:pt x="0" y="2462173"/>
                </a:cubicBezTo>
                <a:cubicBezTo>
                  <a:pt x="0" y="1102352"/>
                  <a:pt x="1102352" y="0"/>
                  <a:pt x="2462173" y="0"/>
                </a:cubicBezTo>
                <a:close/>
              </a:path>
            </a:pathLst>
          </a:custGeom>
          <a:solidFill>
            <a:srgbClr val="777777"/>
          </a:solidFill>
        </p:spPr>
        <p:txBody>
          <a:bodyPr wrap="square" anchor="ctr" anchorCtr="1">
            <a:noAutofit/>
          </a:bodyPr>
          <a:lstStyle>
            <a:lvl1pPr marL="0" indent="0" algn="ctr">
              <a:buNone/>
              <a:defRPr>
                <a:solidFill>
                  <a:srgbClr val="FFFFFF"/>
                </a:solidFill>
              </a:defRPr>
            </a:lvl1pPr>
          </a:lstStyle>
          <a:p>
            <a:r>
              <a:rPr lang="en-US"/>
              <a:t>Click picture icon to add photo</a:t>
            </a:r>
          </a:p>
        </p:txBody>
      </p:sp>
      <p:sp>
        <p:nvSpPr>
          <p:cNvPr id="11" name="Date Placeholder">
            <a:extLst>
              <a:ext uri="{FF2B5EF4-FFF2-40B4-BE49-F238E27FC236}">
                <a16:creationId xmlns:a16="http://schemas.microsoft.com/office/drawing/2014/main" id="{56FDEAC7-8736-5846-42B8-66DC00FA3B94}"/>
              </a:ext>
            </a:extLst>
          </p:cNvPr>
          <p:cNvSpPr>
            <a:spLocks noGrp="1" noRot="1" noMove="1" noResize="1" noEditPoints="1" noAdjustHandles="1" noChangeArrowheads="1" noChangeShapeType="1"/>
          </p:cNvSpPr>
          <p:nvPr>
            <p:ph type="dt" sz="half" idx="14"/>
          </p:nvPr>
        </p:nvSpPr>
        <p:spPr>
          <a:xfrm>
            <a:off x="292100" y="5036705"/>
            <a:ext cx="1744664" cy="282957"/>
          </a:xfrm>
        </p:spPr>
        <p:txBody>
          <a:bodyPr/>
          <a:lstStyle>
            <a:lvl1pPr>
              <a:defRPr sz="1200">
                <a:solidFill>
                  <a:srgbClr val="FFFFFF"/>
                </a:solidFill>
              </a:defRPr>
            </a:lvl1pPr>
          </a:lstStyle>
          <a:p>
            <a:fld id="{C75F7465-666F-4675-891F-E92434DCB819}" type="datetime1">
              <a:rPr lang="en-GB" smtClean="0"/>
              <a:t>18/11/2024</a:t>
            </a:fld>
            <a:endParaRPr lang="en-GB"/>
          </a:p>
        </p:txBody>
      </p:sp>
      <p:sp>
        <p:nvSpPr>
          <p:cNvPr id="3" name="Title/Dept Placeholder">
            <a:extLst>
              <a:ext uri="{FF2B5EF4-FFF2-40B4-BE49-F238E27FC236}">
                <a16:creationId xmlns:a16="http://schemas.microsoft.com/office/drawing/2014/main" id="{F49547DD-E825-E7A3-C48A-64AA78C199D4}"/>
              </a:ext>
            </a:extLst>
          </p:cNvPr>
          <p:cNvSpPr>
            <a:spLocks noGrp="1" noRot="1" noMove="1" noResize="1" noEditPoints="1" noAdjustHandles="1" noChangeArrowheads="1" noChangeShapeType="1"/>
          </p:cNvSpPr>
          <p:nvPr>
            <p:ph type="body" sz="quarter" idx="11" hasCustomPrompt="1"/>
          </p:nvPr>
        </p:nvSpPr>
        <p:spPr>
          <a:xfrm>
            <a:off x="292100" y="4560602"/>
            <a:ext cx="6689728" cy="344385"/>
          </a:xfrm>
        </p:spPr>
        <p:txBody>
          <a:bodyPr tIns="0" bIns="0">
            <a:noAutofit/>
          </a:bodyPr>
          <a:lstStyle>
            <a:lvl1pPr marL="0" indent="0">
              <a:lnSpc>
                <a:spcPct val="100000"/>
              </a:lnSpc>
              <a:spcBef>
                <a:spcPts val="0"/>
              </a:spcBef>
              <a:spcAft>
                <a:spcPts val="0"/>
              </a:spcAft>
              <a:buNone/>
              <a:defRPr sz="1200" b="0">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2" name="Presenter Name Placeholder">
            <a:extLst>
              <a:ext uri="{FF2B5EF4-FFF2-40B4-BE49-F238E27FC236}">
                <a16:creationId xmlns:a16="http://schemas.microsoft.com/office/drawing/2014/main" id="{5A598B2A-BB91-C356-7BCC-18D04DA85A8D}"/>
              </a:ext>
            </a:extLst>
          </p:cNvPr>
          <p:cNvSpPr>
            <a:spLocks noGrp="1" noRot="1" noMove="1" noResize="1" noEditPoints="1" noAdjustHandles="1" noChangeArrowheads="1" noChangeShapeType="1"/>
          </p:cNvSpPr>
          <p:nvPr>
            <p:ph type="body" sz="quarter" idx="10" hasCustomPrompt="1"/>
          </p:nvPr>
        </p:nvSpPr>
        <p:spPr>
          <a:xfrm>
            <a:off x="292100" y="4192468"/>
            <a:ext cx="6689728" cy="344384"/>
          </a:xfrm>
        </p:spPr>
        <p:txBody>
          <a:bodyPr tIns="0" bIns="0" anchor="b" anchorCtr="0">
            <a:noAutofit/>
          </a:bodyPr>
          <a:lstStyle>
            <a:lvl1pPr marL="0" indent="0">
              <a:lnSpc>
                <a:spcPct val="100000"/>
              </a:lnSpc>
              <a:spcBef>
                <a:spcPts val="0"/>
              </a:spcBef>
              <a:spcAft>
                <a:spcPts val="0"/>
              </a:spcAft>
              <a:buNone/>
              <a:defRPr sz="1200" b="1">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8" name="Subtitle Placeholder">
            <a:extLst>
              <a:ext uri="{FF2B5EF4-FFF2-40B4-BE49-F238E27FC236}">
                <a16:creationId xmlns:a16="http://schemas.microsoft.com/office/drawing/2014/main" id="{23B6A8FC-C3C4-F7DA-BF00-D56866D5808E}"/>
              </a:ext>
            </a:extLst>
          </p:cNvPr>
          <p:cNvSpPr>
            <a:spLocks noGrp="1" noRot="1" noMove="1" noResize="1" noEditPoints="1" noAdjustHandles="1" noChangeArrowheads="1" noChangeShapeType="1"/>
          </p:cNvSpPr>
          <p:nvPr>
            <p:ph type="subTitle" idx="1"/>
          </p:nvPr>
        </p:nvSpPr>
        <p:spPr>
          <a:xfrm>
            <a:off x="292100" y="3114710"/>
            <a:ext cx="6689729" cy="837882"/>
          </a:xfrm>
        </p:spPr>
        <p:txBody>
          <a:bodyPr>
            <a:noAutofit/>
          </a:bodyPr>
          <a:lstStyle>
            <a:lvl1pPr marL="0" indent="0" algn="l">
              <a:spcBef>
                <a:spcPts val="0"/>
              </a:spcBef>
              <a:spcAft>
                <a:spcPts val="0"/>
              </a:spcAft>
              <a:buNone/>
              <a:defRPr sz="20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Title Placeholder">
            <a:extLst>
              <a:ext uri="{FF2B5EF4-FFF2-40B4-BE49-F238E27FC236}">
                <a16:creationId xmlns:a16="http://schemas.microsoft.com/office/drawing/2014/main" id="{615225DC-38B1-15E3-05E6-88F5A6B976CF}"/>
              </a:ext>
            </a:extLst>
          </p:cNvPr>
          <p:cNvSpPr>
            <a:spLocks noGrp="1" noRot="1" noMove="1" noResize="1" noEditPoints="1" noAdjustHandles="1" noChangeArrowheads="1" noChangeShapeType="1"/>
          </p:cNvSpPr>
          <p:nvPr>
            <p:ph type="ctrTitle" hasCustomPrompt="1"/>
          </p:nvPr>
        </p:nvSpPr>
        <p:spPr>
          <a:xfrm>
            <a:off x="292100" y="1214225"/>
            <a:ext cx="6689729" cy="1828193"/>
          </a:xfrm>
          <a:prstGeom prst="rect">
            <a:avLst/>
          </a:prstGeom>
        </p:spPr>
        <p:txBody>
          <a:bodyPr anchor="b">
            <a:noAutofit/>
          </a:bodyPr>
          <a:lstStyle>
            <a:lvl1pPr algn="l">
              <a:defRPr sz="4400">
                <a:solidFill>
                  <a:srgbClr val="FFFFFF"/>
                </a:solidFill>
              </a:defRPr>
            </a:lvl1pPr>
          </a:lstStyle>
          <a:p>
            <a:r>
              <a:rPr lang="en-US"/>
              <a:t>Insert your presentation title here maximum of three lines</a:t>
            </a:r>
          </a:p>
        </p:txBody>
      </p:sp>
      <p:pic>
        <p:nvPicPr>
          <p:cNvPr id="7" name="NielsenIQ GFK lockup" hidden="1">
            <a:extLst>
              <a:ext uri="{FF2B5EF4-FFF2-40B4-BE49-F238E27FC236}">
                <a16:creationId xmlns:a16="http://schemas.microsoft.com/office/drawing/2014/main" id="{38C64FBC-CEA2-AB8D-1C98-40BE4309F854}"/>
              </a:ext>
            </a:extLst>
          </p:cNvPr>
          <p:cNvPicPr>
            <a:picLocks noGrp="1" noRo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86122" y="5539740"/>
            <a:ext cx="3377876" cy="753596"/>
          </a:xfrm>
          <a:prstGeom prst="rect">
            <a:avLst/>
          </a:prstGeom>
        </p:spPr>
      </p:pic>
      <p:pic>
        <p:nvPicPr>
          <p:cNvPr id="14" name="NielsenIQ logo+wordmark" hidden="1">
            <a:extLst>
              <a:ext uri="{FF2B5EF4-FFF2-40B4-BE49-F238E27FC236}">
                <a16:creationId xmlns:a16="http://schemas.microsoft.com/office/drawing/2014/main" id="{4592FCA5-867A-BB8D-E995-7A4C9EC3E96A}"/>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rcRect/>
          <a:stretch/>
        </p:blipFill>
        <p:spPr>
          <a:xfrm>
            <a:off x="288559" y="5563212"/>
            <a:ext cx="2155408" cy="743616"/>
          </a:xfrm>
          <a:prstGeom prst="rect">
            <a:avLst/>
          </a:prstGeom>
        </p:spPr>
      </p:pic>
      <p:sp>
        <p:nvSpPr>
          <p:cNvPr id="24" name="Nielsen wordmark">
            <a:extLst>
              <a:ext uri="{FF2B5EF4-FFF2-40B4-BE49-F238E27FC236}">
                <a16:creationId xmlns:a16="http://schemas.microsoft.com/office/drawing/2014/main" id="{8E329D7C-9D9C-5C6C-56E6-95CB0519B113}"/>
              </a:ext>
            </a:extLst>
          </p:cNvPr>
          <p:cNvSpPr>
            <a:spLocks noGrp="1" noRot="1" noMove="1" noResize="1" noEditPoints="1" noAdjustHandles="1" noChangeArrowheads="1" noChangeShapeType="1"/>
          </p:cNvSpPr>
          <p:nvPr userDrawn="1"/>
        </p:nvSpPr>
        <p:spPr>
          <a:xfrm>
            <a:off x="295274" y="5686380"/>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tx2"/>
          </a:solidFill>
          <a:ln w="774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164935347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 Photo Circle Dark">
    <p:spTree>
      <p:nvGrpSpPr>
        <p:cNvPr id="1" name=""/>
        <p:cNvGrpSpPr/>
        <p:nvPr/>
      </p:nvGrpSpPr>
      <p:grpSpPr>
        <a:xfrm>
          <a:off x="0" y="0"/>
          <a:ext cx="0" cy="0"/>
          <a:chOff x="0" y="0"/>
          <a:chExt cx="0" cy="0"/>
        </a:xfrm>
      </p:grpSpPr>
      <p:sp>
        <p:nvSpPr>
          <p:cNvPr id="29" name="Static Light Bkgd">
            <a:extLst>
              <a:ext uri="{FF2B5EF4-FFF2-40B4-BE49-F238E27FC236}">
                <a16:creationId xmlns:a16="http://schemas.microsoft.com/office/drawing/2014/main" id="{EE705342-7994-AFF3-15FD-F6FDEC9AE6B0}"/>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060A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Photo Accent Circles">
            <a:extLst>
              <a:ext uri="{FF2B5EF4-FFF2-40B4-BE49-F238E27FC236}">
                <a16:creationId xmlns:a16="http://schemas.microsoft.com/office/drawing/2014/main" id="{142AC587-6F39-6154-A37A-868A63F4F005}"/>
              </a:ext>
            </a:extLst>
          </p:cNvPr>
          <p:cNvGrpSpPr>
            <a:grpSpLocks noGrp="1" noUngrp="1" noRot="1" noMove="1" noResize="1"/>
          </p:cNvGrpSpPr>
          <p:nvPr userDrawn="1"/>
        </p:nvGrpSpPr>
        <p:grpSpPr>
          <a:xfrm>
            <a:off x="5942370" y="1"/>
            <a:ext cx="6249631" cy="6778171"/>
            <a:chOff x="5942370" y="1"/>
            <a:chExt cx="6249631" cy="6778171"/>
          </a:xfrm>
        </p:grpSpPr>
        <p:sp>
          <p:nvSpPr>
            <p:cNvPr id="28" name="Freeform: Shape 27">
              <a:extLst>
                <a:ext uri="{FF2B5EF4-FFF2-40B4-BE49-F238E27FC236}">
                  <a16:creationId xmlns:a16="http://schemas.microsoft.com/office/drawing/2014/main" id="{41DBC157-DD06-141E-B188-1EB8D24163C1}"/>
                </a:ext>
              </a:extLst>
            </p:cNvPr>
            <p:cNvSpPr>
              <a:spLocks noGrp="1" noRot="1" noMove="1" noResize="1" noEditPoints="1" noAdjustHandles="1" noChangeArrowheads="1" noChangeShapeType="1"/>
            </p:cNvSpPr>
            <p:nvPr userDrawn="1"/>
          </p:nvSpPr>
          <p:spPr>
            <a:xfrm>
              <a:off x="5942370" y="1"/>
              <a:ext cx="6249631" cy="6778171"/>
            </a:xfrm>
            <a:custGeom>
              <a:avLst/>
              <a:gdLst>
                <a:gd name="connsiteX0" fmla="*/ 1133398 w 6249631"/>
                <a:gd name="connsiteY0" fmla="*/ 0 h 6778171"/>
                <a:gd name="connsiteX1" fmla="*/ 6249631 w 6249631"/>
                <a:gd name="connsiteY1" fmla="*/ 0 h 6778171"/>
                <a:gd name="connsiteX2" fmla="*/ 6249631 w 6249631"/>
                <a:gd name="connsiteY2" fmla="*/ 6079239 h 6778171"/>
                <a:gd name="connsiteX3" fmla="*/ 6227147 w 6249631"/>
                <a:gd name="connsiteY3" fmla="*/ 6096052 h 6778171"/>
                <a:gd name="connsiteX4" fmla="*/ 3994041 w 6249631"/>
                <a:gd name="connsiteY4" fmla="*/ 6778171 h 6778171"/>
                <a:gd name="connsiteX5" fmla="*/ 0 w 6249631"/>
                <a:gd name="connsiteY5" fmla="*/ 2784130 h 6778171"/>
                <a:gd name="connsiteX6" fmla="*/ 912045 w 6249631"/>
                <a:gd name="connsiteY6" fmla="*/ 243549 h 6778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9631" h="6778171">
                  <a:moveTo>
                    <a:pt x="1133398" y="0"/>
                  </a:moveTo>
                  <a:lnTo>
                    <a:pt x="6249631" y="0"/>
                  </a:lnTo>
                  <a:lnTo>
                    <a:pt x="6249631" y="6079239"/>
                  </a:lnTo>
                  <a:lnTo>
                    <a:pt x="6227147" y="6096052"/>
                  </a:lnTo>
                  <a:cubicBezTo>
                    <a:pt x="5589694" y="6526707"/>
                    <a:pt x="4821234" y="6778171"/>
                    <a:pt x="3994041" y="6778171"/>
                  </a:cubicBezTo>
                  <a:cubicBezTo>
                    <a:pt x="1788193" y="6778171"/>
                    <a:pt x="0" y="4989978"/>
                    <a:pt x="0" y="2784130"/>
                  </a:cubicBezTo>
                  <a:cubicBezTo>
                    <a:pt x="0" y="1819072"/>
                    <a:pt x="342272" y="933955"/>
                    <a:pt x="912045" y="243549"/>
                  </a:cubicBezTo>
                  <a:close/>
                </a:path>
              </a:pathLst>
            </a:custGeom>
            <a:solidFill>
              <a:srgbClr val="06318B"/>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a:p>
          </p:txBody>
        </p:sp>
        <p:sp>
          <p:nvSpPr>
            <p:cNvPr id="21" name="Freeform: Shape 20">
              <a:extLst>
                <a:ext uri="{FF2B5EF4-FFF2-40B4-BE49-F238E27FC236}">
                  <a16:creationId xmlns:a16="http://schemas.microsoft.com/office/drawing/2014/main" id="{95D9CB59-0278-69D3-1B88-9D97D9D9BF66}"/>
                </a:ext>
              </a:extLst>
            </p:cNvPr>
            <p:cNvSpPr>
              <a:spLocks noGrp="1" noRot="1" noMove="1" noResize="1" noEditPoints="1" noAdjustHandles="1" noChangeArrowheads="1" noChangeShapeType="1"/>
            </p:cNvSpPr>
            <p:nvPr userDrawn="1"/>
          </p:nvSpPr>
          <p:spPr>
            <a:xfrm>
              <a:off x="6596886" y="1"/>
              <a:ext cx="5595114" cy="6115087"/>
            </a:xfrm>
            <a:custGeom>
              <a:avLst/>
              <a:gdLst>
                <a:gd name="connsiteX0" fmla="*/ 1504880 w 5595114"/>
                <a:gd name="connsiteY0" fmla="*/ 0 h 6115087"/>
                <a:gd name="connsiteX1" fmla="*/ 5157035 w 5595114"/>
                <a:gd name="connsiteY1" fmla="*/ 0 h 6115087"/>
                <a:gd name="connsiteX2" fmla="*/ 5193327 w 5595114"/>
                <a:gd name="connsiteY2" fmla="*/ 22048 h 6115087"/>
                <a:gd name="connsiteX3" fmla="*/ 5449755 w 5595114"/>
                <a:gd name="connsiteY3" fmla="*/ 213802 h 6115087"/>
                <a:gd name="connsiteX4" fmla="*/ 5595114 w 5595114"/>
                <a:gd name="connsiteY4" fmla="*/ 345913 h 6115087"/>
                <a:gd name="connsiteX5" fmla="*/ 5595114 w 5595114"/>
                <a:gd name="connsiteY5" fmla="*/ 5222347 h 6115087"/>
                <a:gd name="connsiteX6" fmla="*/ 5449755 w 5595114"/>
                <a:gd name="connsiteY6" fmla="*/ 5354459 h 6115087"/>
                <a:gd name="connsiteX7" fmla="*/ 3330957 w 5595114"/>
                <a:gd name="connsiteY7" fmla="*/ 6115087 h 6115087"/>
                <a:gd name="connsiteX8" fmla="*/ 0 w 5595114"/>
                <a:gd name="connsiteY8" fmla="*/ 2784130 h 6115087"/>
                <a:gd name="connsiteX9" fmla="*/ 1468588 w 5595114"/>
                <a:gd name="connsiteY9" fmla="*/ 22048 h 611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5114" h="6115087">
                  <a:moveTo>
                    <a:pt x="1504880" y="0"/>
                  </a:moveTo>
                  <a:lnTo>
                    <a:pt x="5157035" y="0"/>
                  </a:lnTo>
                  <a:lnTo>
                    <a:pt x="5193327" y="22048"/>
                  </a:lnTo>
                  <a:cubicBezTo>
                    <a:pt x="5281931" y="81908"/>
                    <a:pt x="5367500" y="145919"/>
                    <a:pt x="5449755" y="213802"/>
                  </a:cubicBezTo>
                  <a:lnTo>
                    <a:pt x="5595114" y="345913"/>
                  </a:lnTo>
                  <a:lnTo>
                    <a:pt x="5595114" y="5222347"/>
                  </a:lnTo>
                  <a:lnTo>
                    <a:pt x="5449755" y="5354459"/>
                  </a:lnTo>
                  <a:cubicBezTo>
                    <a:pt x="4873969" y="5829639"/>
                    <a:pt x="4135798" y="6115087"/>
                    <a:pt x="3330957" y="6115087"/>
                  </a:cubicBezTo>
                  <a:cubicBezTo>
                    <a:pt x="1491320" y="6115087"/>
                    <a:pt x="0" y="4623767"/>
                    <a:pt x="0" y="2784130"/>
                  </a:cubicBezTo>
                  <a:cubicBezTo>
                    <a:pt x="0" y="1634357"/>
                    <a:pt x="582547" y="620645"/>
                    <a:pt x="1468588" y="22048"/>
                  </a:cubicBezTo>
                  <a:close/>
                </a:path>
              </a:pathLst>
            </a:custGeom>
            <a:solidFill>
              <a:srgbClr val="0949D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rgbClr val="DADADA"/>
                </a:solidFill>
              </a:endParaRPr>
            </a:p>
          </p:txBody>
        </p:sp>
        <p:sp>
          <p:nvSpPr>
            <p:cNvPr id="23" name="Freeform: Shape 22">
              <a:extLst>
                <a:ext uri="{FF2B5EF4-FFF2-40B4-BE49-F238E27FC236}">
                  <a16:creationId xmlns:a16="http://schemas.microsoft.com/office/drawing/2014/main" id="{CEF44984-8F7A-8C11-AE43-676924BE717A}"/>
                </a:ext>
              </a:extLst>
            </p:cNvPr>
            <p:cNvSpPr>
              <a:spLocks noGrp="1" noRot="1" noMove="1" noResize="1" noEditPoints="1" noAdjustHandles="1" noChangeArrowheads="1" noChangeShapeType="1"/>
            </p:cNvSpPr>
            <p:nvPr userDrawn="1"/>
          </p:nvSpPr>
          <p:spPr>
            <a:xfrm>
              <a:off x="7172234" y="28520"/>
              <a:ext cx="5019767" cy="5511220"/>
            </a:xfrm>
            <a:custGeom>
              <a:avLst/>
              <a:gdLst>
                <a:gd name="connsiteX0" fmla="*/ 2755610 w 5019767"/>
                <a:gd name="connsiteY0" fmla="*/ 0 h 5511220"/>
                <a:gd name="connsiteX1" fmla="*/ 4881972 w 5019767"/>
                <a:gd name="connsiteY1" fmla="*/ 1002786 h 5511220"/>
                <a:gd name="connsiteX2" fmla="*/ 5019767 w 5019767"/>
                <a:gd name="connsiteY2" fmla="*/ 1187056 h 5511220"/>
                <a:gd name="connsiteX3" fmla="*/ 5019767 w 5019767"/>
                <a:gd name="connsiteY3" fmla="*/ 4324164 h 5511220"/>
                <a:gd name="connsiteX4" fmla="*/ 4881972 w 5019767"/>
                <a:gd name="connsiteY4" fmla="*/ 4508434 h 5511220"/>
                <a:gd name="connsiteX5" fmla="*/ 2755610 w 5019767"/>
                <a:gd name="connsiteY5" fmla="*/ 5511220 h 5511220"/>
                <a:gd name="connsiteX6" fmla="*/ 0 w 5019767"/>
                <a:gd name="connsiteY6" fmla="*/ 2755610 h 5511220"/>
                <a:gd name="connsiteX7" fmla="*/ 2755610 w 5019767"/>
                <a:gd name="connsiteY7" fmla="*/ 0 h 5511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19767" h="5511220">
                  <a:moveTo>
                    <a:pt x="2755610" y="0"/>
                  </a:moveTo>
                  <a:cubicBezTo>
                    <a:pt x="3611668" y="0"/>
                    <a:pt x="4376553" y="390360"/>
                    <a:pt x="4881972" y="1002786"/>
                  </a:cubicBezTo>
                  <a:lnTo>
                    <a:pt x="5019767" y="1187056"/>
                  </a:lnTo>
                  <a:lnTo>
                    <a:pt x="5019767" y="4324164"/>
                  </a:lnTo>
                  <a:lnTo>
                    <a:pt x="4881972" y="4508434"/>
                  </a:lnTo>
                  <a:cubicBezTo>
                    <a:pt x="4376553" y="5120861"/>
                    <a:pt x="3611668" y="5511220"/>
                    <a:pt x="2755610" y="5511220"/>
                  </a:cubicBezTo>
                  <a:cubicBezTo>
                    <a:pt x="1233729" y="5511220"/>
                    <a:pt x="0" y="4277491"/>
                    <a:pt x="0" y="2755610"/>
                  </a:cubicBezTo>
                  <a:cubicBezTo>
                    <a:pt x="0" y="1233729"/>
                    <a:pt x="1233729" y="0"/>
                    <a:pt x="2755610"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sp>
        <p:nvSpPr>
          <p:cNvPr id="9" name="Copyright Line">
            <a:extLst>
              <a:ext uri="{FF2B5EF4-FFF2-40B4-BE49-F238E27FC236}">
                <a16:creationId xmlns:a16="http://schemas.microsoft.com/office/drawing/2014/main" id="{D2389545-B6D7-497B-37D4-C8C4C52F8A14}"/>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7" name="Confidential disclaimer">
            <a:extLst>
              <a:ext uri="{FF2B5EF4-FFF2-40B4-BE49-F238E27FC236}">
                <a16:creationId xmlns:a16="http://schemas.microsoft.com/office/drawing/2014/main" id="{7F366BE8-8DFF-9E64-8372-4E4C126B56A7}"/>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5" name="Footer Placeholder">
            <a:extLst>
              <a:ext uri="{FF2B5EF4-FFF2-40B4-BE49-F238E27FC236}">
                <a16:creationId xmlns:a16="http://schemas.microsoft.com/office/drawing/2014/main" id="{8E33C4BA-B3E3-D8C7-C496-E55C90D029E0}"/>
              </a:ext>
            </a:extLst>
          </p:cNvPr>
          <p:cNvSpPr>
            <a:spLocks noGrp="1" noRot="1" noMove="1" noResize="1" noEditPoints="1" noAdjustHandles="1" noChangeArrowheads="1" noChangeShapeType="1"/>
          </p:cNvSpPr>
          <p:nvPr>
            <p:ph type="ftr" sz="quarter" idx="13"/>
          </p:nvPr>
        </p:nvSpPr>
        <p:spPr>
          <a:xfrm>
            <a:off x="3251200" y="6485399"/>
            <a:ext cx="3716336" cy="282957"/>
          </a:xfrm>
          <a:solidFill>
            <a:schemeClr val="tx2"/>
          </a:solidFill>
        </p:spPr>
        <p:txBody>
          <a:bodyPr/>
          <a:lstStyle>
            <a:lvl1pPr algn="l">
              <a:defRPr>
                <a:solidFill>
                  <a:srgbClr val="FFFFFF"/>
                </a:solidFill>
              </a:defRPr>
            </a:lvl1pPr>
          </a:lstStyle>
          <a:p>
            <a:endParaRPr lang="en-GB"/>
          </a:p>
        </p:txBody>
      </p:sp>
      <p:sp>
        <p:nvSpPr>
          <p:cNvPr id="25" name="Picture Placeholder">
            <a:extLst>
              <a:ext uri="{FF2B5EF4-FFF2-40B4-BE49-F238E27FC236}">
                <a16:creationId xmlns:a16="http://schemas.microsoft.com/office/drawing/2014/main" id="{278BDEAF-4B5A-EDEC-5FBB-5BDC0B1311E4}"/>
              </a:ext>
            </a:extLst>
          </p:cNvPr>
          <p:cNvSpPr>
            <a:spLocks noGrp="1" noRot="1" noMove="1" noResize="1" noEditPoints="1" noAdjustHandles="1" noChangeArrowheads="1" noChangeShapeType="1"/>
          </p:cNvSpPr>
          <p:nvPr>
            <p:ph type="pic" sz="quarter" idx="12" hasCustomPrompt="1"/>
          </p:nvPr>
        </p:nvSpPr>
        <p:spPr>
          <a:xfrm>
            <a:off x="7465671" y="321957"/>
            <a:ext cx="4726329" cy="4924346"/>
          </a:xfrm>
          <a:custGeom>
            <a:avLst/>
            <a:gdLst>
              <a:gd name="connsiteX0" fmla="*/ 2462173 w 4726329"/>
              <a:gd name="connsiteY0" fmla="*/ 0 h 4924346"/>
              <a:gd name="connsiteX1" fmla="*/ 4627175 w 4726329"/>
              <a:gd name="connsiteY1" fmla="*/ 1288555 h 4924346"/>
              <a:gd name="connsiteX2" fmla="*/ 4726329 w 4726329"/>
              <a:gd name="connsiteY2" fmla="*/ 1494386 h 4924346"/>
              <a:gd name="connsiteX3" fmla="*/ 4726329 w 4726329"/>
              <a:gd name="connsiteY3" fmla="*/ 3429960 h 4924346"/>
              <a:gd name="connsiteX4" fmla="*/ 4627175 w 4726329"/>
              <a:gd name="connsiteY4" fmla="*/ 3635791 h 4924346"/>
              <a:gd name="connsiteX5" fmla="*/ 2462173 w 4726329"/>
              <a:gd name="connsiteY5" fmla="*/ 4924346 h 4924346"/>
              <a:gd name="connsiteX6" fmla="*/ 0 w 4726329"/>
              <a:gd name="connsiteY6" fmla="*/ 2462173 h 4924346"/>
              <a:gd name="connsiteX7" fmla="*/ 2462173 w 4726329"/>
              <a:gd name="connsiteY7" fmla="*/ 0 h 4924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6329" h="4924346">
                <a:moveTo>
                  <a:pt x="2462173" y="0"/>
                </a:moveTo>
                <a:cubicBezTo>
                  <a:pt x="3397050" y="0"/>
                  <a:pt x="4210233" y="521034"/>
                  <a:pt x="4627175" y="1288555"/>
                </a:cubicBezTo>
                <a:lnTo>
                  <a:pt x="4726329" y="1494386"/>
                </a:lnTo>
                <a:lnTo>
                  <a:pt x="4726329" y="3429960"/>
                </a:lnTo>
                <a:lnTo>
                  <a:pt x="4627175" y="3635791"/>
                </a:lnTo>
                <a:cubicBezTo>
                  <a:pt x="4210233" y="4403313"/>
                  <a:pt x="3397050" y="4924346"/>
                  <a:pt x="2462173" y="4924346"/>
                </a:cubicBezTo>
                <a:cubicBezTo>
                  <a:pt x="1102352" y="4924346"/>
                  <a:pt x="0" y="3821994"/>
                  <a:pt x="0" y="2462173"/>
                </a:cubicBezTo>
                <a:cubicBezTo>
                  <a:pt x="0" y="1102352"/>
                  <a:pt x="1102352" y="0"/>
                  <a:pt x="2462173" y="0"/>
                </a:cubicBezTo>
                <a:close/>
              </a:path>
            </a:pathLst>
          </a:custGeom>
          <a:solidFill>
            <a:srgbClr val="777777"/>
          </a:solidFill>
        </p:spPr>
        <p:txBody>
          <a:bodyPr wrap="square" anchor="ctr" anchorCtr="1">
            <a:noAutofit/>
          </a:bodyPr>
          <a:lstStyle>
            <a:lvl1pPr marL="0" indent="0" algn="ctr">
              <a:buNone/>
              <a:defRPr>
                <a:solidFill>
                  <a:srgbClr val="FFFFFF"/>
                </a:solidFill>
              </a:defRPr>
            </a:lvl1pPr>
          </a:lstStyle>
          <a:p>
            <a:r>
              <a:rPr lang="en-US"/>
              <a:t>Click picture icon to add photo</a:t>
            </a:r>
          </a:p>
        </p:txBody>
      </p:sp>
      <p:sp>
        <p:nvSpPr>
          <p:cNvPr id="11" name="Date Placeholder">
            <a:extLst>
              <a:ext uri="{FF2B5EF4-FFF2-40B4-BE49-F238E27FC236}">
                <a16:creationId xmlns:a16="http://schemas.microsoft.com/office/drawing/2014/main" id="{56FDEAC7-8736-5846-42B8-66DC00FA3B94}"/>
              </a:ext>
            </a:extLst>
          </p:cNvPr>
          <p:cNvSpPr>
            <a:spLocks noGrp="1" noRot="1" noMove="1" noResize="1" noEditPoints="1" noAdjustHandles="1" noChangeArrowheads="1" noChangeShapeType="1"/>
          </p:cNvSpPr>
          <p:nvPr>
            <p:ph type="dt" sz="half" idx="14"/>
          </p:nvPr>
        </p:nvSpPr>
        <p:spPr>
          <a:xfrm>
            <a:off x="292100" y="5036705"/>
            <a:ext cx="1744664" cy="282957"/>
          </a:xfrm>
        </p:spPr>
        <p:txBody>
          <a:bodyPr/>
          <a:lstStyle>
            <a:lvl1pPr>
              <a:defRPr sz="1200">
                <a:solidFill>
                  <a:srgbClr val="FFFFFF"/>
                </a:solidFill>
              </a:defRPr>
            </a:lvl1pPr>
          </a:lstStyle>
          <a:p>
            <a:fld id="{C75F7465-666F-4675-891F-E92434DCB819}" type="datetime1">
              <a:rPr lang="en-GB" smtClean="0"/>
              <a:t>18/11/2024</a:t>
            </a:fld>
            <a:endParaRPr lang="en-GB"/>
          </a:p>
        </p:txBody>
      </p:sp>
      <p:sp>
        <p:nvSpPr>
          <p:cNvPr id="3" name="Title/Dept Placeholder">
            <a:extLst>
              <a:ext uri="{FF2B5EF4-FFF2-40B4-BE49-F238E27FC236}">
                <a16:creationId xmlns:a16="http://schemas.microsoft.com/office/drawing/2014/main" id="{F49547DD-E825-E7A3-C48A-64AA78C199D4}"/>
              </a:ext>
            </a:extLst>
          </p:cNvPr>
          <p:cNvSpPr>
            <a:spLocks noGrp="1" noRot="1" noMove="1" noResize="1" noEditPoints="1" noAdjustHandles="1" noChangeArrowheads="1" noChangeShapeType="1"/>
          </p:cNvSpPr>
          <p:nvPr>
            <p:ph type="body" sz="quarter" idx="11" hasCustomPrompt="1"/>
          </p:nvPr>
        </p:nvSpPr>
        <p:spPr>
          <a:xfrm>
            <a:off x="292100" y="4560602"/>
            <a:ext cx="6689728" cy="344385"/>
          </a:xfrm>
        </p:spPr>
        <p:txBody>
          <a:bodyPr tIns="0" bIns="0">
            <a:noAutofit/>
          </a:bodyPr>
          <a:lstStyle>
            <a:lvl1pPr marL="0" indent="0">
              <a:lnSpc>
                <a:spcPct val="100000"/>
              </a:lnSpc>
              <a:spcBef>
                <a:spcPts val="0"/>
              </a:spcBef>
              <a:spcAft>
                <a:spcPts val="0"/>
              </a:spcAft>
              <a:buNone/>
              <a:defRPr sz="1200" b="0">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2" name="Presenter Name Placeholder">
            <a:extLst>
              <a:ext uri="{FF2B5EF4-FFF2-40B4-BE49-F238E27FC236}">
                <a16:creationId xmlns:a16="http://schemas.microsoft.com/office/drawing/2014/main" id="{5A598B2A-BB91-C356-7BCC-18D04DA85A8D}"/>
              </a:ext>
            </a:extLst>
          </p:cNvPr>
          <p:cNvSpPr>
            <a:spLocks noGrp="1" noRot="1" noMove="1" noResize="1" noEditPoints="1" noAdjustHandles="1" noChangeArrowheads="1" noChangeShapeType="1"/>
          </p:cNvSpPr>
          <p:nvPr>
            <p:ph type="body" sz="quarter" idx="10" hasCustomPrompt="1"/>
          </p:nvPr>
        </p:nvSpPr>
        <p:spPr>
          <a:xfrm>
            <a:off x="292100" y="4192468"/>
            <a:ext cx="6689728" cy="344384"/>
          </a:xfrm>
        </p:spPr>
        <p:txBody>
          <a:bodyPr tIns="0" bIns="0" anchor="b" anchorCtr="0">
            <a:noAutofit/>
          </a:bodyPr>
          <a:lstStyle>
            <a:lvl1pPr marL="0" indent="0">
              <a:lnSpc>
                <a:spcPct val="100000"/>
              </a:lnSpc>
              <a:spcBef>
                <a:spcPts val="0"/>
              </a:spcBef>
              <a:spcAft>
                <a:spcPts val="0"/>
              </a:spcAft>
              <a:buNone/>
              <a:defRPr sz="1200" b="1">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8" name="Subtitle Placeholder">
            <a:extLst>
              <a:ext uri="{FF2B5EF4-FFF2-40B4-BE49-F238E27FC236}">
                <a16:creationId xmlns:a16="http://schemas.microsoft.com/office/drawing/2014/main" id="{23B6A8FC-C3C4-F7DA-BF00-D56866D5808E}"/>
              </a:ext>
            </a:extLst>
          </p:cNvPr>
          <p:cNvSpPr>
            <a:spLocks noGrp="1" noRot="1" noMove="1" noResize="1" noEditPoints="1" noAdjustHandles="1" noChangeArrowheads="1" noChangeShapeType="1"/>
          </p:cNvSpPr>
          <p:nvPr>
            <p:ph type="subTitle" idx="1"/>
          </p:nvPr>
        </p:nvSpPr>
        <p:spPr>
          <a:xfrm>
            <a:off x="292100" y="3114710"/>
            <a:ext cx="6689729" cy="837882"/>
          </a:xfrm>
        </p:spPr>
        <p:txBody>
          <a:bodyPr>
            <a:noAutofit/>
          </a:bodyPr>
          <a:lstStyle>
            <a:lvl1pPr marL="0" indent="0" algn="l">
              <a:spcBef>
                <a:spcPts val="0"/>
              </a:spcBef>
              <a:spcAft>
                <a:spcPts val="0"/>
              </a:spcAft>
              <a:buNone/>
              <a:defRPr sz="20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Title Placeholder">
            <a:extLst>
              <a:ext uri="{FF2B5EF4-FFF2-40B4-BE49-F238E27FC236}">
                <a16:creationId xmlns:a16="http://schemas.microsoft.com/office/drawing/2014/main" id="{615225DC-38B1-15E3-05E6-88F5A6B976CF}"/>
              </a:ext>
            </a:extLst>
          </p:cNvPr>
          <p:cNvSpPr>
            <a:spLocks noGrp="1" noRot="1" noMove="1" noResize="1" noEditPoints="1" noAdjustHandles="1" noChangeArrowheads="1" noChangeShapeType="1"/>
          </p:cNvSpPr>
          <p:nvPr>
            <p:ph type="ctrTitle" hasCustomPrompt="1"/>
          </p:nvPr>
        </p:nvSpPr>
        <p:spPr>
          <a:xfrm>
            <a:off x="292100" y="654818"/>
            <a:ext cx="6689729" cy="2387600"/>
          </a:xfrm>
          <a:prstGeom prst="rect">
            <a:avLst/>
          </a:prstGeom>
        </p:spPr>
        <p:txBody>
          <a:bodyPr anchor="b">
            <a:noAutofit/>
          </a:bodyPr>
          <a:lstStyle>
            <a:lvl1pPr algn="l">
              <a:defRPr sz="4400">
                <a:solidFill>
                  <a:srgbClr val="FFFFFF"/>
                </a:solidFill>
              </a:defRPr>
            </a:lvl1pPr>
          </a:lstStyle>
          <a:p>
            <a:r>
              <a:rPr lang="en-US"/>
              <a:t>Insert your presentation title here maximum of three lines</a:t>
            </a:r>
          </a:p>
        </p:txBody>
      </p:sp>
      <p:pic>
        <p:nvPicPr>
          <p:cNvPr id="10" name="NielsenIQ GFK lockup" hidden="1">
            <a:extLst>
              <a:ext uri="{FF2B5EF4-FFF2-40B4-BE49-F238E27FC236}">
                <a16:creationId xmlns:a16="http://schemas.microsoft.com/office/drawing/2014/main" id="{5AD45FDA-A06C-6A25-4D77-005D36A8D623}"/>
              </a:ext>
            </a:extLst>
          </p:cNvPr>
          <p:cNvPicPr>
            <a:picLocks noGrp="1" noRo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86122" y="5539740"/>
            <a:ext cx="3377876" cy="753596"/>
          </a:xfrm>
          <a:prstGeom prst="rect">
            <a:avLst/>
          </a:prstGeom>
        </p:spPr>
      </p:pic>
      <p:pic>
        <p:nvPicPr>
          <p:cNvPr id="14" name="NielsenIQ logo+wordmark" descr="A blue text on a black background&#10;&#10;Description automatically generated" hidden="1">
            <a:extLst>
              <a:ext uri="{FF2B5EF4-FFF2-40B4-BE49-F238E27FC236}">
                <a16:creationId xmlns:a16="http://schemas.microsoft.com/office/drawing/2014/main" id="{4592FCA5-867A-BB8D-E995-7A4C9EC3E96A}"/>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tretch>
            <a:fillRect/>
          </a:stretch>
        </p:blipFill>
        <p:spPr>
          <a:xfrm>
            <a:off x="288558" y="5563212"/>
            <a:ext cx="2155411" cy="743616"/>
          </a:xfrm>
          <a:prstGeom prst="rect">
            <a:avLst/>
          </a:prstGeom>
        </p:spPr>
      </p:pic>
      <p:sp>
        <p:nvSpPr>
          <p:cNvPr id="22" name="Nielsen wordmark">
            <a:extLst>
              <a:ext uri="{FF2B5EF4-FFF2-40B4-BE49-F238E27FC236}">
                <a16:creationId xmlns:a16="http://schemas.microsoft.com/office/drawing/2014/main" id="{EA927BD7-665B-50AF-0BB4-89B173418808}"/>
              </a:ext>
            </a:extLst>
          </p:cNvPr>
          <p:cNvSpPr>
            <a:spLocks noGrp="1" noRot="1" noMove="1" noResize="1" noEditPoints="1" noAdjustHandles="1" noChangeArrowheads="1" noChangeShapeType="1"/>
          </p:cNvSpPr>
          <p:nvPr userDrawn="1"/>
        </p:nvSpPr>
        <p:spPr>
          <a:xfrm>
            <a:off x="295274" y="5686380"/>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accent1"/>
          </a:solidFill>
          <a:ln w="774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181462801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 Photo Circle Dark">
    <p:spTree>
      <p:nvGrpSpPr>
        <p:cNvPr id="1" name=""/>
        <p:cNvGrpSpPr/>
        <p:nvPr/>
      </p:nvGrpSpPr>
      <p:grpSpPr>
        <a:xfrm>
          <a:off x="0" y="0"/>
          <a:ext cx="0" cy="0"/>
          <a:chOff x="0" y="0"/>
          <a:chExt cx="0" cy="0"/>
        </a:xfrm>
      </p:grpSpPr>
      <p:sp>
        <p:nvSpPr>
          <p:cNvPr id="29" name="Static Light Bkgd">
            <a:extLst>
              <a:ext uri="{FF2B5EF4-FFF2-40B4-BE49-F238E27FC236}">
                <a16:creationId xmlns:a16="http://schemas.microsoft.com/office/drawing/2014/main" id="{EE705342-7994-AFF3-15FD-F6FDEC9AE6B0}"/>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060A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Photo Accent Circles">
            <a:extLst>
              <a:ext uri="{FF2B5EF4-FFF2-40B4-BE49-F238E27FC236}">
                <a16:creationId xmlns:a16="http://schemas.microsoft.com/office/drawing/2014/main" id="{142AC587-6F39-6154-A37A-868A63F4F005}"/>
              </a:ext>
            </a:extLst>
          </p:cNvPr>
          <p:cNvGrpSpPr>
            <a:grpSpLocks noGrp="1" noUngrp="1" noRot="1" noMove="1" noResize="1"/>
          </p:cNvGrpSpPr>
          <p:nvPr userDrawn="1"/>
        </p:nvGrpSpPr>
        <p:grpSpPr>
          <a:xfrm>
            <a:off x="5942370" y="1"/>
            <a:ext cx="6249631" cy="6778171"/>
            <a:chOff x="5942370" y="1"/>
            <a:chExt cx="6249631" cy="6778171"/>
          </a:xfrm>
        </p:grpSpPr>
        <p:sp>
          <p:nvSpPr>
            <p:cNvPr id="28" name="Freeform: Shape 27">
              <a:extLst>
                <a:ext uri="{FF2B5EF4-FFF2-40B4-BE49-F238E27FC236}">
                  <a16:creationId xmlns:a16="http://schemas.microsoft.com/office/drawing/2014/main" id="{41DBC157-DD06-141E-B188-1EB8D24163C1}"/>
                </a:ext>
              </a:extLst>
            </p:cNvPr>
            <p:cNvSpPr>
              <a:spLocks noGrp="1" noRot="1" noMove="1" noResize="1" noEditPoints="1" noAdjustHandles="1" noChangeArrowheads="1" noChangeShapeType="1"/>
            </p:cNvSpPr>
            <p:nvPr userDrawn="1"/>
          </p:nvSpPr>
          <p:spPr>
            <a:xfrm>
              <a:off x="5942370" y="1"/>
              <a:ext cx="6249631" cy="6778171"/>
            </a:xfrm>
            <a:custGeom>
              <a:avLst/>
              <a:gdLst>
                <a:gd name="connsiteX0" fmla="*/ 1133398 w 6249631"/>
                <a:gd name="connsiteY0" fmla="*/ 0 h 6778171"/>
                <a:gd name="connsiteX1" fmla="*/ 6249631 w 6249631"/>
                <a:gd name="connsiteY1" fmla="*/ 0 h 6778171"/>
                <a:gd name="connsiteX2" fmla="*/ 6249631 w 6249631"/>
                <a:gd name="connsiteY2" fmla="*/ 6079239 h 6778171"/>
                <a:gd name="connsiteX3" fmla="*/ 6227147 w 6249631"/>
                <a:gd name="connsiteY3" fmla="*/ 6096052 h 6778171"/>
                <a:gd name="connsiteX4" fmla="*/ 3994041 w 6249631"/>
                <a:gd name="connsiteY4" fmla="*/ 6778171 h 6778171"/>
                <a:gd name="connsiteX5" fmla="*/ 0 w 6249631"/>
                <a:gd name="connsiteY5" fmla="*/ 2784130 h 6778171"/>
                <a:gd name="connsiteX6" fmla="*/ 912045 w 6249631"/>
                <a:gd name="connsiteY6" fmla="*/ 243549 h 6778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9631" h="6778171">
                  <a:moveTo>
                    <a:pt x="1133398" y="0"/>
                  </a:moveTo>
                  <a:lnTo>
                    <a:pt x="6249631" y="0"/>
                  </a:lnTo>
                  <a:lnTo>
                    <a:pt x="6249631" y="6079239"/>
                  </a:lnTo>
                  <a:lnTo>
                    <a:pt x="6227147" y="6096052"/>
                  </a:lnTo>
                  <a:cubicBezTo>
                    <a:pt x="5589694" y="6526707"/>
                    <a:pt x="4821234" y="6778171"/>
                    <a:pt x="3994041" y="6778171"/>
                  </a:cubicBezTo>
                  <a:cubicBezTo>
                    <a:pt x="1788193" y="6778171"/>
                    <a:pt x="0" y="4989978"/>
                    <a:pt x="0" y="2784130"/>
                  </a:cubicBezTo>
                  <a:cubicBezTo>
                    <a:pt x="0" y="1819072"/>
                    <a:pt x="342272" y="933955"/>
                    <a:pt x="912045" y="243549"/>
                  </a:cubicBezTo>
                  <a:close/>
                </a:path>
              </a:pathLst>
            </a:custGeom>
            <a:solidFill>
              <a:srgbClr val="06318B"/>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a:p>
          </p:txBody>
        </p:sp>
        <p:sp>
          <p:nvSpPr>
            <p:cNvPr id="21" name="Freeform: Shape 20">
              <a:extLst>
                <a:ext uri="{FF2B5EF4-FFF2-40B4-BE49-F238E27FC236}">
                  <a16:creationId xmlns:a16="http://schemas.microsoft.com/office/drawing/2014/main" id="{95D9CB59-0278-69D3-1B88-9D97D9D9BF66}"/>
                </a:ext>
              </a:extLst>
            </p:cNvPr>
            <p:cNvSpPr>
              <a:spLocks noGrp="1" noRot="1" noMove="1" noResize="1" noEditPoints="1" noAdjustHandles="1" noChangeArrowheads="1" noChangeShapeType="1"/>
            </p:cNvSpPr>
            <p:nvPr userDrawn="1"/>
          </p:nvSpPr>
          <p:spPr>
            <a:xfrm>
              <a:off x="6596886" y="1"/>
              <a:ext cx="5595114" cy="6115087"/>
            </a:xfrm>
            <a:custGeom>
              <a:avLst/>
              <a:gdLst>
                <a:gd name="connsiteX0" fmla="*/ 1504880 w 5595114"/>
                <a:gd name="connsiteY0" fmla="*/ 0 h 6115087"/>
                <a:gd name="connsiteX1" fmla="*/ 5157035 w 5595114"/>
                <a:gd name="connsiteY1" fmla="*/ 0 h 6115087"/>
                <a:gd name="connsiteX2" fmla="*/ 5193327 w 5595114"/>
                <a:gd name="connsiteY2" fmla="*/ 22048 h 6115087"/>
                <a:gd name="connsiteX3" fmla="*/ 5449755 w 5595114"/>
                <a:gd name="connsiteY3" fmla="*/ 213802 h 6115087"/>
                <a:gd name="connsiteX4" fmla="*/ 5595114 w 5595114"/>
                <a:gd name="connsiteY4" fmla="*/ 345913 h 6115087"/>
                <a:gd name="connsiteX5" fmla="*/ 5595114 w 5595114"/>
                <a:gd name="connsiteY5" fmla="*/ 5222347 h 6115087"/>
                <a:gd name="connsiteX6" fmla="*/ 5449755 w 5595114"/>
                <a:gd name="connsiteY6" fmla="*/ 5354459 h 6115087"/>
                <a:gd name="connsiteX7" fmla="*/ 3330957 w 5595114"/>
                <a:gd name="connsiteY7" fmla="*/ 6115087 h 6115087"/>
                <a:gd name="connsiteX8" fmla="*/ 0 w 5595114"/>
                <a:gd name="connsiteY8" fmla="*/ 2784130 h 6115087"/>
                <a:gd name="connsiteX9" fmla="*/ 1468588 w 5595114"/>
                <a:gd name="connsiteY9" fmla="*/ 22048 h 611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5114" h="6115087">
                  <a:moveTo>
                    <a:pt x="1504880" y="0"/>
                  </a:moveTo>
                  <a:lnTo>
                    <a:pt x="5157035" y="0"/>
                  </a:lnTo>
                  <a:lnTo>
                    <a:pt x="5193327" y="22048"/>
                  </a:lnTo>
                  <a:cubicBezTo>
                    <a:pt x="5281931" y="81908"/>
                    <a:pt x="5367500" y="145919"/>
                    <a:pt x="5449755" y="213802"/>
                  </a:cubicBezTo>
                  <a:lnTo>
                    <a:pt x="5595114" y="345913"/>
                  </a:lnTo>
                  <a:lnTo>
                    <a:pt x="5595114" y="5222347"/>
                  </a:lnTo>
                  <a:lnTo>
                    <a:pt x="5449755" y="5354459"/>
                  </a:lnTo>
                  <a:cubicBezTo>
                    <a:pt x="4873969" y="5829639"/>
                    <a:pt x="4135798" y="6115087"/>
                    <a:pt x="3330957" y="6115087"/>
                  </a:cubicBezTo>
                  <a:cubicBezTo>
                    <a:pt x="1491320" y="6115087"/>
                    <a:pt x="0" y="4623767"/>
                    <a:pt x="0" y="2784130"/>
                  </a:cubicBezTo>
                  <a:cubicBezTo>
                    <a:pt x="0" y="1634357"/>
                    <a:pt x="582547" y="620645"/>
                    <a:pt x="1468588" y="22048"/>
                  </a:cubicBezTo>
                  <a:close/>
                </a:path>
              </a:pathLst>
            </a:custGeom>
            <a:solidFill>
              <a:srgbClr val="0949D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rgbClr val="DADADA"/>
                </a:solidFill>
              </a:endParaRPr>
            </a:p>
          </p:txBody>
        </p:sp>
        <p:sp>
          <p:nvSpPr>
            <p:cNvPr id="23" name="Freeform: Shape 22">
              <a:extLst>
                <a:ext uri="{FF2B5EF4-FFF2-40B4-BE49-F238E27FC236}">
                  <a16:creationId xmlns:a16="http://schemas.microsoft.com/office/drawing/2014/main" id="{CEF44984-8F7A-8C11-AE43-676924BE717A}"/>
                </a:ext>
              </a:extLst>
            </p:cNvPr>
            <p:cNvSpPr>
              <a:spLocks noGrp="1" noRot="1" noMove="1" noResize="1" noEditPoints="1" noAdjustHandles="1" noChangeArrowheads="1" noChangeShapeType="1"/>
            </p:cNvSpPr>
            <p:nvPr userDrawn="1"/>
          </p:nvSpPr>
          <p:spPr>
            <a:xfrm>
              <a:off x="7172234" y="28520"/>
              <a:ext cx="5019767" cy="5511220"/>
            </a:xfrm>
            <a:custGeom>
              <a:avLst/>
              <a:gdLst>
                <a:gd name="connsiteX0" fmla="*/ 2755610 w 5019767"/>
                <a:gd name="connsiteY0" fmla="*/ 0 h 5511220"/>
                <a:gd name="connsiteX1" fmla="*/ 4881972 w 5019767"/>
                <a:gd name="connsiteY1" fmla="*/ 1002786 h 5511220"/>
                <a:gd name="connsiteX2" fmla="*/ 5019767 w 5019767"/>
                <a:gd name="connsiteY2" fmla="*/ 1187056 h 5511220"/>
                <a:gd name="connsiteX3" fmla="*/ 5019767 w 5019767"/>
                <a:gd name="connsiteY3" fmla="*/ 4324164 h 5511220"/>
                <a:gd name="connsiteX4" fmla="*/ 4881972 w 5019767"/>
                <a:gd name="connsiteY4" fmla="*/ 4508434 h 5511220"/>
                <a:gd name="connsiteX5" fmla="*/ 2755610 w 5019767"/>
                <a:gd name="connsiteY5" fmla="*/ 5511220 h 5511220"/>
                <a:gd name="connsiteX6" fmla="*/ 0 w 5019767"/>
                <a:gd name="connsiteY6" fmla="*/ 2755610 h 5511220"/>
                <a:gd name="connsiteX7" fmla="*/ 2755610 w 5019767"/>
                <a:gd name="connsiteY7" fmla="*/ 0 h 5511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19767" h="5511220">
                  <a:moveTo>
                    <a:pt x="2755610" y="0"/>
                  </a:moveTo>
                  <a:cubicBezTo>
                    <a:pt x="3611668" y="0"/>
                    <a:pt x="4376553" y="390360"/>
                    <a:pt x="4881972" y="1002786"/>
                  </a:cubicBezTo>
                  <a:lnTo>
                    <a:pt x="5019767" y="1187056"/>
                  </a:lnTo>
                  <a:lnTo>
                    <a:pt x="5019767" y="4324164"/>
                  </a:lnTo>
                  <a:lnTo>
                    <a:pt x="4881972" y="4508434"/>
                  </a:lnTo>
                  <a:cubicBezTo>
                    <a:pt x="4376553" y="5120861"/>
                    <a:pt x="3611668" y="5511220"/>
                    <a:pt x="2755610" y="5511220"/>
                  </a:cubicBezTo>
                  <a:cubicBezTo>
                    <a:pt x="1233729" y="5511220"/>
                    <a:pt x="0" y="4277491"/>
                    <a:pt x="0" y="2755610"/>
                  </a:cubicBezTo>
                  <a:cubicBezTo>
                    <a:pt x="0" y="1233729"/>
                    <a:pt x="1233729" y="0"/>
                    <a:pt x="2755610"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sp>
        <p:nvSpPr>
          <p:cNvPr id="9" name="Copyright Line">
            <a:extLst>
              <a:ext uri="{FF2B5EF4-FFF2-40B4-BE49-F238E27FC236}">
                <a16:creationId xmlns:a16="http://schemas.microsoft.com/office/drawing/2014/main" id="{D2389545-B6D7-497B-37D4-C8C4C52F8A14}"/>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7" name="Confidential disclaimer">
            <a:extLst>
              <a:ext uri="{FF2B5EF4-FFF2-40B4-BE49-F238E27FC236}">
                <a16:creationId xmlns:a16="http://schemas.microsoft.com/office/drawing/2014/main" id="{7F366BE8-8DFF-9E64-8372-4E4C126B56A7}"/>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5" name="Footer Placeholder">
            <a:extLst>
              <a:ext uri="{FF2B5EF4-FFF2-40B4-BE49-F238E27FC236}">
                <a16:creationId xmlns:a16="http://schemas.microsoft.com/office/drawing/2014/main" id="{8E33C4BA-B3E3-D8C7-C496-E55C90D029E0}"/>
              </a:ext>
            </a:extLst>
          </p:cNvPr>
          <p:cNvSpPr>
            <a:spLocks noGrp="1" noRot="1" noMove="1" noResize="1" noEditPoints="1" noAdjustHandles="1" noChangeArrowheads="1" noChangeShapeType="1"/>
          </p:cNvSpPr>
          <p:nvPr>
            <p:ph type="ftr" sz="quarter" idx="13"/>
          </p:nvPr>
        </p:nvSpPr>
        <p:spPr>
          <a:xfrm>
            <a:off x="3251200" y="6485399"/>
            <a:ext cx="3716336" cy="282957"/>
          </a:xfrm>
          <a:solidFill>
            <a:schemeClr val="tx2"/>
          </a:solidFill>
        </p:spPr>
        <p:txBody>
          <a:bodyPr/>
          <a:lstStyle>
            <a:lvl1pPr algn="l">
              <a:defRPr>
                <a:solidFill>
                  <a:srgbClr val="FFFFFF"/>
                </a:solidFill>
              </a:defRPr>
            </a:lvl1pPr>
          </a:lstStyle>
          <a:p>
            <a:endParaRPr lang="en-GB"/>
          </a:p>
        </p:txBody>
      </p:sp>
      <p:sp>
        <p:nvSpPr>
          <p:cNvPr id="25" name="Picture Placeholder">
            <a:extLst>
              <a:ext uri="{FF2B5EF4-FFF2-40B4-BE49-F238E27FC236}">
                <a16:creationId xmlns:a16="http://schemas.microsoft.com/office/drawing/2014/main" id="{278BDEAF-4B5A-EDEC-5FBB-5BDC0B1311E4}"/>
              </a:ext>
            </a:extLst>
          </p:cNvPr>
          <p:cNvSpPr>
            <a:spLocks noGrp="1" noRot="1" noMove="1" noResize="1" noEditPoints="1" noAdjustHandles="1" noChangeArrowheads="1" noChangeShapeType="1"/>
          </p:cNvSpPr>
          <p:nvPr>
            <p:ph type="pic" sz="quarter" idx="12" hasCustomPrompt="1"/>
          </p:nvPr>
        </p:nvSpPr>
        <p:spPr>
          <a:xfrm>
            <a:off x="7465671" y="321957"/>
            <a:ext cx="4726329" cy="4924346"/>
          </a:xfrm>
          <a:custGeom>
            <a:avLst/>
            <a:gdLst>
              <a:gd name="connsiteX0" fmla="*/ 2462173 w 4726329"/>
              <a:gd name="connsiteY0" fmla="*/ 0 h 4924346"/>
              <a:gd name="connsiteX1" fmla="*/ 4627175 w 4726329"/>
              <a:gd name="connsiteY1" fmla="*/ 1288555 h 4924346"/>
              <a:gd name="connsiteX2" fmla="*/ 4726329 w 4726329"/>
              <a:gd name="connsiteY2" fmla="*/ 1494386 h 4924346"/>
              <a:gd name="connsiteX3" fmla="*/ 4726329 w 4726329"/>
              <a:gd name="connsiteY3" fmla="*/ 3429960 h 4924346"/>
              <a:gd name="connsiteX4" fmla="*/ 4627175 w 4726329"/>
              <a:gd name="connsiteY4" fmla="*/ 3635791 h 4924346"/>
              <a:gd name="connsiteX5" fmla="*/ 2462173 w 4726329"/>
              <a:gd name="connsiteY5" fmla="*/ 4924346 h 4924346"/>
              <a:gd name="connsiteX6" fmla="*/ 0 w 4726329"/>
              <a:gd name="connsiteY6" fmla="*/ 2462173 h 4924346"/>
              <a:gd name="connsiteX7" fmla="*/ 2462173 w 4726329"/>
              <a:gd name="connsiteY7" fmla="*/ 0 h 4924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6329" h="4924346">
                <a:moveTo>
                  <a:pt x="2462173" y="0"/>
                </a:moveTo>
                <a:cubicBezTo>
                  <a:pt x="3397050" y="0"/>
                  <a:pt x="4210233" y="521034"/>
                  <a:pt x="4627175" y="1288555"/>
                </a:cubicBezTo>
                <a:lnTo>
                  <a:pt x="4726329" y="1494386"/>
                </a:lnTo>
                <a:lnTo>
                  <a:pt x="4726329" y="3429960"/>
                </a:lnTo>
                <a:lnTo>
                  <a:pt x="4627175" y="3635791"/>
                </a:lnTo>
                <a:cubicBezTo>
                  <a:pt x="4210233" y="4403313"/>
                  <a:pt x="3397050" y="4924346"/>
                  <a:pt x="2462173" y="4924346"/>
                </a:cubicBezTo>
                <a:cubicBezTo>
                  <a:pt x="1102352" y="4924346"/>
                  <a:pt x="0" y="3821994"/>
                  <a:pt x="0" y="2462173"/>
                </a:cubicBezTo>
                <a:cubicBezTo>
                  <a:pt x="0" y="1102352"/>
                  <a:pt x="1102352" y="0"/>
                  <a:pt x="2462173" y="0"/>
                </a:cubicBezTo>
                <a:close/>
              </a:path>
            </a:pathLst>
          </a:custGeom>
          <a:solidFill>
            <a:srgbClr val="777777"/>
          </a:solidFill>
        </p:spPr>
        <p:txBody>
          <a:bodyPr wrap="square" anchor="ctr" anchorCtr="1">
            <a:noAutofit/>
          </a:bodyPr>
          <a:lstStyle>
            <a:lvl1pPr marL="0" indent="0" algn="ctr">
              <a:buNone/>
              <a:defRPr>
                <a:solidFill>
                  <a:srgbClr val="FFFFFF"/>
                </a:solidFill>
              </a:defRPr>
            </a:lvl1pPr>
          </a:lstStyle>
          <a:p>
            <a:r>
              <a:rPr lang="en-US"/>
              <a:t>Click picture icon to add photo</a:t>
            </a:r>
          </a:p>
        </p:txBody>
      </p:sp>
      <p:sp>
        <p:nvSpPr>
          <p:cNvPr id="11" name="Date Placeholder">
            <a:extLst>
              <a:ext uri="{FF2B5EF4-FFF2-40B4-BE49-F238E27FC236}">
                <a16:creationId xmlns:a16="http://schemas.microsoft.com/office/drawing/2014/main" id="{56FDEAC7-8736-5846-42B8-66DC00FA3B94}"/>
              </a:ext>
            </a:extLst>
          </p:cNvPr>
          <p:cNvSpPr>
            <a:spLocks noGrp="1" noRot="1" noMove="1" noResize="1" noEditPoints="1" noAdjustHandles="1" noChangeArrowheads="1" noChangeShapeType="1"/>
          </p:cNvSpPr>
          <p:nvPr>
            <p:ph type="dt" sz="half" idx="14"/>
          </p:nvPr>
        </p:nvSpPr>
        <p:spPr>
          <a:xfrm>
            <a:off x="292100" y="5036705"/>
            <a:ext cx="1744664" cy="282957"/>
          </a:xfrm>
        </p:spPr>
        <p:txBody>
          <a:bodyPr/>
          <a:lstStyle>
            <a:lvl1pPr>
              <a:defRPr sz="1200">
                <a:solidFill>
                  <a:srgbClr val="FFFFFF"/>
                </a:solidFill>
              </a:defRPr>
            </a:lvl1pPr>
          </a:lstStyle>
          <a:p>
            <a:fld id="{C75F7465-666F-4675-891F-E92434DCB819}" type="datetime1">
              <a:rPr lang="en-GB" smtClean="0"/>
              <a:t>18/11/2024</a:t>
            </a:fld>
            <a:endParaRPr lang="en-GB"/>
          </a:p>
        </p:txBody>
      </p:sp>
      <p:sp>
        <p:nvSpPr>
          <p:cNvPr id="3" name="Title/Dept Placeholder">
            <a:extLst>
              <a:ext uri="{FF2B5EF4-FFF2-40B4-BE49-F238E27FC236}">
                <a16:creationId xmlns:a16="http://schemas.microsoft.com/office/drawing/2014/main" id="{F49547DD-E825-E7A3-C48A-64AA78C199D4}"/>
              </a:ext>
            </a:extLst>
          </p:cNvPr>
          <p:cNvSpPr>
            <a:spLocks noGrp="1" noRot="1" noMove="1" noResize="1" noEditPoints="1" noAdjustHandles="1" noChangeArrowheads="1" noChangeShapeType="1"/>
          </p:cNvSpPr>
          <p:nvPr>
            <p:ph type="body" sz="quarter" idx="11" hasCustomPrompt="1"/>
          </p:nvPr>
        </p:nvSpPr>
        <p:spPr>
          <a:xfrm>
            <a:off x="292100" y="4560602"/>
            <a:ext cx="6689728" cy="344385"/>
          </a:xfrm>
        </p:spPr>
        <p:txBody>
          <a:bodyPr tIns="0" bIns="0">
            <a:noAutofit/>
          </a:bodyPr>
          <a:lstStyle>
            <a:lvl1pPr marL="0" indent="0">
              <a:lnSpc>
                <a:spcPct val="100000"/>
              </a:lnSpc>
              <a:spcBef>
                <a:spcPts val="0"/>
              </a:spcBef>
              <a:spcAft>
                <a:spcPts val="0"/>
              </a:spcAft>
              <a:buNone/>
              <a:defRPr sz="1200" b="0">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2" name="Presenter Name Placeholder">
            <a:extLst>
              <a:ext uri="{FF2B5EF4-FFF2-40B4-BE49-F238E27FC236}">
                <a16:creationId xmlns:a16="http://schemas.microsoft.com/office/drawing/2014/main" id="{5A598B2A-BB91-C356-7BCC-18D04DA85A8D}"/>
              </a:ext>
            </a:extLst>
          </p:cNvPr>
          <p:cNvSpPr>
            <a:spLocks noGrp="1" noRot="1" noMove="1" noResize="1" noEditPoints="1" noAdjustHandles="1" noChangeArrowheads="1" noChangeShapeType="1"/>
          </p:cNvSpPr>
          <p:nvPr>
            <p:ph type="body" sz="quarter" idx="10" hasCustomPrompt="1"/>
          </p:nvPr>
        </p:nvSpPr>
        <p:spPr>
          <a:xfrm>
            <a:off x="292100" y="4192468"/>
            <a:ext cx="6689728" cy="344384"/>
          </a:xfrm>
        </p:spPr>
        <p:txBody>
          <a:bodyPr tIns="0" bIns="0" anchor="b" anchorCtr="0">
            <a:noAutofit/>
          </a:bodyPr>
          <a:lstStyle>
            <a:lvl1pPr marL="0" indent="0">
              <a:lnSpc>
                <a:spcPct val="100000"/>
              </a:lnSpc>
              <a:spcBef>
                <a:spcPts val="0"/>
              </a:spcBef>
              <a:spcAft>
                <a:spcPts val="0"/>
              </a:spcAft>
              <a:buNone/>
              <a:defRPr sz="1200" b="1">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8" name="Subtitle Placeholder">
            <a:extLst>
              <a:ext uri="{FF2B5EF4-FFF2-40B4-BE49-F238E27FC236}">
                <a16:creationId xmlns:a16="http://schemas.microsoft.com/office/drawing/2014/main" id="{23B6A8FC-C3C4-F7DA-BF00-D56866D5808E}"/>
              </a:ext>
            </a:extLst>
          </p:cNvPr>
          <p:cNvSpPr>
            <a:spLocks noGrp="1" noRot="1" noMove="1" noResize="1" noEditPoints="1" noAdjustHandles="1" noChangeArrowheads="1" noChangeShapeType="1"/>
          </p:cNvSpPr>
          <p:nvPr>
            <p:ph type="subTitle" idx="1"/>
          </p:nvPr>
        </p:nvSpPr>
        <p:spPr>
          <a:xfrm>
            <a:off x="292100" y="3114710"/>
            <a:ext cx="6689729" cy="837882"/>
          </a:xfrm>
        </p:spPr>
        <p:txBody>
          <a:bodyPr>
            <a:noAutofit/>
          </a:bodyPr>
          <a:lstStyle>
            <a:lvl1pPr marL="0" indent="0" algn="l">
              <a:spcBef>
                <a:spcPts val="0"/>
              </a:spcBef>
              <a:spcAft>
                <a:spcPts val="0"/>
              </a:spcAft>
              <a:buNone/>
              <a:defRPr sz="20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Title Placeholder">
            <a:extLst>
              <a:ext uri="{FF2B5EF4-FFF2-40B4-BE49-F238E27FC236}">
                <a16:creationId xmlns:a16="http://schemas.microsoft.com/office/drawing/2014/main" id="{615225DC-38B1-15E3-05E6-88F5A6B976CF}"/>
              </a:ext>
            </a:extLst>
          </p:cNvPr>
          <p:cNvSpPr>
            <a:spLocks noGrp="1" noRot="1" noMove="1" noResize="1" noEditPoints="1" noAdjustHandles="1" noChangeArrowheads="1" noChangeShapeType="1"/>
          </p:cNvSpPr>
          <p:nvPr>
            <p:ph type="ctrTitle" hasCustomPrompt="1"/>
          </p:nvPr>
        </p:nvSpPr>
        <p:spPr>
          <a:xfrm>
            <a:off x="292100" y="654818"/>
            <a:ext cx="6689729" cy="2387600"/>
          </a:xfrm>
          <a:prstGeom prst="rect">
            <a:avLst/>
          </a:prstGeom>
        </p:spPr>
        <p:txBody>
          <a:bodyPr anchor="b">
            <a:noAutofit/>
          </a:bodyPr>
          <a:lstStyle>
            <a:lvl1pPr algn="l">
              <a:defRPr sz="4400">
                <a:solidFill>
                  <a:srgbClr val="FFFFFF"/>
                </a:solidFill>
              </a:defRPr>
            </a:lvl1pPr>
          </a:lstStyle>
          <a:p>
            <a:r>
              <a:rPr lang="en-US"/>
              <a:t>Insert your presentation title here maximum of three lines</a:t>
            </a:r>
          </a:p>
        </p:txBody>
      </p:sp>
      <p:pic>
        <p:nvPicPr>
          <p:cNvPr id="10" name="NielsenIQ GFK lockup" hidden="1">
            <a:extLst>
              <a:ext uri="{FF2B5EF4-FFF2-40B4-BE49-F238E27FC236}">
                <a16:creationId xmlns:a16="http://schemas.microsoft.com/office/drawing/2014/main" id="{5AD45FDA-A06C-6A25-4D77-005D36A8D623}"/>
              </a:ext>
            </a:extLst>
          </p:cNvPr>
          <p:cNvPicPr>
            <a:picLocks noGrp="1" noRo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86122" y="5539740"/>
            <a:ext cx="3377876" cy="753596"/>
          </a:xfrm>
          <a:prstGeom prst="rect">
            <a:avLst/>
          </a:prstGeom>
        </p:spPr>
      </p:pic>
      <p:pic>
        <p:nvPicPr>
          <p:cNvPr id="14" name="NielsenIQ logo+wordmark" descr="A blue text on a black background&#10;&#10;Description automatically generated" hidden="1">
            <a:extLst>
              <a:ext uri="{FF2B5EF4-FFF2-40B4-BE49-F238E27FC236}">
                <a16:creationId xmlns:a16="http://schemas.microsoft.com/office/drawing/2014/main" id="{4592FCA5-867A-BB8D-E995-7A4C9EC3E96A}"/>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tretch>
            <a:fillRect/>
          </a:stretch>
        </p:blipFill>
        <p:spPr>
          <a:xfrm>
            <a:off x="288558" y="5563212"/>
            <a:ext cx="2155411" cy="743616"/>
          </a:xfrm>
          <a:prstGeom prst="rect">
            <a:avLst/>
          </a:prstGeom>
        </p:spPr>
      </p:pic>
      <p:sp>
        <p:nvSpPr>
          <p:cNvPr id="22" name="Nielsen wordmark">
            <a:extLst>
              <a:ext uri="{FF2B5EF4-FFF2-40B4-BE49-F238E27FC236}">
                <a16:creationId xmlns:a16="http://schemas.microsoft.com/office/drawing/2014/main" id="{EA927BD7-665B-50AF-0BB4-89B173418808}"/>
              </a:ext>
            </a:extLst>
          </p:cNvPr>
          <p:cNvSpPr>
            <a:spLocks noGrp="1" noRot="1" noMove="1" noResize="1" noEditPoints="1" noAdjustHandles="1" noChangeArrowheads="1" noChangeShapeType="1"/>
          </p:cNvSpPr>
          <p:nvPr userDrawn="1"/>
        </p:nvSpPr>
        <p:spPr>
          <a:xfrm>
            <a:off x="295274" y="5686380"/>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accent3"/>
          </a:solidFill>
          <a:ln w="774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184071896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 Illustration">
    <p:spTree>
      <p:nvGrpSpPr>
        <p:cNvPr id="1" name=""/>
        <p:cNvGrpSpPr/>
        <p:nvPr/>
      </p:nvGrpSpPr>
      <p:grpSpPr>
        <a:xfrm>
          <a:off x="0" y="0"/>
          <a:ext cx="0" cy="0"/>
          <a:chOff x="0" y="0"/>
          <a:chExt cx="0" cy="0"/>
        </a:xfrm>
      </p:grpSpPr>
      <p:pic>
        <p:nvPicPr>
          <p:cNvPr id="12" name="Illustration Background">
            <a:extLst>
              <a:ext uri="{FF2B5EF4-FFF2-40B4-BE49-F238E27FC236}">
                <a16:creationId xmlns:a16="http://schemas.microsoft.com/office/drawing/2014/main" id="{DB788935-E7B2-2CAC-0048-B92417139B6F}"/>
              </a:ext>
            </a:extLst>
          </p:cNvPr>
          <p:cNvPicPr>
            <a:picLocks noGrp="1" noRot="1" noChangeAspec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Lst>
          </a:blip>
          <a:srcRect/>
          <a:stretch/>
        </p:blipFill>
        <p:spPr>
          <a:xfrm>
            <a:off x="2467" y="0"/>
            <a:ext cx="12187065" cy="6858000"/>
          </a:xfrm>
          <a:prstGeom prst="rect">
            <a:avLst/>
          </a:prstGeom>
        </p:spPr>
      </p:pic>
      <p:sp>
        <p:nvSpPr>
          <p:cNvPr id="5" name="Confidential disclaimer">
            <a:extLst>
              <a:ext uri="{FF2B5EF4-FFF2-40B4-BE49-F238E27FC236}">
                <a16:creationId xmlns:a16="http://schemas.microsoft.com/office/drawing/2014/main" id="{CD47C08F-F59E-5783-DCC8-C91095C566CB}"/>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7" name="Copyright Line">
            <a:extLst>
              <a:ext uri="{FF2B5EF4-FFF2-40B4-BE49-F238E27FC236}">
                <a16:creationId xmlns:a16="http://schemas.microsoft.com/office/drawing/2014/main" id="{94679E81-620B-431C-44E4-1FAE9486A5EA}"/>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4" name="Footer Placeholder">
            <a:extLst>
              <a:ext uri="{FF2B5EF4-FFF2-40B4-BE49-F238E27FC236}">
                <a16:creationId xmlns:a16="http://schemas.microsoft.com/office/drawing/2014/main" id="{4D4D5DC7-A70B-2666-E654-41F700D18D02}"/>
              </a:ext>
            </a:extLst>
          </p:cNvPr>
          <p:cNvSpPr>
            <a:spLocks noGrp="1" noRot="1" noMove="1" noResize="1" noEditPoints="1" noAdjustHandles="1" noChangeArrowheads="1" noChangeShapeType="1"/>
          </p:cNvSpPr>
          <p:nvPr>
            <p:ph type="ftr" sz="quarter" idx="13"/>
          </p:nvPr>
        </p:nvSpPr>
        <p:spPr>
          <a:xfrm>
            <a:off x="3251200" y="6485399"/>
            <a:ext cx="3716336" cy="282957"/>
          </a:xfrm>
          <a:noFill/>
        </p:spPr>
        <p:txBody>
          <a:bodyPr/>
          <a:lstStyle>
            <a:lvl1pPr algn="l">
              <a:defRPr>
                <a:solidFill>
                  <a:srgbClr val="FFFFFF"/>
                </a:solidFill>
              </a:defRPr>
            </a:lvl1pPr>
          </a:lstStyle>
          <a:p>
            <a:endParaRPr lang="en-GB"/>
          </a:p>
        </p:txBody>
      </p:sp>
      <p:sp>
        <p:nvSpPr>
          <p:cNvPr id="27" name="Date Placeholder">
            <a:extLst>
              <a:ext uri="{FF2B5EF4-FFF2-40B4-BE49-F238E27FC236}">
                <a16:creationId xmlns:a16="http://schemas.microsoft.com/office/drawing/2014/main" id="{959D1E47-A59F-7F2A-1103-CE2E01F9C34F}"/>
              </a:ext>
            </a:extLst>
          </p:cNvPr>
          <p:cNvSpPr>
            <a:spLocks noGrp="1" noRot="1" noMove="1" noResize="1" noEditPoints="1" noAdjustHandles="1" noChangeArrowheads="1" noChangeShapeType="1"/>
          </p:cNvSpPr>
          <p:nvPr>
            <p:ph type="dt" sz="half" idx="14"/>
          </p:nvPr>
        </p:nvSpPr>
        <p:spPr>
          <a:xfrm>
            <a:off x="292100" y="5036705"/>
            <a:ext cx="1744664" cy="282957"/>
          </a:xfrm>
        </p:spPr>
        <p:txBody>
          <a:bodyPr/>
          <a:lstStyle>
            <a:lvl1pPr>
              <a:defRPr sz="1200">
                <a:solidFill>
                  <a:srgbClr val="FFFFFF"/>
                </a:solidFill>
              </a:defRPr>
            </a:lvl1pPr>
          </a:lstStyle>
          <a:p>
            <a:fld id="{C75F7465-666F-4675-891F-E92434DCB819}" type="datetime1">
              <a:rPr lang="en-GB" smtClean="0"/>
              <a:t>18/11/2024</a:t>
            </a:fld>
            <a:endParaRPr lang="en-GB"/>
          </a:p>
        </p:txBody>
      </p:sp>
      <p:sp>
        <p:nvSpPr>
          <p:cNvPr id="3" name="Title/Dept Placeholder">
            <a:extLst>
              <a:ext uri="{FF2B5EF4-FFF2-40B4-BE49-F238E27FC236}">
                <a16:creationId xmlns:a16="http://schemas.microsoft.com/office/drawing/2014/main" id="{DADB3285-032F-C5EA-E4E6-C62E075FF1F0}"/>
              </a:ext>
            </a:extLst>
          </p:cNvPr>
          <p:cNvSpPr>
            <a:spLocks noGrp="1" noRot="1" noMove="1" noResize="1" noEditPoints="1" noAdjustHandles="1" noChangeArrowheads="1" noChangeShapeType="1"/>
          </p:cNvSpPr>
          <p:nvPr>
            <p:ph type="body" sz="quarter" idx="11" hasCustomPrompt="1"/>
          </p:nvPr>
        </p:nvSpPr>
        <p:spPr>
          <a:xfrm>
            <a:off x="288558" y="4560602"/>
            <a:ext cx="8642082" cy="344385"/>
          </a:xfrm>
        </p:spPr>
        <p:txBody>
          <a:bodyPr tIns="0" bIns="0">
            <a:noAutofit/>
          </a:bodyPr>
          <a:lstStyle>
            <a:lvl1pPr marL="0" indent="0">
              <a:lnSpc>
                <a:spcPct val="100000"/>
              </a:lnSpc>
              <a:spcBef>
                <a:spcPts val="0"/>
              </a:spcBef>
              <a:spcAft>
                <a:spcPts val="0"/>
              </a:spcAft>
              <a:buNone/>
              <a:defRPr sz="1200" b="0">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2" name="Presenter Name Placeholder">
            <a:extLst>
              <a:ext uri="{FF2B5EF4-FFF2-40B4-BE49-F238E27FC236}">
                <a16:creationId xmlns:a16="http://schemas.microsoft.com/office/drawing/2014/main" id="{3417592A-6067-984F-549E-3833CDB76A54}"/>
              </a:ext>
            </a:extLst>
          </p:cNvPr>
          <p:cNvSpPr>
            <a:spLocks noGrp="1" noRot="1" noMove="1" noResize="1" noEditPoints="1" noAdjustHandles="1" noChangeArrowheads="1" noChangeShapeType="1"/>
          </p:cNvSpPr>
          <p:nvPr>
            <p:ph type="body" sz="quarter" idx="10" hasCustomPrompt="1"/>
          </p:nvPr>
        </p:nvSpPr>
        <p:spPr>
          <a:xfrm>
            <a:off x="288558" y="4192468"/>
            <a:ext cx="8642082" cy="344384"/>
          </a:xfrm>
        </p:spPr>
        <p:txBody>
          <a:bodyPr tIns="0" bIns="0" anchor="b" anchorCtr="0">
            <a:noAutofit/>
          </a:bodyPr>
          <a:lstStyle>
            <a:lvl1pPr marL="0" indent="0">
              <a:lnSpc>
                <a:spcPct val="100000"/>
              </a:lnSpc>
              <a:spcBef>
                <a:spcPts val="0"/>
              </a:spcBef>
              <a:spcAft>
                <a:spcPts val="0"/>
              </a:spcAft>
              <a:buNone/>
              <a:defRPr sz="1200" b="1">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17" name="Subtitle Placeholder">
            <a:extLst>
              <a:ext uri="{FF2B5EF4-FFF2-40B4-BE49-F238E27FC236}">
                <a16:creationId xmlns:a16="http://schemas.microsoft.com/office/drawing/2014/main" id="{A4501D72-EE3C-0DA6-BA4B-C1D78BA85AE8}"/>
              </a:ext>
            </a:extLst>
          </p:cNvPr>
          <p:cNvSpPr>
            <a:spLocks noGrp="1" noRot="1" noMove="1" noResize="1" noEditPoints="1" noAdjustHandles="1" noChangeArrowheads="1" noChangeShapeType="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Title Placeholder">
            <a:extLst>
              <a:ext uri="{FF2B5EF4-FFF2-40B4-BE49-F238E27FC236}">
                <a16:creationId xmlns:a16="http://schemas.microsoft.com/office/drawing/2014/main" id="{7987C027-455E-4C45-138D-8334F13BBEEA}"/>
              </a:ext>
            </a:extLst>
          </p:cNvPr>
          <p:cNvSpPr>
            <a:spLocks noGrp="1" noRot="1" noMove="1" noResize="1" noEditPoints="1" noAdjustHandles="1" noChangeArrowheads="1" noChangeShapeType="1"/>
          </p:cNvSpPr>
          <p:nvPr>
            <p:ph type="ctrTitle" hasCustomPrompt="1"/>
          </p:nvPr>
        </p:nvSpPr>
        <p:spPr>
          <a:xfrm>
            <a:off x="288558" y="635035"/>
            <a:ext cx="8642082" cy="2387600"/>
          </a:xfrm>
          <a:prstGeom prst="rect">
            <a:avLst/>
          </a:prstGeom>
        </p:spPr>
        <p:txBody>
          <a:bodyPr anchor="b">
            <a:noAutofit/>
          </a:bodyPr>
          <a:lstStyle>
            <a:lvl1pPr algn="l">
              <a:defRPr sz="5400">
                <a:solidFill>
                  <a:srgbClr val="FFFFFF"/>
                </a:solidFill>
              </a:defRPr>
            </a:lvl1pPr>
          </a:lstStyle>
          <a:p>
            <a:r>
              <a:rPr lang="en-US"/>
              <a:t>Insert your presentation title here maximum of three lines</a:t>
            </a:r>
          </a:p>
        </p:txBody>
      </p:sp>
      <p:pic>
        <p:nvPicPr>
          <p:cNvPr id="6" name="NielsenIQ GFK lockup" hidden="1">
            <a:extLst>
              <a:ext uri="{FF2B5EF4-FFF2-40B4-BE49-F238E27FC236}">
                <a16:creationId xmlns:a16="http://schemas.microsoft.com/office/drawing/2014/main" id="{1527D24A-5EB5-2412-09AA-2A0D682A2D88}"/>
              </a:ext>
            </a:extLst>
          </p:cNvPr>
          <p:cNvPicPr>
            <a:picLocks noGrp="1" noRot="1" noMove="1" noResize="1" noEditPoints="1" noAdjustHandles="1" noChangeArrowheads="1" noChangeShapeType="1" noCrop="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286122" y="5539740"/>
            <a:ext cx="3377876" cy="753596"/>
          </a:xfrm>
          <a:prstGeom prst="rect">
            <a:avLst/>
          </a:prstGeom>
        </p:spPr>
      </p:pic>
      <p:pic>
        <p:nvPicPr>
          <p:cNvPr id="18" name="NielsenIQ logo+wordmark" hidden="1">
            <a:extLst>
              <a:ext uri="{FF2B5EF4-FFF2-40B4-BE49-F238E27FC236}">
                <a16:creationId xmlns:a16="http://schemas.microsoft.com/office/drawing/2014/main" id="{041ECC27-E626-2866-047D-40D91692A395}"/>
              </a:ext>
            </a:extLst>
          </p:cNvPr>
          <p:cNvPicPr>
            <a:picLocks noGrp="1" noRo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val="0"/>
              </a:ext>
            </a:extLst>
          </a:blip>
          <a:srcRect/>
          <a:stretch/>
        </p:blipFill>
        <p:spPr>
          <a:xfrm>
            <a:off x="288559" y="5563212"/>
            <a:ext cx="2155408" cy="743616"/>
          </a:xfrm>
          <a:prstGeom prst="rect">
            <a:avLst/>
          </a:prstGeom>
        </p:spPr>
      </p:pic>
      <p:sp>
        <p:nvSpPr>
          <p:cNvPr id="8" name="Nielsen wordmark">
            <a:extLst>
              <a:ext uri="{FF2B5EF4-FFF2-40B4-BE49-F238E27FC236}">
                <a16:creationId xmlns:a16="http://schemas.microsoft.com/office/drawing/2014/main" id="{4BFD1796-2F8B-4ED9-936A-10DB34E78CAC}"/>
              </a:ext>
            </a:extLst>
          </p:cNvPr>
          <p:cNvSpPr>
            <a:spLocks noGrp="1" noRot="1" noMove="1" noResize="1" noEditPoints="1" noAdjustHandles="1" noChangeArrowheads="1" noChangeShapeType="1"/>
          </p:cNvSpPr>
          <p:nvPr userDrawn="1"/>
        </p:nvSpPr>
        <p:spPr>
          <a:xfrm>
            <a:off x="295274" y="5686380"/>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bg1"/>
          </a:solidFill>
          <a:ln w="774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307630327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 Full-Bleed Photo">
    <p:spTree>
      <p:nvGrpSpPr>
        <p:cNvPr id="1" name=""/>
        <p:cNvGrpSpPr/>
        <p:nvPr/>
      </p:nvGrpSpPr>
      <p:grpSpPr>
        <a:xfrm>
          <a:off x="0" y="0"/>
          <a:ext cx="0" cy="0"/>
          <a:chOff x="0" y="0"/>
          <a:chExt cx="0" cy="0"/>
        </a:xfrm>
      </p:grpSpPr>
      <p:sp>
        <p:nvSpPr>
          <p:cNvPr id="37" name="Off-slide Instructions">
            <a:extLst>
              <a:ext uri="{FF2B5EF4-FFF2-40B4-BE49-F238E27FC236}">
                <a16:creationId xmlns:a16="http://schemas.microsoft.com/office/drawing/2014/main" id="{271856CE-9F0A-4AD8-67ED-834B35F367B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12338614" y="0"/>
            <a:ext cx="2812486" cy="2373888"/>
          </a:xfrm>
          <a:prstGeom prst="bracketPair">
            <a:avLst>
              <a:gd name="adj" fmla="val 4083"/>
            </a:avLst>
          </a:prstGeom>
          <a:solidFill>
            <a:srgbClr val="FFFF00">
              <a:alpha val="80000"/>
            </a:srgbClr>
          </a:solidFill>
          <a:ln w="38100">
            <a:solidFill>
              <a:srgbClr val="FFC000"/>
            </a:solidFill>
          </a:ln>
        </p:spPr>
        <p:style>
          <a:lnRef idx="1">
            <a:schemeClr val="accent1"/>
          </a:lnRef>
          <a:fillRef idx="0">
            <a:schemeClr val="accent1"/>
          </a:fillRef>
          <a:effectRef idx="0">
            <a:schemeClr val="accent1"/>
          </a:effectRef>
          <a:fontRef idx="minor">
            <a:schemeClr val="tx1"/>
          </a:fontRef>
        </p:style>
        <p:txBody>
          <a:bodyPr wrap="square" rtlCol="0" anchor="ctr">
            <a:spAutoFit/>
          </a:bodyPr>
          <a:lstStyle/>
          <a:p>
            <a:pPr marL="0" indent="0" algn="l" defTabSz="914400" rtl="0" eaLnBrk="1" latinLnBrk="0" hangingPunct="1">
              <a:spcAft>
                <a:spcPts val="400"/>
              </a:spcAft>
              <a:buFont typeface="+mj-lt"/>
              <a:buNone/>
            </a:pPr>
            <a:r>
              <a:rPr lang="en-US" sz="1200" b="1" kern="1200">
                <a:solidFill>
                  <a:srgbClr val="000000"/>
                </a:solidFill>
                <a:latin typeface="+mn-lt"/>
                <a:ea typeface="+mn-ea"/>
                <a:cs typeface="+mn-cs"/>
              </a:rPr>
              <a:t>If logo, copyright line, footer, etc. are missing:</a:t>
            </a:r>
          </a:p>
          <a:p>
            <a:pPr marL="177800" lvl="0" indent="-177800">
              <a:spcAft>
                <a:spcPts val="400"/>
              </a:spcAft>
              <a:buFont typeface="+mj-lt"/>
              <a:buAutoNum type="arabicPeriod"/>
            </a:pPr>
            <a:r>
              <a:rPr lang="en-US" sz="800">
                <a:solidFill>
                  <a:srgbClr val="000000"/>
                </a:solidFill>
              </a:rPr>
              <a:t>Go to </a:t>
            </a:r>
            <a:r>
              <a:rPr lang="en-US" sz="800" b="1">
                <a:solidFill>
                  <a:srgbClr val="000000"/>
                </a:solidFill>
              </a:rPr>
              <a:t>View &gt; Slide Master</a:t>
            </a:r>
          </a:p>
          <a:p>
            <a:pPr marL="177800" lvl="0" indent="-177800">
              <a:spcAft>
                <a:spcPts val="400"/>
              </a:spcAft>
              <a:buFont typeface="+mj-lt"/>
              <a:buAutoNum type="arabicPeriod"/>
            </a:pPr>
            <a:r>
              <a:rPr lang="en-US" sz="800">
                <a:solidFill>
                  <a:srgbClr val="000000"/>
                </a:solidFill>
              </a:rPr>
              <a:t>Copy logo and footer elements from Layout Master</a:t>
            </a:r>
          </a:p>
          <a:p>
            <a:pPr marL="177800" lvl="0" indent="-177800">
              <a:spcAft>
                <a:spcPts val="400"/>
              </a:spcAft>
              <a:buFont typeface="+mj-lt"/>
              <a:buAutoNum type="arabicPeriod"/>
            </a:pPr>
            <a:r>
              <a:rPr lang="en-US" sz="800">
                <a:solidFill>
                  <a:srgbClr val="000000"/>
                </a:solidFill>
              </a:rPr>
              <a:t>Close Master View</a:t>
            </a:r>
          </a:p>
          <a:p>
            <a:pPr marL="177800" lvl="0" indent="-177800">
              <a:spcAft>
                <a:spcPts val="400"/>
              </a:spcAft>
              <a:buFont typeface="+mj-lt"/>
              <a:buAutoNum type="arabicPeriod"/>
            </a:pPr>
            <a:r>
              <a:rPr lang="en-US" sz="800">
                <a:solidFill>
                  <a:srgbClr val="000000"/>
                </a:solidFill>
              </a:rPr>
              <a:t>Paste on slide</a:t>
            </a:r>
            <a:endParaRPr lang="en-US" sz="1200" b="1">
              <a:solidFill>
                <a:srgbClr val="000000"/>
              </a:solidFill>
            </a:endParaRPr>
          </a:p>
          <a:p>
            <a:pPr>
              <a:spcAft>
                <a:spcPts val="400"/>
              </a:spcAft>
            </a:pPr>
            <a:endParaRPr lang="en-US" sz="1200" b="1">
              <a:solidFill>
                <a:srgbClr val="000000"/>
              </a:solidFill>
            </a:endParaRPr>
          </a:p>
          <a:p>
            <a:pPr>
              <a:spcAft>
                <a:spcPts val="400"/>
              </a:spcAft>
            </a:pPr>
            <a:r>
              <a:rPr lang="en-US" sz="1200" b="1">
                <a:solidFill>
                  <a:srgbClr val="000000"/>
                </a:solidFill>
              </a:rPr>
              <a:t>To replace existing image:</a:t>
            </a:r>
          </a:p>
          <a:p>
            <a:pPr marL="174625" indent="-174625">
              <a:spcAft>
                <a:spcPts val="400"/>
              </a:spcAft>
              <a:buFont typeface="+mj-lt"/>
              <a:buAutoNum type="arabicPeriod"/>
            </a:pPr>
            <a:r>
              <a:rPr lang="en-US" sz="800">
                <a:solidFill>
                  <a:srgbClr val="000000"/>
                </a:solidFill>
              </a:rPr>
              <a:t>Right-click image placeholder</a:t>
            </a:r>
          </a:p>
          <a:p>
            <a:pPr marL="174625" indent="-174625">
              <a:spcAft>
                <a:spcPts val="400"/>
              </a:spcAft>
              <a:buFont typeface="+mj-lt"/>
              <a:buAutoNum type="arabicPeriod"/>
            </a:pPr>
            <a:r>
              <a:rPr lang="en-US" sz="800">
                <a:solidFill>
                  <a:srgbClr val="000000"/>
                </a:solidFill>
              </a:rPr>
              <a:t>Select </a:t>
            </a:r>
            <a:r>
              <a:rPr lang="en-US" sz="800" b="1">
                <a:solidFill>
                  <a:srgbClr val="000000"/>
                </a:solidFill>
              </a:rPr>
              <a:t>Change Picture</a:t>
            </a:r>
          </a:p>
          <a:p>
            <a:pPr marL="174625" indent="-174625">
              <a:spcAft>
                <a:spcPts val="400"/>
              </a:spcAft>
              <a:buFont typeface="+mj-lt"/>
              <a:buAutoNum type="arabicPeriod"/>
            </a:pPr>
            <a:r>
              <a:rPr lang="en-US" sz="800">
                <a:solidFill>
                  <a:srgbClr val="000000"/>
                </a:solidFill>
              </a:rPr>
              <a:t>Select</a:t>
            </a:r>
            <a:r>
              <a:rPr lang="en-US" sz="800" b="1">
                <a:solidFill>
                  <a:srgbClr val="000000"/>
                </a:solidFill>
              </a:rPr>
              <a:t> desired </a:t>
            </a:r>
            <a:r>
              <a:rPr lang="en-US" sz="800">
                <a:solidFill>
                  <a:srgbClr val="000000"/>
                </a:solidFill>
              </a:rPr>
              <a:t>image file (.jpg, .</a:t>
            </a:r>
            <a:r>
              <a:rPr lang="en-US" sz="800" err="1">
                <a:solidFill>
                  <a:srgbClr val="000000"/>
                </a:solidFill>
              </a:rPr>
              <a:t>png</a:t>
            </a:r>
            <a:r>
              <a:rPr lang="en-US" sz="800">
                <a:solidFill>
                  <a:srgbClr val="000000"/>
                </a:solidFill>
              </a:rPr>
              <a:t>, .gif)</a:t>
            </a:r>
          </a:p>
          <a:p>
            <a:pPr marL="174625" indent="-174625">
              <a:spcAft>
                <a:spcPts val="400"/>
              </a:spcAft>
              <a:buFont typeface="+mj-lt"/>
              <a:buAutoNum type="arabicPeriod"/>
            </a:pPr>
            <a:endParaRPr lang="en-US" sz="800">
              <a:solidFill>
                <a:srgbClr val="000000"/>
              </a:solidFill>
            </a:endParaRPr>
          </a:p>
        </p:txBody>
      </p:sp>
      <p:sp>
        <p:nvSpPr>
          <p:cNvPr id="21" name="Picture Placeholder">
            <a:extLst>
              <a:ext uri="{FF2B5EF4-FFF2-40B4-BE49-F238E27FC236}">
                <a16:creationId xmlns:a16="http://schemas.microsoft.com/office/drawing/2014/main" id="{52F19A97-1265-FCED-7EE6-B54C73691BB4}"/>
              </a:ext>
            </a:extLst>
          </p:cNvPr>
          <p:cNvSpPr>
            <a:spLocks noGrp="1" noRot="1" noMove="1" noResize="1" noEditPoints="1" noAdjustHandles="1" noChangeArrowheads="1" noChangeShapeType="1"/>
          </p:cNvSpPr>
          <p:nvPr>
            <p:ph type="pic" sz="quarter" idx="16" hasCustomPrompt="1"/>
          </p:nvPr>
        </p:nvSpPr>
        <p:spPr>
          <a:xfrm>
            <a:off x="0" y="0"/>
            <a:ext cx="12192000" cy="6858000"/>
          </a:xfrm>
          <a:solidFill>
            <a:schemeClr val="tx1">
              <a:lumMod val="60000"/>
              <a:lumOff val="40000"/>
            </a:schemeClr>
          </a:solidFill>
        </p:spPr>
        <p:txBody>
          <a:bodyPr lIns="9144000" tIns="91440" rIns="0" anchor="t">
            <a:normAutofit/>
          </a:bodyPr>
          <a:lstStyle>
            <a:lvl1pPr marL="228600" indent="-228600" algn="l">
              <a:buFont typeface="Arial" panose="020B0604020202020204" pitchFamily="34" charset="0"/>
              <a:buNone/>
              <a:defRPr sz="1400" b="1">
                <a:solidFill>
                  <a:srgbClr val="FFFF00"/>
                </a:solidFill>
              </a:defRPr>
            </a:lvl1pPr>
          </a:lstStyle>
          <a:p>
            <a:r>
              <a:rPr lang="en-US"/>
              <a:t>To add image: </a:t>
            </a:r>
            <a:br>
              <a:rPr lang="en-US"/>
            </a:br>
            <a:r>
              <a:rPr lang="en-US"/>
              <a:t>1. Select image placeholder</a:t>
            </a:r>
            <a:br>
              <a:rPr lang="en-US"/>
            </a:br>
            <a:r>
              <a:rPr lang="en-US"/>
              <a:t>2. Drag/drop file or copy/paste image into slide (.jpg, .gif, .</a:t>
            </a:r>
            <a:r>
              <a:rPr lang="en-US" err="1"/>
              <a:t>png</a:t>
            </a:r>
            <a:r>
              <a:rPr lang="en-US"/>
              <a:t>)</a:t>
            </a:r>
            <a:br>
              <a:rPr lang="en-US"/>
            </a:br>
            <a:r>
              <a:rPr lang="en-US"/>
              <a:t>3. Right-click image and “Send to back”</a:t>
            </a:r>
          </a:p>
        </p:txBody>
      </p:sp>
      <p:sp>
        <p:nvSpPr>
          <p:cNvPr id="5" name="Confidential disclaimer">
            <a:extLst>
              <a:ext uri="{FF2B5EF4-FFF2-40B4-BE49-F238E27FC236}">
                <a16:creationId xmlns:a16="http://schemas.microsoft.com/office/drawing/2014/main" id="{5608DDC1-C01E-6D4A-6FBF-3A04BB3F9975}"/>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7" name="Copyright Line">
            <a:extLst>
              <a:ext uri="{FF2B5EF4-FFF2-40B4-BE49-F238E27FC236}">
                <a16:creationId xmlns:a16="http://schemas.microsoft.com/office/drawing/2014/main" id="{94679E81-620B-431C-44E4-1FAE9486A5EA}"/>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4" name="Footer Placeholder">
            <a:extLst>
              <a:ext uri="{FF2B5EF4-FFF2-40B4-BE49-F238E27FC236}">
                <a16:creationId xmlns:a16="http://schemas.microsoft.com/office/drawing/2014/main" id="{EC7B7A51-3AAD-04A0-499C-1BDCF93D6A34}"/>
              </a:ext>
            </a:extLst>
          </p:cNvPr>
          <p:cNvSpPr>
            <a:spLocks noGrp="1" noRot="1" noMove="1" noResize="1" noEditPoints="1" noAdjustHandles="1" noChangeArrowheads="1" noChangeShapeType="1"/>
          </p:cNvSpPr>
          <p:nvPr>
            <p:ph type="ftr" sz="quarter" idx="13"/>
          </p:nvPr>
        </p:nvSpPr>
        <p:spPr>
          <a:xfrm>
            <a:off x="3251200" y="6485399"/>
            <a:ext cx="3716336" cy="282957"/>
          </a:xfrm>
          <a:noFill/>
        </p:spPr>
        <p:txBody>
          <a:bodyPr/>
          <a:lstStyle>
            <a:lvl1pPr algn="l">
              <a:defRPr>
                <a:solidFill>
                  <a:srgbClr val="FFFFFF"/>
                </a:solidFill>
              </a:defRPr>
            </a:lvl1pPr>
          </a:lstStyle>
          <a:p>
            <a:endParaRPr lang="en-GB"/>
          </a:p>
        </p:txBody>
      </p:sp>
      <p:sp>
        <p:nvSpPr>
          <p:cNvPr id="22" name="Date Placeholder">
            <a:extLst>
              <a:ext uri="{FF2B5EF4-FFF2-40B4-BE49-F238E27FC236}">
                <a16:creationId xmlns:a16="http://schemas.microsoft.com/office/drawing/2014/main" id="{2FF3E537-3200-2E95-28C8-4005E0D0E4DF}"/>
              </a:ext>
            </a:extLst>
          </p:cNvPr>
          <p:cNvSpPr>
            <a:spLocks noGrp="1" noRot="1" noMove="1" noResize="1" noEditPoints="1" noAdjustHandles="1" noChangeArrowheads="1" noChangeShapeType="1"/>
          </p:cNvSpPr>
          <p:nvPr>
            <p:ph type="dt" sz="half" idx="14"/>
          </p:nvPr>
        </p:nvSpPr>
        <p:spPr>
          <a:xfrm>
            <a:off x="292100" y="5036705"/>
            <a:ext cx="1744664" cy="282957"/>
          </a:xfrm>
        </p:spPr>
        <p:txBody>
          <a:bodyPr/>
          <a:lstStyle>
            <a:lvl1pPr>
              <a:defRPr sz="1200">
                <a:solidFill>
                  <a:srgbClr val="FFFFFF"/>
                </a:solidFill>
              </a:defRPr>
            </a:lvl1pPr>
          </a:lstStyle>
          <a:p>
            <a:fld id="{C75F7465-666F-4675-891F-E92434DCB819}" type="datetime1">
              <a:rPr lang="en-GB" smtClean="0"/>
              <a:t>18/11/2024</a:t>
            </a:fld>
            <a:endParaRPr lang="en-GB"/>
          </a:p>
        </p:txBody>
      </p:sp>
      <p:sp>
        <p:nvSpPr>
          <p:cNvPr id="3" name="Title/Dept Placeholder">
            <a:extLst>
              <a:ext uri="{FF2B5EF4-FFF2-40B4-BE49-F238E27FC236}">
                <a16:creationId xmlns:a16="http://schemas.microsoft.com/office/drawing/2014/main" id="{DADB3285-032F-C5EA-E4E6-C62E075FF1F0}"/>
              </a:ext>
            </a:extLst>
          </p:cNvPr>
          <p:cNvSpPr>
            <a:spLocks noGrp="1" noRot="1" noMove="1" noResize="1" noEditPoints="1" noAdjustHandles="1" noChangeArrowheads="1" noChangeShapeType="1"/>
          </p:cNvSpPr>
          <p:nvPr>
            <p:ph type="body" sz="quarter" idx="11" hasCustomPrompt="1"/>
          </p:nvPr>
        </p:nvSpPr>
        <p:spPr>
          <a:xfrm>
            <a:off x="288558" y="4560602"/>
            <a:ext cx="8642082" cy="344385"/>
          </a:xfrm>
        </p:spPr>
        <p:txBody>
          <a:bodyPr tIns="0" bIns="0">
            <a:noAutofit/>
          </a:bodyPr>
          <a:lstStyle>
            <a:lvl1pPr marL="0" indent="0">
              <a:lnSpc>
                <a:spcPct val="100000"/>
              </a:lnSpc>
              <a:spcBef>
                <a:spcPts val="0"/>
              </a:spcBef>
              <a:spcAft>
                <a:spcPts val="0"/>
              </a:spcAft>
              <a:buNone/>
              <a:defRPr sz="1200" b="0">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2" name="Presenter Name Placeholder">
            <a:extLst>
              <a:ext uri="{FF2B5EF4-FFF2-40B4-BE49-F238E27FC236}">
                <a16:creationId xmlns:a16="http://schemas.microsoft.com/office/drawing/2014/main" id="{3417592A-6067-984F-549E-3833CDB76A54}"/>
              </a:ext>
            </a:extLst>
          </p:cNvPr>
          <p:cNvSpPr>
            <a:spLocks noGrp="1" noRot="1" noMove="1" noResize="1" noEditPoints="1" noAdjustHandles="1" noChangeArrowheads="1" noChangeShapeType="1"/>
          </p:cNvSpPr>
          <p:nvPr>
            <p:ph type="body" sz="quarter" idx="10" hasCustomPrompt="1"/>
          </p:nvPr>
        </p:nvSpPr>
        <p:spPr>
          <a:xfrm>
            <a:off x="288558" y="4192468"/>
            <a:ext cx="8642082" cy="344384"/>
          </a:xfrm>
        </p:spPr>
        <p:txBody>
          <a:bodyPr tIns="0" bIns="0" anchor="b" anchorCtr="0">
            <a:noAutofit/>
          </a:bodyPr>
          <a:lstStyle>
            <a:lvl1pPr marL="0" indent="0">
              <a:lnSpc>
                <a:spcPct val="100000"/>
              </a:lnSpc>
              <a:spcBef>
                <a:spcPts val="0"/>
              </a:spcBef>
              <a:spcAft>
                <a:spcPts val="0"/>
              </a:spcAft>
              <a:buNone/>
              <a:defRPr sz="1200" b="1">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17" name="Subtitle Placeholder">
            <a:extLst>
              <a:ext uri="{FF2B5EF4-FFF2-40B4-BE49-F238E27FC236}">
                <a16:creationId xmlns:a16="http://schemas.microsoft.com/office/drawing/2014/main" id="{A4501D72-EE3C-0DA6-BA4B-C1D78BA85AE8}"/>
              </a:ext>
            </a:extLst>
          </p:cNvPr>
          <p:cNvSpPr>
            <a:spLocks noGrp="1" noRot="1" noMove="1" noResize="1" noEditPoints="1" noAdjustHandles="1" noChangeArrowheads="1" noChangeShapeType="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Title Placeholder">
            <a:extLst>
              <a:ext uri="{FF2B5EF4-FFF2-40B4-BE49-F238E27FC236}">
                <a16:creationId xmlns:a16="http://schemas.microsoft.com/office/drawing/2014/main" id="{7987C027-455E-4C45-138D-8334F13BBEEA}"/>
              </a:ext>
            </a:extLst>
          </p:cNvPr>
          <p:cNvSpPr>
            <a:spLocks noGrp="1" noRot="1" noMove="1" noResize="1" noEditPoints="1" noAdjustHandles="1" noChangeArrowheads="1" noChangeShapeType="1"/>
          </p:cNvSpPr>
          <p:nvPr>
            <p:ph type="ctrTitle" hasCustomPrompt="1"/>
          </p:nvPr>
        </p:nvSpPr>
        <p:spPr>
          <a:xfrm>
            <a:off x="288558" y="635035"/>
            <a:ext cx="8642082" cy="2387600"/>
          </a:xfrm>
          <a:prstGeom prst="rect">
            <a:avLst/>
          </a:prstGeom>
        </p:spPr>
        <p:txBody>
          <a:bodyPr anchor="b">
            <a:noAutofit/>
          </a:bodyPr>
          <a:lstStyle>
            <a:lvl1pPr algn="l">
              <a:defRPr sz="5400">
                <a:solidFill>
                  <a:srgbClr val="FFFFFF"/>
                </a:solidFill>
              </a:defRPr>
            </a:lvl1pPr>
          </a:lstStyle>
          <a:p>
            <a:r>
              <a:rPr lang="en-US"/>
              <a:t>Insert your presentation title here maximum of three lines</a:t>
            </a:r>
          </a:p>
        </p:txBody>
      </p:sp>
      <p:pic>
        <p:nvPicPr>
          <p:cNvPr id="6" name="NielsenIQ GFK lockup" hidden="1">
            <a:extLst>
              <a:ext uri="{FF2B5EF4-FFF2-40B4-BE49-F238E27FC236}">
                <a16:creationId xmlns:a16="http://schemas.microsoft.com/office/drawing/2014/main" id="{5418E13B-8AFF-E657-70EF-BADD9F33A385}"/>
              </a:ext>
            </a:extLst>
          </p:cNvPr>
          <p:cNvPicPr>
            <a:picLocks noGrp="1" noRo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86122" y="5539740"/>
            <a:ext cx="3377876" cy="753596"/>
          </a:xfrm>
          <a:prstGeom prst="rect">
            <a:avLst/>
          </a:prstGeom>
        </p:spPr>
      </p:pic>
      <p:pic>
        <p:nvPicPr>
          <p:cNvPr id="18" name="NielsenIQ logo+wordmark" hidden="1">
            <a:extLst>
              <a:ext uri="{FF2B5EF4-FFF2-40B4-BE49-F238E27FC236}">
                <a16:creationId xmlns:a16="http://schemas.microsoft.com/office/drawing/2014/main" id="{041ECC27-E626-2866-047D-40D91692A395}"/>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rcRect/>
          <a:stretch/>
        </p:blipFill>
        <p:spPr>
          <a:xfrm>
            <a:off x="288559" y="5563212"/>
            <a:ext cx="2155408" cy="743616"/>
          </a:xfrm>
          <a:prstGeom prst="rect">
            <a:avLst/>
          </a:prstGeom>
        </p:spPr>
      </p:pic>
      <p:sp>
        <p:nvSpPr>
          <p:cNvPr id="38" name="Nielsen wordmark">
            <a:extLst>
              <a:ext uri="{FF2B5EF4-FFF2-40B4-BE49-F238E27FC236}">
                <a16:creationId xmlns:a16="http://schemas.microsoft.com/office/drawing/2014/main" id="{6D5C1F9E-5298-0893-F83B-8DC3C0EC17DD}"/>
              </a:ext>
            </a:extLst>
          </p:cNvPr>
          <p:cNvSpPr>
            <a:spLocks noGrp="1" noRot="1" noMove="1" noResize="1" noEditPoints="1" noAdjustHandles="1" noChangeArrowheads="1" noChangeShapeType="1"/>
          </p:cNvSpPr>
          <p:nvPr userDrawn="1"/>
        </p:nvSpPr>
        <p:spPr>
          <a:xfrm>
            <a:off x="295274" y="5686380"/>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bg1"/>
          </a:solidFill>
          <a:ln w="774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164937703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a:extLst>
              <a:ext uri="{FF2B5EF4-FFF2-40B4-BE49-F238E27FC236}">
                <a16:creationId xmlns:a16="http://schemas.microsoft.com/office/drawing/2014/main" id="{FD1F3F95-8F1D-9A9D-41FB-B771E1512249}"/>
              </a:ext>
            </a:extLst>
          </p:cNvPr>
          <p:cNvSpPr>
            <a:spLocks noGrp="1" noRot="1" noMove="1" noResize="1" noEditPoints="1" noAdjustHandles="1" noChangeArrowheads="1" noChangeShapeType="1"/>
          </p:cNvSpPr>
          <p:nvPr>
            <p:ph type="sldNum" sz="quarter" idx="12"/>
          </p:nvPr>
        </p:nvSpPr>
        <p:spPr/>
        <p:txBody>
          <a:bodyPr/>
          <a:lstStyle/>
          <a:p>
            <a:fld id="{3E04DF46-C0DC-4ADC-9A6F-918CC4703A43}" type="slidenum">
              <a:rPr lang="en-GB" smtClean="0"/>
              <a:t>‹#›</a:t>
            </a:fld>
            <a:endParaRPr lang="en-GB"/>
          </a:p>
        </p:txBody>
      </p:sp>
      <p:sp>
        <p:nvSpPr>
          <p:cNvPr id="5" name="Footer Placeholder">
            <a:extLst>
              <a:ext uri="{FF2B5EF4-FFF2-40B4-BE49-F238E27FC236}">
                <a16:creationId xmlns:a16="http://schemas.microsoft.com/office/drawing/2014/main" id="{9F5B23B2-FEF2-DCC0-334E-3B80B3A03AE6}"/>
              </a:ext>
            </a:extLst>
          </p:cNvPr>
          <p:cNvSpPr>
            <a:spLocks noGrp="1" noRot="1" noMove="1" noResize="1" noEditPoints="1" noAdjustHandles="1" noChangeArrowheads="1" noChangeShapeType="1"/>
          </p:cNvSpPr>
          <p:nvPr>
            <p:ph type="ftr" sz="quarter" idx="11"/>
          </p:nvPr>
        </p:nvSpPr>
        <p:spPr/>
        <p:txBody>
          <a:bodyPr/>
          <a:lstStyle/>
          <a:p>
            <a:endParaRPr lang="en-GB"/>
          </a:p>
        </p:txBody>
      </p:sp>
      <p:sp>
        <p:nvSpPr>
          <p:cNvPr id="4" name="Date Placeholder">
            <a:extLst>
              <a:ext uri="{FF2B5EF4-FFF2-40B4-BE49-F238E27FC236}">
                <a16:creationId xmlns:a16="http://schemas.microsoft.com/office/drawing/2014/main" id="{35847737-8381-A612-E054-E1C098244CD5}"/>
              </a:ext>
            </a:extLst>
          </p:cNvPr>
          <p:cNvSpPr>
            <a:spLocks noGrp="1" noRot="1" noMove="1" noResize="1" noEditPoints="1" noAdjustHandles="1" noChangeArrowheads="1" noChangeShapeType="1"/>
          </p:cNvSpPr>
          <p:nvPr>
            <p:ph type="dt" sz="half" idx="10"/>
          </p:nvPr>
        </p:nvSpPr>
        <p:spPr/>
        <p:txBody>
          <a:bodyPr/>
          <a:lstStyle/>
          <a:p>
            <a:fld id="{96FE6D9B-E395-4A22-A7DB-AC096A22C7CA}" type="datetime1">
              <a:rPr lang="en-GB" smtClean="0"/>
              <a:t>18/11/2024</a:t>
            </a:fld>
            <a:endParaRPr lang="en-GB"/>
          </a:p>
        </p:txBody>
      </p:sp>
      <p:sp>
        <p:nvSpPr>
          <p:cNvPr id="13" name="Source Placeholder">
            <a:extLst>
              <a:ext uri="{FF2B5EF4-FFF2-40B4-BE49-F238E27FC236}">
                <a16:creationId xmlns:a16="http://schemas.microsoft.com/office/drawing/2014/main" id="{81E36804-955F-07A1-88DF-9B603E5E262A}"/>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3" name="Content Placeholder">
            <a:extLst>
              <a:ext uri="{FF2B5EF4-FFF2-40B4-BE49-F238E27FC236}">
                <a16:creationId xmlns:a16="http://schemas.microsoft.com/office/drawing/2014/main" id="{04974C89-D6D3-D29A-E142-BB21F4F82BF1}"/>
              </a:ext>
            </a:extLst>
          </p:cNvPr>
          <p:cNvSpPr>
            <a:spLocks noGrp="1" noRot="1" noMove="1" noResize="1" noEditPoints="1" noAdjustHandles="1" noChangeArrowheads="1" noChangeShapeType="1"/>
          </p:cNvSpPr>
          <p:nvPr>
            <p:ph idx="1" hasCustomPrompt="1"/>
          </p:nvPr>
        </p:nvSpPr>
        <p:spPr/>
        <p:txBody>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ubtitle Placeholder">
            <a:extLst>
              <a:ext uri="{FF2B5EF4-FFF2-40B4-BE49-F238E27FC236}">
                <a16:creationId xmlns:a16="http://schemas.microsoft.com/office/drawing/2014/main" id="{D7CEFD0E-11F5-45EC-2759-A609F998C673}"/>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11" name="Title Placeholder">
            <a:extLst>
              <a:ext uri="{FF2B5EF4-FFF2-40B4-BE49-F238E27FC236}">
                <a16:creationId xmlns:a16="http://schemas.microsoft.com/office/drawing/2014/main" id="{063DF22F-A0F5-4EAA-7380-343ABC31C9B0}"/>
              </a:ext>
            </a:extLst>
          </p:cNvPr>
          <p:cNvSpPr>
            <a:spLocks noGrp="1" noRot="1" noMove="1" noResize="1" noEditPoints="1" noAdjustHandles="1" noChangeArrowheads="1" noChangeShapeType="1"/>
          </p:cNvSpPr>
          <p:nvPr>
            <p:ph type="title" hasCustomPrompt="1"/>
          </p:nvPr>
        </p:nvSpPr>
        <p:spPr/>
        <p:txBody>
          <a:bodyPr/>
          <a:lstStyle/>
          <a:p>
            <a:r>
              <a:rPr lang="en-US"/>
              <a:t>Insert your slide title in Arial Bold 20pt</a:t>
            </a:r>
            <a:endParaRPr lang="en-GB"/>
          </a:p>
        </p:txBody>
      </p:sp>
    </p:spTree>
    <p:extLst>
      <p:ext uri="{BB962C8B-B14F-4D97-AF65-F5344CB8AC3E}">
        <p14:creationId xmlns:p14="http://schemas.microsoft.com/office/powerpoint/2010/main" val="13841063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Sidebar">
    <p:bg>
      <p:bgRef idx="1001">
        <a:schemeClr val="bg1"/>
      </p:bgRef>
    </p:bg>
    <p:spTree>
      <p:nvGrpSpPr>
        <p:cNvPr id="1" name=""/>
        <p:cNvGrpSpPr/>
        <p:nvPr/>
      </p:nvGrpSpPr>
      <p:grpSpPr>
        <a:xfrm>
          <a:off x="0" y="0"/>
          <a:ext cx="0" cy="0"/>
          <a:chOff x="0" y="0"/>
          <a:chExt cx="0" cy="0"/>
        </a:xfrm>
      </p:grpSpPr>
      <p:sp>
        <p:nvSpPr>
          <p:cNvPr id="7" name="Static Light Bkgd">
            <a:extLst>
              <a:ext uri="{FF2B5EF4-FFF2-40B4-BE49-F238E27FC236}">
                <a16:creationId xmlns:a16="http://schemas.microsoft.com/office/drawing/2014/main" id="{D1093FDC-ACBE-C97A-79EC-30B506F35131}"/>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Block Bkgd">
            <a:extLst>
              <a:ext uri="{FF2B5EF4-FFF2-40B4-BE49-F238E27FC236}">
                <a16:creationId xmlns:a16="http://schemas.microsoft.com/office/drawing/2014/main" id="{61051253-1566-C6AD-277E-C41693FE3B9F}"/>
              </a:ext>
            </a:extLst>
          </p:cNvPr>
          <p:cNvSpPr>
            <a:spLocks noGrp="1" noRot="1" noMove="1" noResize="1" noEditPoints="1" noAdjustHandles="1" noChangeArrowheads="1" noChangeShapeType="1"/>
          </p:cNvSpPr>
          <p:nvPr userDrawn="1"/>
        </p:nvSpPr>
        <p:spPr>
          <a:xfrm>
            <a:off x="0" y="0"/>
            <a:ext cx="4002916" cy="685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GB" err="1"/>
          </a:p>
        </p:txBody>
      </p:sp>
      <p:cxnSp>
        <p:nvCxnSpPr>
          <p:cNvPr id="16" name="Base Rule">
            <a:extLst>
              <a:ext uri="{FF2B5EF4-FFF2-40B4-BE49-F238E27FC236}">
                <a16:creationId xmlns:a16="http://schemas.microsoft.com/office/drawing/2014/main" id="{A76E5B64-AFD0-1002-8187-608F612A25A9}"/>
              </a:ext>
            </a:extLst>
          </p:cNvPr>
          <p:cNvCxnSpPr>
            <a:cxnSpLocks noGrp="1" noRot="1" noMove="1" noResize="1" noEditPoints="1" noAdjustHandles="1" noChangeArrowheads="1" noChangeShapeType="1"/>
          </p:cNvCxnSpPr>
          <p:nvPr userDrawn="1"/>
        </p:nvCxnSpPr>
        <p:spPr>
          <a:xfrm>
            <a:off x="4237038" y="6395755"/>
            <a:ext cx="7662863" cy="0"/>
          </a:xfrm>
          <a:prstGeom prst="line">
            <a:avLst/>
          </a:prstGeom>
          <a:ln w="12700">
            <a:solidFill>
              <a:srgbClr val="555555"/>
            </a:solidFill>
          </a:ln>
        </p:spPr>
        <p:style>
          <a:lnRef idx="1">
            <a:schemeClr val="accent1"/>
          </a:lnRef>
          <a:fillRef idx="0">
            <a:schemeClr val="accent1"/>
          </a:fillRef>
          <a:effectRef idx="0">
            <a:schemeClr val="accent1"/>
          </a:effectRef>
          <a:fontRef idx="minor">
            <a:schemeClr val="tx1"/>
          </a:fontRef>
        </p:style>
      </p:cxnSp>
      <p:sp>
        <p:nvSpPr>
          <p:cNvPr id="27" name="Slide Number Placeholder">
            <a:extLst>
              <a:ext uri="{FF2B5EF4-FFF2-40B4-BE49-F238E27FC236}">
                <a16:creationId xmlns:a16="http://schemas.microsoft.com/office/drawing/2014/main" id="{6FB508FF-12E5-30CD-260F-1D79AD32367C}"/>
              </a:ext>
            </a:extLst>
          </p:cNvPr>
          <p:cNvSpPr>
            <a:spLocks noGrp="1" noRot="1" noMove="1" noResize="1" noEditPoints="1" noAdjustHandles="1" noChangeArrowheads="1" noChangeShapeType="1"/>
          </p:cNvSpPr>
          <p:nvPr>
            <p:ph type="sldNum" sz="quarter" idx="12"/>
          </p:nvPr>
        </p:nvSpPr>
        <p:spPr>
          <a:xfrm>
            <a:off x="11495577" y="6485399"/>
            <a:ext cx="404321" cy="282957"/>
          </a:xfrm>
        </p:spPr>
        <p:txBody>
          <a:bodyPr/>
          <a:lstStyle/>
          <a:p>
            <a:fld id="{3E04DF46-C0DC-4ADC-9A6F-918CC4703A43}" type="slidenum">
              <a:rPr lang="en-GB" smtClean="0"/>
              <a:pPr/>
              <a:t>‹#›</a:t>
            </a:fld>
            <a:endParaRPr lang="en-GB"/>
          </a:p>
        </p:txBody>
      </p:sp>
      <p:sp>
        <p:nvSpPr>
          <p:cNvPr id="15" name="Copyright Line">
            <a:extLst>
              <a:ext uri="{FF2B5EF4-FFF2-40B4-BE49-F238E27FC236}">
                <a16:creationId xmlns:a16="http://schemas.microsoft.com/office/drawing/2014/main" id="{148E64DD-C38D-F907-E20C-F3A4311DD323}"/>
              </a:ext>
            </a:extLst>
          </p:cNvPr>
          <p:cNvSpPr txBox="1">
            <a:spLocks noGrp="1" noRot="1" noMove="1" noResize="1" noEditPoints="1" noAdjustHandles="1" noChangeArrowheads="1" noChangeShapeType="1"/>
          </p:cNvSpPr>
          <p:nvPr userDrawn="1"/>
        </p:nvSpPr>
        <p:spPr>
          <a:xfrm>
            <a:off x="9167809" y="6526850"/>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a:t>
            </a:r>
            <a:fld id="{92E70860-886D-4303-B2B5-BD1295E1FD39}" type="datetimeyyyy">
              <a:rPr lang="en-US" sz="700" smtClean="0">
                <a:solidFill>
                  <a:schemeClr val="tx1">
                    <a:lumMod val="40000"/>
                    <a:lumOff val="60000"/>
                  </a:schemeClr>
                </a:solidFill>
              </a:rPr>
              <a:t>2024</a:t>
            </a:fld>
            <a:r>
              <a:rPr lang="en-US" sz="700">
                <a:solidFill>
                  <a:schemeClr val="tx1">
                    <a:lumMod val="40000"/>
                    <a:lumOff val="60000"/>
                  </a:schemeClr>
                </a:solidFill>
              </a:rPr>
              <a:t> Nielsen Consumer LLC. All Rights Reserved.</a:t>
            </a:r>
          </a:p>
        </p:txBody>
      </p:sp>
      <p:sp>
        <p:nvSpPr>
          <p:cNvPr id="14" name="Confidential disclaimer">
            <a:extLst>
              <a:ext uri="{FF2B5EF4-FFF2-40B4-BE49-F238E27FC236}">
                <a16:creationId xmlns:a16="http://schemas.microsoft.com/office/drawing/2014/main" id="{8190ED14-46E2-2B63-6E09-DC52ACE59C37}"/>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26" name="Footer Placeholder">
            <a:extLst>
              <a:ext uri="{FF2B5EF4-FFF2-40B4-BE49-F238E27FC236}">
                <a16:creationId xmlns:a16="http://schemas.microsoft.com/office/drawing/2014/main" id="{E183FCE9-1380-C908-3210-D1CC81C316CD}"/>
              </a:ext>
            </a:extLst>
          </p:cNvPr>
          <p:cNvSpPr>
            <a:spLocks noGrp="1" noRot="1" noMove="1" noResize="1" noEditPoints="1" noAdjustHandles="1" noChangeArrowheads="1" noChangeShapeType="1"/>
          </p:cNvSpPr>
          <p:nvPr>
            <p:ph type="ftr" sz="quarter" idx="11"/>
          </p:nvPr>
        </p:nvSpPr>
        <p:spPr>
          <a:xfrm>
            <a:off x="4237038" y="6485399"/>
            <a:ext cx="3056524" cy="282957"/>
          </a:xfrm>
        </p:spPr>
        <p:txBody>
          <a:bodyPr/>
          <a:lstStyle/>
          <a:p>
            <a:endParaRPr lang="en-GB"/>
          </a:p>
        </p:txBody>
      </p:sp>
      <p:sp>
        <p:nvSpPr>
          <p:cNvPr id="10" name="Source Placeholder">
            <a:extLst>
              <a:ext uri="{FF2B5EF4-FFF2-40B4-BE49-F238E27FC236}">
                <a16:creationId xmlns:a16="http://schemas.microsoft.com/office/drawing/2014/main" id="{77FED749-9C39-81DD-7428-E91EAF740A97}"/>
              </a:ext>
            </a:extLst>
          </p:cNvPr>
          <p:cNvSpPr>
            <a:spLocks noGrp="1" noRot="1" noMove="1" noResize="1" noEditPoints="1" noAdjustHandles="1" noChangeArrowheads="1" noChangeShapeType="1"/>
          </p:cNvSpPr>
          <p:nvPr>
            <p:ph type="body" sz="quarter" idx="14" hasCustomPrompt="1"/>
          </p:nvPr>
        </p:nvSpPr>
        <p:spPr>
          <a:xfrm>
            <a:off x="4237036" y="6108700"/>
            <a:ext cx="7662864"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13" name="Content Placeholder">
            <a:extLst>
              <a:ext uri="{FF2B5EF4-FFF2-40B4-BE49-F238E27FC236}">
                <a16:creationId xmlns:a16="http://schemas.microsoft.com/office/drawing/2014/main" id="{4EA26CDB-5FFD-8E65-BB9F-B583607F097C}"/>
              </a:ext>
            </a:extLst>
          </p:cNvPr>
          <p:cNvSpPr>
            <a:spLocks noGrp="1" noRot="1" noMove="1" noResize="1" noEditPoints="1" noAdjustHandles="1" noChangeArrowheads="1" noChangeShapeType="1"/>
          </p:cNvSpPr>
          <p:nvPr>
            <p:ph sz="quarter" idx="15"/>
          </p:nvPr>
        </p:nvSpPr>
        <p:spPr>
          <a:xfrm>
            <a:off x="4237038" y="1219200"/>
            <a:ext cx="7662862" cy="4457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ubtitle Placeholder">
            <a:extLst>
              <a:ext uri="{FF2B5EF4-FFF2-40B4-BE49-F238E27FC236}">
                <a16:creationId xmlns:a16="http://schemas.microsoft.com/office/drawing/2014/main" id="{811C7246-8A71-F257-DB0D-3E1F23CE6970}"/>
              </a:ext>
            </a:extLst>
          </p:cNvPr>
          <p:cNvSpPr>
            <a:spLocks noGrp="1" noRot="1" noMove="1" noResize="1" noEditPoints="1" noAdjustHandles="1" noChangeArrowheads="1" noChangeShapeType="1"/>
          </p:cNvSpPr>
          <p:nvPr>
            <p:ph type="body" idx="1" hasCustomPrompt="1"/>
          </p:nvPr>
        </p:nvSpPr>
        <p:spPr>
          <a:xfrm>
            <a:off x="292100" y="3945964"/>
            <a:ext cx="3409043" cy="1500187"/>
          </a:xfrm>
        </p:spPr>
        <p:txBody>
          <a:bodyPr>
            <a:noAutofit/>
          </a:bodyPr>
          <a:lstStyle>
            <a:lvl1pPr marL="0" indent="0">
              <a:buNone/>
              <a:defRPr sz="2000">
                <a:solidFill>
                  <a:schemeClr val="tx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add section subtitle</a:t>
            </a:r>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1219200"/>
            <a:ext cx="3409043" cy="2401887"/>
          </a:xfrm>
        </p:spPr>
        <p:txBody>
          <a:bodyPr anchor="b">
            <a:noAutofit/>
          </a:bodyPr>
          <a:lstStyle>
            <a:lvl1pPr>
              <a:defRPr sz="4400">
                <a:solidFill>
                  <a:schemeClr val="tx1"/>
                </a:solidFill>
              </a:defRPr>
            </a:lvl1pPr>
          </a:lstStyle>
          <a:p>
            <a:r>
              <a:rPr lang="en-US"/>
              <a:t>Section header</a:t>
            </a:r>
            <a:endParaRPr lang="en-GB"/>
          </a:p>
        </p:txBody>
      </p:sp>
      <p:pic>
        <p:nvPicPr>
          <p:cNvPr id="4" name="NIQ GFK Lockup" hidden="1">
            <a:extLst>
              <a:ext uri="{FF2B5EF4-FFF2-40B4-BE49-F238E27FC236}">
                <a16:creationId xmlns:a16="http://schemas.microsoft.com/office/drawing/2014/main" id="{EA4F8456-F302-1F9F-CB79-F96F7FF403B1}"/>
              </a:ext>
            </a:extLst>
          </p:cNvPr>
          <p:cNvPicPr>
            <a:picLocks noGrp="1" noRot="1" noChangeAspect="1" noMove="1" noResize="1" noEditPoints="1" noAdjustHandles="1" noChangeArrowheads="1" noChangeShapeType="1" noCrop="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02626" y="6462285"/>
            <a:ext cx="906224" cy="329184"/>
          </a:xfrm>
          <a:prstGeom prst="rect">
            <a:avLst/>
          </a:prstGeom>
        </p:spPr>
      </p:pic>
      <p:pic>
        <p:nvPicPr>
          <p:cNvPr id="5" name="NielsenIQ logo+wordmark" descr="A blue text on a black background&#10;&#10;Description automatically generated" hidden="1">
            <a:extLst>
              <a:ext uri="{FF2B5EF4-FFF2-40B4-BE49-F238E27FC236}">
                <a16:creationId xmlns:a16="http://schemas.microsoft.com/office/drawing/2014/main" id="{E5214B10-6ABB-0EB3-4E33-9E9E477DD15A}"/>
              </a:ext>
            </a:extLst>
          </p:cNvPr>
          <p:cNvPicPr>
            <a:picLocks noGrp="1" noRot="1" noChangeAspec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tretch>
            <a:fillRect/>
          </a:stretch>
        </p:blipFill>
        <p:spPr>
          <a:xfrm>
            <a:off x="290130" y="6495154"/>
            <a:ext cx="781433" cy="269593"/>
          </a:xfrm>
          <a:prstGeom prst="rect">
            <a:avLst/>
          </a:prstGeom>
        </p:spPr>
      </p:pic>
      <p:pic>
        <p:nvPicPr>
          <p:cNvPr id="6" name="NIQ Logo">
            <a:extLst>
              <a:ext uri="{FF2B5EF4-FFF2-40B4-BE49-F238E27FC236}">
                <a16:creationId xmlns:a16="http://schemas.microsoft.com/office/drawing/2014/main" id="{A9B1FD76-BF8D-8EEE-6EC7-E0AC284E58CD}"/>
              </a:ext>
            </a:extLst>
          </p:cNvPr>
          <p:cNvPicPr>
            <a:picLocks noGrp="1" noRo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2651865240"/>
      </p:ext>
    </p:extLst>
  </p:cSld>
  <p:clrMapOvr>
    <a:overrideClrMapping bg1="lt1" tx1="dk1" bg2="lt2" tx2="dk2" accent1="accent1" accent2="accent2" accent3="accent3" accent4="accent4" accent5="accent5" accent6="accent6" hlink="hlink" folHlink="folHlink"/>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Static Light Bkgd">
            <a:extLst>
              <a:ext uri="{FF2B5EF4-FFF2-40B4-BE49-F238E27FC236}">
                <a16:creationId xmlns:a16="http://schemas.microsoft.com/office/drawing/2014/main" id="{D1093FDC-ACBE-C97A-79EC-30B506F35131}"/>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Base Rule">
            <a:extLst>
              <a:ext uri="{FF2B5EF4-FFF2-40B4-BE49-F238E27FC236}">
                <a16:creationId xmlns:a16="http://schemas.microsoft.com/office/drawing/2014/main" id="{BF009615-489A-5DA8-222F-36CEB46D77B1}"/>
              </a:ext>
            </a:extLst>
          </p:cNvPr>
          <p:cNvCxnSpPr>
            <a:cxnSpLocks noGrp="1" noRot="1" noMove="1" noResize="1" noEditPoints="1" noAdjustHandles="1" noChangeArrowheads="1" noChangeShapeType="1"/>
          </p:cNvCxnSpPr>
          <p:nvPr userDrawn="1"/>
        </p:nvCxnSpPr>
        <p:spPr>
          <a:xfrm>
            <a:off x="292100" y="6395755"/>
            <a:ext cx="116078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Slide Number Placeholder 24">
            <a:extLst>
              <a:ext uri="{FF2B5EF4-FFF2-40B4-BE49-F238E27FC236}">
                <a16:creationId xmlns:a16="http://schemas.microsoft.com/office/drawing/2014/main" id="{B92DD1CF-7FD4-0FD2-8A65-D0E8F92598D9}"/>
              </a:ext>
            </a:extLst>
          </p:cNvPr>
          <p:cNvSpPr>
            <a:spLocks noGrp="1" noRot="1" noMove="1" noResize="1" noEditPoints="1" noAdjustHandles="1" noChangeArrowheads="1" noChangeShapeType="1"/>
          </p:cNvSpPr>
          <p:nvPr>
            <p:ph type="sldNum" sz="quarter" idx="12"/>
          </p:nvPr>
        </p:nvSpPr>
        <p:spPr/>
        <p:txBody>
          <a:bodyPr/>
          <a:lstStyle/>
          <a:p>
            <a:fld id="{3E04DF46-C0DC-4ADC-9A6F-918CC4703A43}" type="slidenum">
              <a:rPr lang="en-GB" smtClean="0"/>
              <a:pPr/>
              <a:t>‹#›</a:t>
            </a:fld>
            <a:endParaRPr lang="en-GB"/>
          </a:p>
        </p:txBody>
      </p:sp>
      <p:sp>
        <p:nvSpPr>
          <p:cNvPr id="8" name="Copyright Line">
            <a:extLst>
              <a:ext uri="{FF2B5EF4-FFF2-40B4-BE49-F238E27FC236}">
                <a16:creationId xmlns:a16="http://schemas.microsoft.com/office/drawing/2014/main" id="{D18F1FC4-106D-3BF8-BC65-D648A021FC0D}"/>
              </a:ext>
            </a:extLst>
          </p:cNvPr>
          <p:cNvSpPr txBox="1">
            <a:spLocks noGrp="1" noRot="1" noMove="1" noResize="1" noEditPoints="1" noAdjustHandles="1" noChangeArrowheads="1" noChangeShapeType="1"/>
          </p:cNvSpPr>
          <p:nvPr userDrawn="1"/>
        </p:nvSpPr>
        <p:spPr>
          <a:xfrm>
            <a:off x="9167809" y="6526849"/>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rgbClr val="BBBBBB"/>
                </a:solidFill>
              </a:rPr>
              <a:t>© </a:t>
            </a:r>
            <a:fld id="{92E70860-886D-4303-B2B5-BD1295E1FD39}" type="datetimeyyyy">
              <a:rPr lang="en-US" sz="700" smtClean="0">
                <a:solidFill>
                  <a:srgbClr val="BBBBBB"/>
                </a:solidFill>
              </a:rPr>
              <a:t>2024</a:t>
            </a:fld>
            <a:r>
              <a:rPr lang="en-US" sz="700">
                <a:solidFill>
                  <a:srgbClr val="BBBBBB"/>
                </a:solidFill>
              </a:rPr>
              <a:t> Nielsen Consumer LLC. All Rights Reserved.</a:t>
            </a:r>
          </a:p>
        </p:txBody>
      </p:sp>
      <p:sp>
        <p:nvSpPr>
          <p:cNvPr id="9" name="Confidential disclaimer">
            <a:extLst>
              <a:ext uri="{FF2B5EF4-FFF2-40B4-BE49-F238E27FC236}">
                <a16:creationId xmlns:a16="http://schemas.microsoft.com/office/drawing/2014/main" id="{60EB3927-CDFF-ACD9-F0B3-0FEB504E4496}"/>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24" name="Footer Placeholder">
            <a:extLst>
              <a:ext uri="{FF2B5EF4-FFF2-40B4-BE49-F238E27FC236}">
                <a16:creationId xmlns:a16="http://schemas.microsoft.com/office/drawing/2014/main" id="{0F37A136-F043-61EC-31AE-F924E1D07F08}"/>
              </a:ext>
            </a:extLst>
          </p:cNvPr>
          <p:cNvSpPr>
            <a:spLocks noGrp="1" noRot="1" noMove="1" noResize="1" noEditPoints="1" noAdjustHandles="1" noChangeArrowheads="1" noChangeShapeType="1"/>
          </p:cNvSpPr>
          <p:nvPr>
            <p:ph type="ftr" sz="quarter" idx="11"/>
          </p:nvPr>
        </p:nvSpPr>
        <p:spPr/>
        <p:txBody>
          <a:bodyPr/>
          <a:lstStyle/>
          <a:p>
            <a:endParaRPr lang="en-GB"/>
          </a:p>
        </p:txBody>
      </p:sp>
      <p:sp>
        <p:nvSpPr>
          <p:cNvPr id="23" name="Date Placeholder">
            <a:extLst>
              <a:ext uri="{FF2B5EF4-FFF2-40B4-BE49-F238E27FC236}">
                <a16:creationId xmlns:a16="http://schemas.microsoft.com/office/drawing/2014/main" id="{F83B0E1B-C679-1FAD-01A8-07BEC0BB80C4}"/>
              </a:ext>
            </a:extLst>
          </p:cNvPr>
          <p:cNvSpPr>
            <a:spLocks noGrp="1" noRot="1" noMove="1" noResize="1" noEditPoints="1" noAdjustHandles="1" noChangeArrowheads="1" noChangeShapeType="1"/>
          </p:cNvSpPr>
          <p:nvPr>
            <p:ph type="dt" sz="half" idx="10"/>
          </p:nvPr>
        </p:nvSpPr>
        <p:spPr/>
        <p:txBody>
          <a:bodyPr/>
          <a:lstStyle/>
          <a:p>
            <a:fld id="{F42DF71F-30BE-44BA-A536-D8EF81D0364C}" type="datetime1">
              <a:rPr lang="en-GB" smtClean="0"/>
              <a:pPr/>
              <a:t>18/11/2024</a:t>
            </a:fld>
            <a:endParaRPr lang="en-GB"/>
          </a:p>
        </p:txBody>
      </p:sp>
      <p:sp>
        <p:nvSpPr>
          <p:cNvPr id="3" name="Subtitle Placeholder">
            <a:extLst>
              <a:ext uri="{FF2B5EF4-FFF2-40B4-BE49-F238E27FC236}">
                <a16:creationId xmlns:a16="http://schemas.microsoft.com/office/drawing/2014/main" id="{811C7246-8A71-F257-DB0D-3E1F23CE6970}"/>
              </a:ext>
            </a:extLst>
          </p:cNvPr>
          <p:cNvSpPr>
            <a:spLocks noGrp="1" noRot="1" noMove="1" noResize="1" noEditPoints="1" noAdjustHandles="1" noChangeArrowheads="1" noChangeShapeType="1"/>
          </p:cNvSpPr>
          <p:nvPr>
            <p:ph type="body" idx="1"/>
          </p:nvPr>
        </p:nvSpPr>
        <p:spPr>
          <a:xfrm>
            <a:off x="292100" y="3945964"/>
            <a:ext cx="7121979" cy="1500187"/>
          </a:xfrm>
        </p:spPr>
        <p:txBody>
          <a:bodyPr>
            <a:noAutofit/>
          </a:bodyPr>
          <a:lstStyle>
            <a:lvl1pPr marL="0" indent="0">
              <a:buNone/>
              <a:defRPr sz="2000">
                <a:solidFill>
                  <a:srgbClr val="555555"/>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1219200"/>
            <a:ext cx="7121979" cy="2401887"/>
          </a:xfrm>
        </p:spPr>
        <p:txBody>
          <a:bodyPr anchor="b">
            <a:noAutofit/>
          </a:bodyPr>
          <a:lstStyle>
            <a:lvl1pPr>
              <a:defRPr sz="4400">
                <a:solidFill>
                  <a:srgbClr val="555555"/>
                </a:solidFill>
              </a:defRPr>
            </a:lvl1pPr>
          </a:lstStyle>
          <a:p>
            <a:r>
              <a:rPr lang="en-US"/>
              <a:t>Insert your section header title here maximum of three lines</a:t>
            </a:r>
            <a:endParaRPr lang="en-GB"/>
          </a:p>
        </p:txBody>
      </p:sp>
      <p:pic>
        <p:nvPicPr>
          <p:cNvPr id="4" name="NIQ GFK Lockup" hidden="1">
            <a:extLst>
              <a:ext uri="{FF2B5EF4-FFF2-40B4-BE49-F238E27FC236}">
                <a16:creationId xmlns:a16="http://schemas.microsoft.com/office/drawing/2014/main" id="{7DAD8AF9-6DCC-3308-0439-101A1738A841}"/>
              </a:ext>
            </a:extLst>
          </p:cNvPr>
          <p:cNvPicPr>
            <a:picLocks noGrp="1" noRot="1" noChangeAspect="1" noMove="1" noResize="1" noEditPoints="1" noAdjustHandles="1" noChangeArrowheads="1" noChangeShapeType="1" noCrop="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02626" y="6462285"/>
            <a:ext cx="906224" cy="329184"/>
          </a:xfrm>
          <a:prstGeom prst="rect">
            <a:avLst/>
          </a:prstGeom>
        </p:spPr>
      </p:pic>
      <p:pic>
        <p:nvPicPr>
          <p:cNvPr id="26" name="NielsenIQ logo+wordmark" descr="A blue text on a black background&#10;&#10;Description automatically generated" hidden="1">
            <a:extLst>
              <a:ext uri="{FF2B5EF4-FFF2-40B4-BE49-F238E27FC236}">
                <a16:creationId xmlns:a16="http://schemas.microsoft.com/office/drawing/2014/main" id="{B813BB00-9632-73B0-6654-E6FB69F66A0E}"/>
              </a:ext>
            </a:extLst>
          </p:cNvPr>
          <p:cNvPicPr>
            <a:picLocks noGrp="1" noRot="1" noChangeAspec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tretch>
            <a:fillRect/>
          </a:stretch>
        </p:blipFill>
        <p:spPr>
          <a:xfrm>
            <a:off x="290130" y="6495154"/>
            <a:ext cx="781433" cy="269593"/>
          </a:xfrm>
          <a:prstGeom prst="rect">
            <a:avLst/>
          </a:prstGeom>
        </p:spPr>
      </p:pic>
      <p:pic>
        <p:nvPicPr>
          <p:cNvPr id="5" name="NIQ Logo">
            <a:extLst>
              <a:ext uri="{FF2B5EF4-FFF2-40B4-BE49-F238E27FC236}">
                <a16:creationId xmlns:a16="http://schemas.microsoft.com/office/drawing/2014/main" id="{3FE5C232-E7B5-5DDF-A7C7-8FF7A557AEE9}"/>
              </a:ext>
            </a:extLst>
          </p:cNvPr>
          <p:cNvPicPr>
            <a:picLocks noGrp="1" noRo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329847737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secHead" preserve="1">
  <p:cSld name="Section Header Blue">
    <p:spTree>
      <p:nvGrpSpPr>
        <p:cNvPr id="1" name=""/>
        <p:cNvGrpSpPr/>
        <p:nvPr/>
      </p:nvGrpSpPr>
      <p:grpSpPr>
        <a:xfrm>
          <a:off x="0" y="0"/>
          <a:ext cx="0" cy="0"/>
          <a:chOff x="0" y="0"/>
          <a:chExt cx="0" cy="0"/>
        </a:xfrm>
      </p:grpSpPr>
      <p:sp>
        <p:nvSpPr>
          <p:cNvPr id="7" name="Static Blue Bkgd">
            <a:extLst>
              <a:ext uri="{FF2B5EF4-FFF2-40B4-BE49-F238E27FC236}">
                <a16:creationId xmlns:a16="http://schemas.microsoft.com/office/drawing/2014/main" id="{D1093FDC-ACBE-C97A-79EC-30B506F35131}"/>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2D6D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Base Rule">
            <a:extLst>
              <a:ext uri="{FF2B5EF4-FFF2-40B4-BE49-F238E27FC236}">
                <a16:creationId xmlns:a16="http://schemas.microsoft.com/office/drawing/2014/main" id="{BF009615-489A-5DA8-222F-36CEB46D77B1}"/>
              </a:ext>
            </a:extLst>
          </p:cNvPr>
          <p:cNvCxnSpPr>
            <a:cxnSpLocks noGrp="1" noRot="1" noMove="1" noResize="1" noEditPoints="1" noAdjustHandles="1" noChangeArrowheads="1" noChangeShapeType="1"/>
          </p:cNvCxnSpPr>
          <p:nvPr userDrawn="1"/>
        </p:nvCxnSpPr>
        <p:spPr>
          <a:xfrm>
            <a:off x="292100" y="6395755"/>
            <a:ext cx="11607801"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5" name="Footer Placeholder">
            <a:extLst>
              <a:ext uri="{FF2B5EF4-FFF2-40B4-BE49-F238E27FC236}">
                <a16:creationId xmlns:a16="http://schemas.microsoft.com/office/drawing/2014/main" id="{9E3F8F0F-7B47-2BB9-7F93-A25C99023E14}"/>
              </a:ext>
            </a:extLst>
          </p:cNvPr>
          <p:cNvSpPr>
            <a:spLocks noGrp="1" noRot="1" noMove="1" noResize="1" noEditPoints="1" noAdjustHandles="1" noChangeArrowheads="1" noChangeShapeType="1"/>
          </p:cNvSpPr>
          <p:nvPr>
            <p:ph type="ftr" sz="quarter" idx="11"/>
          </p:nvPr>
        </p:nvSpPr>
        <p:spPr>
          <a:solidFill>
            <a:schemeClr val="accent1"/>
          </a:solidFill>
        </p:spPr>
        <p:txBody>
          <a:bodyPr/>
          <a:lstStyle>
            <a:lvl1pPr>
              <a:defRPr>
                <a:solidFill>
                  <a:srgbClr val="FFFFFF"/>
                </a:solidFill>
              </a:defRPr>
            </a:lvl1pPr>
          </a:lstStyle>
          <a:p>
            <a:endParaRPr lang="en-GB"/>
          </a:p>
        </p:txBody>
      </p:sp>
      <p:sp>
        <p:nvSpPr>
          <p:cNvPr id="4" name="Date Placeholder">
            <a:extLst>
              <a:ext uri="{FF2B5EF4-FFF2-40B4-BE49-F238E27FC236}">
                <a16:creationId xmlns:a16="http://schemas.microsoft.com/office/drawing/2014/main" id="{51D28747-A5DD-1E44-1383-00C1095A0E2F}"/>
              </a:ext>
            </a:extLst>
          </p:cNvPr>
          <p:cNvSpPr>
            <a:spLocks noGrp="1" noRot="1" noMove="1" noResize="1" noEditPoints="1" noAdjustHandles="1" noChangeArrowheads="1" noChangeShapeType="1"/>
          </p:cNvSpPr>
          <p:nvPr>
            <p:ph type="dt" sz="half" idx="10"/>
          </p:nvPr>
        </p:nvSpPr>
        <p:spPr/>
        <p:txBody>
          <a:bodyPr/>
          <a:lstStyle>
            <a:lvl1pPr>
              <a:defRPr>
                <a:solidFill>
                  <a:srgbClr val="FFFFFF"/>
                </a:solidFill>
              </a:defRPr>
            </a:lvl1pPr>
          </a:lstStyle>
          <a:p>
            <a:fld id="{DE0BD3D1-6E87-4D3B-832D-3A9C60D16F09}" type="datetime1">
              <a:rPr lang="en-GB" smtClean="0"/>
              <a:t>18/11/2024</a:t>
            </a:fld>
            <a:endParaRPr lang="en-GB"/>
          </a:p>
        </p:txBody>
      </p:sp>
      <p:sp>
        <p:nvSpPr>
          <p:cNvPr id="3" name="Subtitle Placeholder">
            <a:extLst>
              <a:ext uri="{FF2B5EF4-FFF2-40B4-BE49-F238E27FC236}">
                <a16:creationId xmlns:a16="http://schemas.microsoft.com/office/drawing/2014/main" id="{811C7246-8A71-F257-DB0D-3E1F23CE6970}"/>
              </a:ext>
            </a:extLst>
          </p:cNvPr>
          <p:cNvSpPr>
            <a:spLocks noGrp="1" noRot="1" noMove="1" noResize="1" noEditPoints="1" noAdjustHandles="1" noChangeArrowheads="1" noChangeShapeType="1"/>
          </p:cNvSpPr>
          <p:nvPr>
            <p:ph type="body" idx="1"/>
          </p:nvPr>
        </p:nvSpPr>
        <p:spPr>
          <a:xfrm>
            <a:off x="292100" y="3945964"/>
            <a:ext cx="7121979" cy="1500187"/>
          </a:xfrm>
        </p:spPr>
        <p:txBody>
          <a:bodyPr>
            <a:noAutofit/>
          </a:bodyPr>
          <a:lstStyle>
            <a:lvl1pPr marL="0" indent="0">
              <a:buNone/>
              <a:defRPr sz="2000">
                <a:solidFill>
                  <a:srgbClr val="FFFFFF"/>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1219200"/>
            <a:ext cx="7121979" cy="2401887"/>
          </a:xfrm>
        </p:spPr>
        <p:txBody>
          <a:bodyPr anchor="b">
            <a:noAutofit/>
          </a:bodyPr>
          <a:lstStyle>
            <a:lvl1pPr>
              <a:defRPr sz="4400">
                <a:solidFill>
                  <a:srgbClr val="FFFFFF"/>
                </a:solidFill>
              </a:defRPr>
            </a:lvl1pPr>
          </a:lstStyle>
          <a:p>
            <a:r>
              <a:rPr lang="en-US"/>
              <a:t>Insert your section header title here maximum of three lines</a:t>
            </a:r>
            <a:endParaRPr lang="en-GB"/>
          </a:p>
        </p:txBody>
      </p:sp>
      <p:pic>
        <p:nvPicPr>
          <p:cNvPr id="14" name="NIQ GFK Lockup" hidden="1">
            <a:extLst>
              <a:ext uri="{FF2B5EF4-FFF2-40B4-BE49-F238E27FC236}">
                <a16:creationId xmlns:a16="http://schemas.microsoft.com/office/drawing/2014/main" id="{EAEBAA35-FD7E-BA1F-342A-81B244F88CFF}"/>
              </a:ext>
            </a:extLst>
          </p:cNvPr>
          <p:cNvPicPr>
            <a:picLocks noGrp="1" noRot="1" noChangeAspec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25" name="NielsenIQ logo+wordmark" hidden="1">
            <a:extLst>
              <a:ext uri="{FF2B5EF4-FFF2-40B4-BE49-F238E27FC236}">
                <a16:creationId xmlns:a16="http://schemas.microsoft.com/office/drawing/2014/main" id="{598FBCD8-A3EE-4A06-6724-A1F5D7027567}"/>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rcRect/>
          <a:stretch/>
        </p:blipFill>
        <p:spPr>
          <a:xfrm>
            <a:off x="290132" y="6495154"/>
            <a:ext cx="781428" cy="269593"/>
          </a:xfrm>
          <a:prstGeom prst="rect">
            <a:avLst/>
          </a:prstGeom>
        </p:spPr>
      </p:pic>
      <p:pic>
        <p:nvPicPr>
          <p:cNvPr id="22" name="NIQ Logo">
            <a:extLst>
              <a:ext uri="{FF2B5EF4-FFF2-40B4-BE49-F238E27FC236}">
                <a16:creationId xmlns:a16="http://schemas.microsoft.com/office/drawing/2014/main" id="{C3AC3518-07F7-E20B-4D4C-9D6C3D043778}"/>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
        <p:nvSpPr>
          <p:cNvPr id="9" name="Slide Number Placeholder 5">
            <a:extLst>
              <a:ext uri="{FF2B5EF4-FFF2-40B4-BE49-F238E27FC236}">
                <a16:creationId xmlns:a16="http://schemas.microsoft.com/office/drawing/2014/main" id="{8BF6C90B-FA60-D635-908D-409369EB143B}"/>
              </a:ext>
            </a:extLst>
          </p:cNvPr>
          <p:cNvSpPr txBox="1">
            <a:spLocks/>
          </p:cNvSpPr>
          <p:nvPr userDrawn="1"/>
        </p:nvSpPr>
        <p:spPr>
          <a:xfrm>
            <a:off x="10985325" y="6444314"/>
            <a:ext cx="90187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03EF4E2-7A7A-0548-85F1-5479B7C9E1B2}" type="slidenum">
              <a:rPr lang="en-US" sz="1200" smtClean="0">
                <a:solidFill>
                  <a:schemeClr val="tx1">
                    <a:lumMod val="50000"/>
                    <a:lumOff val="50000"/>
                  </a:schemeClr>
                </a:solidFill>
              </a:rPr>
              <a:pPr algn="r"/>
              <a:t>‹#›</a:t>
            </a:fld>
            <a:endParaRPr lang="en-US" sz="1200">
              <a:solidFill>
                <a:schemeClr val="tx1">
                  <a:lumMod val="50000"/>
                  <a:lumOff val="50000"/>
                </a:schemeClr>
              </a:solidFill>
            </a:endParaRPr>
          </a:p>
        </p:txBody>
      </p:sp>
      <p:sp>
        <p:nvSpPr>
          <p:cNvPr id="12" name="Copyright Line">
            <a:extLst>
              <a:ext uri="{FF2B5EF4-FFF2-40B4-BE49-F238E27FC236}">
                <a16:creationId xmlns:a16="http://schemas.microsoft.com/office/drawing/2014/main" id="{FB2BB396-4F6B-5E55-C027-A2D7783BE845}"/>
              </a:ext>
            </a:extLst>
          </p:cNvPr>
          <p:cNvSpPr txBox="1"/>
          <p:nvPr userDrawn="1"/>
        </p:nvSpPr>
        <p:spPr>
          <a:xfrm>
            <a:off x="9167809" y="6526850"/>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a:t>
            </a:r>
            <a:fld id="{92E70860-886D-4303-B2B5-BD1295E1FD39}" type="datetimeyyyy">
              <a:rPr lang="en-US" sz="700" smtClean="0">
                <a:solidFill>
                  <a:schemeClr val="tx1">
                    <a:lumMod val="40000"/>
                    <a:lumOff val="60000"/>
                  </a:schemeClr>
                </a:solidFill>
              </a:rPr>
              <a:t>2024</a:t>
            </a:fld>
            <a:r>
              <a:rPr lang="en-US" sz="700">
                <a:solidFill>
                  <a:schemeClr val="tx1">
                    <a:lumMod val="40000"/>
                    <a:lumOff val="60000"/>
                  </a:schemeClr>
                </a:solidFill>
              </a:rPr>
              <a:t> Nielsen Consumer LLC. All Rights Reserved.</a:t>
            </a:r>
          </a:p>
        </p:txBody>
      </p:sp>
      <p:sp>
        <p:nvSpPr>
          <p:cNvPr id="13" name="Confidential disclaimer">
            <a:extLst>
              <a:ext uri="{FF2B5EF4-FFF2-40B4-BE49-F238E27FC236}">
                <a16:creationId xmlns:a16="http://schemas.microsoft.com/office/drawing/2014/main" id="{91888D11-B6A0-177D-B163-64782CFAC347}"/>
              </a:ext>
            </a:extLst>
          </p:cNvPr>
          <p:cNvSpPr txBox="1"/>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Tree>
    <p:extLst>
      <p:ext uri="{BB962C8B-B14F-4D97-AF65-F5344CB8AC3E}">
        <p14:creationId xmlns:p14="http://schemas.microsoft.com/office/powerpoint/2010/main" val="168069819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1_Section Header Blue">
    <p:spTree>
      <p:nvGrpSpPr>
        <p:cNvPr id="1" name=""/>
        <p:cNvGrpSpPr/>
        <p:nvPr/>
      </p:nvGrpSpPr>
      <p:grpSpPr>
        <a:xfrm>
          <a:off x="0" y="0"/>
          <a:ext cx="0" cy="0"/>
          <a:chOff x="0" y="0"/>
          <a:chExt cx="0" cy="0"/>
        </a:xfrm>
      </p:grpSpPr>
      <p:sp>
        <p:nvSpPr>
          <p:cNvPr id="7" name="Static Blue Bkgd">
            <a:extLst>
              <a:ext uri="{FF2B5EF4-FFF2-40B4-BE49-F238E27FC236}">
                <a16:creationId xmlns:a16="http://schemas.microsoft.com/office/drawing/2014/main" id="{D1093FDC-ACBE-C97A-79EC-30B506F35131}"/>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2D6D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Base Rule">
            <a:extLst>
              <a:ext uri="{FF2B5EF4-FFF2-40B4-BE49-F238E27FC236}">
                <a16:creationId xmlns:a16="http://schemas.microsoft.com/office/drawing/2014/main" id="{BF009615-489A-5DA8-222F-36CEB46D77B1}"/>
              </a:ext>
            </a:extLst>
          </p:cNvPr>
          <p:cNvCxnSpPr>
            <a:cxnSpLocks noGrp="1" noRot="1" noMove="1" noResize="1" noEditPoints="1" noAdjustHandles="1" noChangeArrowheads="1" noChangeShapeType="1"/>
          </p:cNvCxnSpPr>
          <p:nvPr userDrawn="1"/>
        </p:nvCxnSpPr>
        <p:spPr>
          <a:xfrm>
            <a:off x="292100" y="6395755"/>
            <a:ext cx="11607801"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5" name="Footer Placeholder">
            <a:extLst>
              <a:ext uri="{FF2B5EF4-FFF2-40B4-BE49-F238E27FC236}">
                <a16:creationId xmlns:a16="http://schemas.microsoft.com/office/drawing/2014/main" id="{9E3F8F0F-7B47-2BB9-7F93-A25C99023E14}"/>
              </a:ext>
            </a:extLst>
          </p:cNvPr>
          <p:cNvSpPr>
            <a:spLocks noGrp="1" noRot="1" noMove="1" noResize="1" noEditPoints="1" noAdjustHandles="1" noChangeArrowheads="1" noChangeShapeType="1"/>
          </p:cNvSpPr>
          <p:nvPr>
            <p:ph type="ftr" sz="quarter" idx="11"/>
          </p:nvPr>
        </p:nvSpPr>
        <p:spPr>
          <a:solidFill>
            <a:schemeClr val="accent1"/>
          </a:solidFill>
        </p:spPr>
        <p:txBody>
          <a:bodyPr/>
          <a:lstStyle>
            <a:lvl1pPr>
              <a:defRPr>
                <a:solidFill>
                  <a:srgbClr val="FFFFFF"/>
                </a:solidFill>
              </a:defRPr>
            </a:lvl1pPr>
          </a:lstStyle>
          <a:p>
            <a:endParaRPr lang="en-GB"/>
          </a:p>
        </p:txBody>
      </p:sp>
      <p:sp>
        <p:nvSpPr>
          <p:cNvPr id="4" name="Date Placeholder">
            <a:extLst>
              <a:ext uri="{FF2B5EF4-FFF2-40B4-BE49-F238E27FC236}">
                <a16:creationId xmlns:a16="http://schemas.microsoft.com/office/drawing/2014/main" id="{51D28747-A5DD-1E44-1383-00C1095A0E2F}"/>
              </a:ext>
            </a:extLst>
          </p:cNvPr>
          <p:cNvSpPr>
            <a:spLocks noGrp="1" noRot="1" noMove="1" noResize="1" noEditPoints="1" noAdjustHandles="1" noChangeArrowheads="1" noChangeShapeType="1"/>
          </p:cNvSpPr>
          <p:nvPr>
            <p:ph type="dt" sz="half" idx="10"/>
          </p:nvPr>
        </p:nvSpPr>
        <p:spPr/>
        <p:txBody>
          <a:bodyPr/>
          <a:lstStyle>
            <a:lvl1pPr>
              <a:defRPr>
                <a:solidFill>
                  <a:srgbClr val="FFFFFF"/>
                </a:solidFill>
              </a:defRPr>
            </a:lvl1pPr>
          </a:lstStyle>
          <a:p>
            <a:fld id="{DE0BD3D1-6E87-4D3B-832D-3A9C60D16F09}" type="datetime1">
              <a:rPr lang="en-GB" smtClean="0"/>
              <a:t>18/11/2024</a:t>
            </a:fld>
            <a:endParaRPr lang="en-GB"/>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1219200"/>
            <a:ext cx="7121979" cy="2401887"/>
          </a:xfrm>
        </p:spPr>
        <p:txBody>
          <a:bodyPr anchor="b">
            <a:noAutofit/>
          </a:bodyPr>
          <a:lstStyle>
            <a:lvl1pPr>
              <a:defRPr sz="4400">
                <a:solidFill>
                  <a:srgbClr val="FFFFFF"/>
                </a:solidFill>
              </a:defRPr>
            </a:lvl1pPr>
          </a:lstStyle>
          <a:p>
            <a:r>
              <a:rPr lang="en-US"/>
              <a:t>Insert your section header title here maximum of three lines</a:t>
            </a:r>
            <a:endParaRPr lang="en-GB"/>
          </a:p>
        </p:txBody>
      </p:sp>
      <p:pic>
        <p:nvPicPr>
          <p:cNvPr id="14" name="NIQ GFK Lockup" hidden="1">
            <a:extLst>
              <a:ext uri="{FF2B5EF4-FFF2-40B4-BE49-F238E27FC236}">
                <a16:creationId xmlns:a16="http://schemas.microsoft.com/office/drawing/2014/main" id="{EAEBAA35-FD7E-BA1F-342A-81B244F88CFF}"/>
              </a:ext>
            </a:extLst>
          </p:cNvPr>
          <p:cNvPicPr>
            <a:picLocks noGrp="1" noRot="1" noChangeAspec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25" name="NielsenIQ logo+wordmark" hidden="1">
            <a:extLst>
              <a:ext uri="{FF2B5EF4-FFF2-40B4-BE49-F238E27FC236}">
                <a16:creationId xmlns:a16="http://schemas.microsoft.com/office/drawing/2014/main" id="{598FBCD8-A3EE-4A06-6724-A1F5D7027567}"/>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rcRect/>
          <a:stretch/>
        </p:blipFill>
        <p:spPr>
          <a:xfrm>
            <a:off x="290132" y="6495154"/>
            <a:ext cx="781428" cy="269593"/>
          </a:xfrm>
          <a:prstGeom prst="rect">
            <a:avLst/>
          </a:prstGeom>
        </p:spPr>
      </p:pic>
      <p:pic>
        <p:nvPicPr>
          <p:cNvPr id="22" name="NIQ Logo">
            <a:extLst>
              <a:ext uri="{FF2B5EF4-FFF2-40B4-BE49-F238E27FC236}">
                <a16:creationId xmlns:a16="http://schemas.microsoft.com/office/drawing/2014/main" id="{C3AC3518-07F7-E20B-4D4C-9D6C3D043778}"/>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
        <p:nvSpPr>
          <p:cNvPr id="9" name="Slide Number Placeholder 5">
            <a:extLst>
              <a:ext uri="{FF2B5EF4-FFF2-40B4-BE49-F238E27FC236}">
                <a16:creationId xmlns:a16="http://schemas.microsoft.com/office/drawing/2014/main" id="{8BF6C90B-FA60-D635-908D-409369EB143B}"/>
              </a:ext>
            </a:extLst>
          </p:cNvPr>
          <p:cNvSpPr txBox="1">
            <a:spLocks/>
          </p:cNvSpPr>
          <p:nvPr userDrawn="1"/>
        </p:nvSpPr>
        <p:spPr>
          <a:xfrm>
            <a:off x="10985325" y="6444314"/>
            <a:ext cx="90187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03EF4E2-7A7A-0548-85F1-5479B7C9E1B2}" type="slidenum">
              <a:rPr lang="en-US" sz="1200" smtClean="0">
                <a:solidFill>
                  <a:schemeClr val="tx1">
                    <a:lumMod val="50000"/>
                    <a:lumOff val="50000"/>
                  </a:schemeClr>
                </a:solidFill>
              </a:rPr>
              <a:pPr algn="r"/>
              <a:t>‹#›</a:t>
            </a:fld>
            <a:endParaRPr lang="en-US" sz="1200">
              <a:solidFill>
                <a:schemeClr val="tx1">
                  <a:lumMod val="50000"/>
                  <a:lumOff val="50000"/>
                </a:schemeClr>
              </a:solidFill>
            </a:endParaRPr>
          </a:p>
        </p:txBody>
      </p:sp>
      <p:sp>
        <p:nvSpPr>
          <p:cNvPr id="12" name="Copyright Line">
            <a:extLst>
              <a:ext uri="{FF2B5EF4-FFF2-40B4-BE49-F238E27FC236}">
                <a16:creationId xmlns:a16="http://schemas.microsoft.com/office/drawing/2014/main" id="{FB2BB396-4F6B-5E55-C027-A2D7783BE845}"/>
              </a:ext>
            </a:extLst>
          </p:cNvPr>
          <p:cNvSpPr txBox="1"/>
          <p:nvPr userDrawn="1"/>
        </p:nvSpPr>
        <p:spPr>
          <a:xfrm>
            <a:off x="9167809" y="6526850"/>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a:t>
            </a:r>
            <a:fld id="{92E70860-886D-4303-B2B5-BD1295E1FD39}" type="datetimeyyyy">
              <a:rPr lang="en-US" sz="700" smtClean="0">
                <a:solidFill>
                  <a:schemeClr val="tx1">
                    <a:lumMod val="40000"/>
                    <a:lumOff val="60000"/>
                  </a:schemeClr>
                </a:solidFill>
              </a:rPr>
              <a:t>2024</a:t>
            </a:fld>
            <a:r>
              <a:rPr lang="en-US" sz="700">
                <a:solidFill>
                  <a:schemeClr val="tx1">
                    <a:lumMod val="40000"/>
                    <a:lumOff val="60000"/>
                  </a:schemeClr>
                </a:solidFill>
              </a:rPr>
              <a:t> Nielsen Consumer LLC. All Rights Reserved.</a:t>
            </a:r>
          </a:p>
        </p:txBody>
      </p:sp>
      <p:sp>
        <p:nvSpPr>
          <p:cNvPr id="13" name="Confidential disclaimer">
            <a:extLst>
              <a:ext uri="{FF2B5EF4-FFF2-40B4-BE49-F238E27FC236}">
                <a16:creationId xmlns:a16="http://schemas.microsoft.com/office/drawing/2014/main" id="{91888D11-B6A0-177D-B163-64782CFAC347}"/>
              </a:ext>
            </a:extLst>
          </p:cNvPr>
          <p:cNvSpPr txBox="1"/>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Tree>
    <p:extLst>
      <p:ext uri="{BB962C8B-B14F-4D97-AF65-F5344CB8AC3E}">
        <p14:creationId xmlns:p14="http://schemas.microsoft.com/office/powerpoint/2010/main" val="406484449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secHead" preserve="1">
  <p:cSld name="Section Header Dark">
    <p:spTree>
      <p:nvGrpSpPr>
        <p:cNvPr id="1" name=""/>
        <p:cNvGrpSpPr/>
        <p:nvPr/>
      </p:nvGrpSpPr>
      <p:grpSpPr>
        <a:xfrm>
          <a:off x="0" y="0"/>
          <a:ext cx="0" cy="0"/>
          <a:chOff x="0" y="0"/>
          <a:chExt cx="0" cy="0"/>
        </a:xfrm>
      </p:grpSpPr>
      <p:sp>
        <p:nvSpPr>
          <p:cNvPr id="7" name="Static Dark Bkgd">
            <a:extLst>
              <a:ext uri="{FF2B5EF4-FFF2-40B4-BE49-F238E27FC236}">
                <a16:creationId xmlns:a16="http://schemas.microsoft.com/office/drawing/2014/main" id="{D1093FDC-ACBE-C97A-79EC-30B506F35131}"/>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060A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Base Rule">
            <a:extLst>
              <a:ext uri="{FF2B5EF4-FFF2-40B4-BE49-F238E27FC236}">
                <a16:creationId xmlns:a16="http://schemas.microsoft.com/office/drawing/2014/main" id="{BF009615-489A-5DA8-222F-36CEB46D77B1}"/>
              </a:ext>
            </a:extLst>
          </p:cNvPr>
          <p:cNvCxnSpPr>
            <a:cxnSpLocks/>
          </p:cNvCxnSpPr>
          <p:nvPr userDrawn="1"/>
        </p:nvCxnSpPr>
        <p:spPr>
          <a:xfrm>
            <a:off x="292100" y="6395755"/>
            <a:ext cx="11607801"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6" name="Slide Number Placeholder">
            <a:extLst>
              <a:ext uri="{FF2B5EF4-FFF2-40B4-BE49-F238E27FC236}">
                <a16:creationId xmlns:a16="http://schemas.microsoft.com/office/drawing/2014/main" id="{74E97C96-6264-45A7-BD31-3F850D5B4046}"/>
              </a:ext>
            </a:extLst>
          </p:cNvPr>
          <p:cNvSpPr>
            <a:spLocks noGrp="1" noRot="1" noMove="1" noResize="1" noEditPoints="1" noAdjustHandles="1" noChangeArrowheads="1" noChangeShapeType="1"/>
          </p:cNvSpPr>
          <p:nvPr>
            <p:ph type="sldNum" sz="quarter" idx="12"/>
          </p:nvPr>
        </p:nvSpPr>
        <p:spPr/>
        <p:txBody>
          <a:bodyPr/>
          <a:lstStyle>
            <a:lvl1pPr>
              <a:defRPr>
                <a:solidFill>
                  <a:srgbClr val="FFFFFF"/>
                </a:solidFill>
              </a:defRPr>
            </a:lvl1pPr>
          </a:lstStyle>
          <a:p>
            <a:fld id="{3E04DF46-C0DC-4ADC-9A6F-918CC4703A43}" type="slidenum">
              <a:rPr lang="en-GB" smtClean="0"/>
              <a:pPr/>
              <a:t>‹#›</a:t>
            </a:fld>
            <a:endParaRPr lang="en-GB"/>
          </a:p>
        </p:txBody>
      </p:sp>
      <p:sp>
        <p:nvSpPr>
          <p:cNvPr id="8" name="Copyright Line">
            <a:extLst>
              <a:ext uri="{FF2B5EF4-FFF2-40B4-BE49-F238E27FC236}">
                <a16:creationId xmlns:a16="http://schemas.microsoft.com/office/drawing/2014/main" id="{D18F1FC4-106D-3BF8-BC65-D648A021FC0D}"/>
              </a:ext>
            </a:extLst>
          </p:cNvPr>
          <p:cNvSpPr txBox="1">
            <a:spLocks noGrp="1" noRot="1" noMove="1" noResize="1" noEditPoints="1" noAdjustHandles="1" noChangeArrowheads="1" noChangeShapeType="1"/>
          </p:cNvSpPr>
          <p:nvPr userDrawn="1"/>
        </p:nvSpPr>
        <p:spPr>
          <a:xfrm>
            <a:off x="9167809" y="6526849"/>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rgbClr val="BBBBBB"/>
                </a:solidFill>
              </a:rPr>
              <a:t>© </a:t>
            </a:r>
            <a:fld id="{92E70860-886D-4303-B2B5-BD1295E1FD39}" type="datetimeyyyy">
              <a:rPr lang="en-US" sz="700" smtClean="0">
                <a:solidFill>
                  <a:srgbClr val="BBBBBB"/>
                </a:solidFill>
              </a:rPr>
              <a:t>2024</a:t>
            </a:fld>
            <a:r>
              <a:rPr lang="en-US" sz="700">
                <a:solidFill>
                  <a:srgbClr val="BBBBBB"/>
                </a:solidFill>
              </a:rPr>
              <a:t> Nielsen Consumer LLC. All Rights Reserved.</a:t>
            </a:r>
          </a:p>
        </p:txBody>
      </p:sp>
      <p:sp>
        <p:nvSpPr>
          <p:cNvPr id="11" name="Confidential disclaimer">
            <a:extLst>
              <a:ext uri="{FF2B5EF4-FFF2-40B4-BE49-F238E27FC236}">
                <a16:creationId xmlns:a16="http://schemas.microsoft.com/office/drawing/2014/main" id="{E92240A2-16A2-92E0-CB79-8A8DDCBFE3B1}"/>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5" name="Footer Placeholder">
            <a:extLst>
              <a:ext uri="{FF2B5EF4-FFF2-40B4-BE49-F238E27FC236}">
                <a16:creationId xmlns:a16="http://schemas.microsoft.com/office/drawing/2014/main" id="{9E3F8F0F-7B47-2BB9-7F93-A25C99023E14}"/>
              </a:ext>
            </a:extLst>
          </p:cNvPr>
          <p:cNvSpPr>
            <a:spLocks noGrp="1" noRot="1" noMove="1" noResize="1" noEditPoints="1" noAdjustHandles="1" noChangeArrowheads="1" noChangeShapeType="1"/>
          </p:cNvSpPr>
          <p:nvPr>
            <p:ph type="ftr" sz="quarter" idx="11"/>
          </p:nvPr>
        </p:nvSpPr>
        <p:spPr>
          <a:solidFill>
            <a:schemeClr val="tx2"/>
          </a:solidFill>
        </p:spPr>
        <p:txBody>
          <a:bodyPr/>
          <a:lstStyle>
            <a:lvl1pPr>
              <a:defRPr>
                <a:solidFill>
                  <a:srgbClr val="FFFFFF"/>
                </a:solidFill>
              </a:defRPr>
            </a:lvl1pPr>
          </a:lstStyle>
          <a:p>
            <a:endParaRPr lang="en-GB"/>
          </a:p>
        </p:txBody>
      </p:sp>
      <p:sp>
        <p:nvSpPr>
          <p:cNvPr id="4" name="Date Placeholder">
            <a:extLst>
              <a:ext uri="{FF2B5EF4-FFF2-40B4-BE49-F238E27FC236}">
                <a16:creationId xmlns:a16="http://schemas.microsoft.com/office/drawing/2014/main" id="{51D28747-A5DD-1E44-1383-00C1095A0E2F}"/>
              </a:ext>
            </a:extLst>
          </p:cNvPr>
          <p:cNvSpPr>
            <a:spLocks noGrp="1" noRot="1" noMove="1" noResize="1" noEditPoints="1" noAdjustHandles="1" noChangeArrowheads="1" noChangeShapeType="1"/>
          </p:cNvSpPr>
          <p:nvPr>
            <p:ph type="dt" sz="half" idx="10"/>
          </p:nvPr>
        </p:nvSpPr>
        <p:spPr/>
        <p:txBody>
          <a:bodyPr/>
          <a:lstStyle>
            <a:lvl1pPr>
              <a:defRPr>
                <a:solidFill>
                  <a:srgbClr val="FFFFFF"/>
                </a:solidFill>
              </a:defRPr>
            </a:lvl1pPr>
          </a:lstStyle>
          <a:p>
            <a:fld id="{83E59825-7B6A-49C3-B207-8F8E163BC2C4}" type="datetime1">
              <a:rPr lang="en-GB" smtClean="0"/>
              <a:t>18/11/2024</a:t>
            </a:fld>
            <a:endParaRPr lang="en-GB"/>
          </a:p>
        </p:txBody>
      </p:sp>
      <p:sp>
        <p:nvSpPr>
          <p:cNvPr id="3" name="Subtitle Placeholder">
            <a:extLst>
              <a:ext uri="{FF2B5EF4-FFF2-40B4-BE49-F238E27FC236}">
                <a16:creationId xmlns:a16="http://schemas.microsoft.com/office/drawing/2014/main" id="{811C7246-8A71-F257-DB0D-3E1F23CE6970}"/>
              </a:ext>
            </a:extLst>
          </p:cNvPr>
          <p:cNvSpPr>
            <a:spLocks noGrp="1" noRot="1" noMove="1" noResize="1" noEditPoints="1" noAdjustHandles="1" noChangeArrowheads="1" noChangeShapeType="1"/>
          </p:cNvSpPr>
          <p:nvPr>
            <p:ph type="body" idx="1"/>
          </p:nvPr>
        </p:nvSpPr>
        <p:spPr>
          <a:xfrm>
            <a:off x="292100" y="3945964"/>
            <a:ext cx="7121979" cy="1500187"/>
          </a:xfrm>
        </p:spPr>
        <p:txBody>
          <a:bodyPr>
            <a:noAutofit/>
          </a:bodyPr>
          <a:lstStyle>
            <a:lvl1pPr marL="0" indent="0">
              <a:buNone/>
              <a:defRPr sz="2000">
                <a:solidFill>
                  <a:srgbClr val="FFFFFF"/>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1219200"/>
            <a:ext cx="7121979" cy="2401887"/>
          </a:xfrm>
        </p:spPr>
        <p:txBody>
          <a:bodyPr anchor="b">
            <a:noAutofit/>
          </a:bodyPr>
          <a:lstStyle>
            <a:lvl1pPr>
              <a:defRPr sz="4400">
                <a:solidFill>
                  <a:srgbClr val="FFFFFF"/>
                </a:solidFill>
              </a:defRPr>
            </a:lvl1pPr>
          </a:lstStyle>
          <a:p>
            <a:r>
              <a:rPr lang="en-US"/>
              <a:t>Insert your section header title here maximum of three lines</a:t>
            </a:r>
            <a:endParaRPr lang="en-GB"/>
          </a:p>
        </p:txBody>
      </p:sp>
      <p:pic>
        <p:nvPicPr>
          <p:cNvPr id="9" name="NIQ GFK Lockup" hidden="1">
            <a:extLst>
              <a:ext uri="{FF2B5EF4-FFF2-40B4-BE49-F238E27FC236}">
                <a16:creationId xmlns:a16="http://schemas.microsoft.com/office/drawing/2014/main" id="{F72C93F2-029A-F706-FCA1-C00C6620AA84}"/>
              </a:ext>
            </a:extLst>
          </p:cNvPr>
          <p:cNvPicPr>
            <a:picLocks noGrp="1" noRo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24" name="NielsenIQ logo+wordmark" descr="A blue text on a black background&#10;&#10;Description automatically generated" hidden="1">
            <a:extLst>
              <a:ext uri="{FF2B5EF4-FFF2-40B4-BE49-F238E27FC236}">
                <a16:creationId xmlns:a16="http://schemas.microsoft.com/office/drawing/2014/main" id="{30EA2721-2669-7CC1-263F-E48ACB34B739}"/>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tretch>
            <a:fillRect/>
          </a:stretch>
        </p:blipFill>
        <p:spPr>
          <a:xfrm>
            <a:off x="290130" y="6495154"/>
            <a:ext cx="781433" cy="269593"/>
          </a:xfrm>
          <a:prstGeom prst="rect">
            <a:avLst/>
          </a:prstGeom>
        </p:spPr>
      </p:pic>
      <p:pic>
        <p:nvPicPr>
          <p:cNvPr id="22" name="NIQ Logo">
            <a:extLst>
              <a:ext uri="{FF2B5EF4-FFF2-40B4-BE49-F238E27FC236}">
                <a16:creationId xmlns:a16="http://schemas.microsoft.com/office/drawing/2014/main" id="{C2F586F8-1BDB-2AFF-F8FE-C01DC3808778}"/>
              </a:ext>
            </a:extLst>
          </p:cNvPr>
          <p:cNvPicPr>
            <a:picLocks/>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44255578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2_Section Header Dark">
    <p:spTree>
      <p:nvGrpSpPr>
        <p:cNvPr id="1" name=""/>
        <p:cNvGrpSpPr/>
        <p:nvPr/>
      </p:nvGrpSpPr>
      <p:grpSpPr>
        <a:xfrm>
          <a:off x="0" y="0"/>
          <a:ext cx="0" cy="0"/>
          <a:chOff x="0" y="0"/>
          <a:chExt cx="0" cy="0"/>
        </a:xfrm>
      </p:grpSpPr>
      <p:cxnSp>
        <p:nvCxnSpPr>
          <p:cNvPr id="10" name="Base Rule">
            <a:extLst>
              <a:ext uri="{FF2B5EF4-FFF2-40B4-BE49-F238E27FC236}">
                <a16:creationId xmlns:a16="http://schemas.microsoft.com/office/drawing/2014/main" id="{BF009615-489A-5DA8-222F-36CEB46D77B1}"/>
              </a:ext>
            </a:extLst>
          </p:cNvPr>
          <p:cNvCxnSpPr>
            <a:cxnSpLocks/>
          </p:cNvCxnSpPr>
          <p:nvPr userDrawn="1"/>
        </p:nvCxnSpPr>
        <p:spPr>
          <a:xfrm>
            <a:off x="292100" y="6395755"/>
            <a:ext cx="116078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a:extLst>
              <a:ext uri="{FF2B5EF4-FFF2-40B4-BE49-F238E27FC236}">
                <a16:creationId xmlns:a16="http://schemas.microsoft.com/office/drawing/2014/main" id="{74E97C96-6264-45A7-BD31-3F850D5B4046}"/>
              </a:ext>
            </a:extLst>
          </p:cNvPr>
          <p:cNvSpPr>
            <a:spLocks noGrp="1" noRot="1" noMove="1" noResize="1" noEditPoints="1" noAdjustHandles="1" noChangeArrowheads="1" noChangeShapeType="1"/>
          </p:cNvSpPr>
          <p:nvPr>
            <p:ph type="sldNum" sz="quarter" idx="12"/>
          </p:nvPr>
        </p:nvSpPr>
        <p:spPr/>
        <p:txBody>
          <a:bodyPr/>
          <a:lstStyle>
            <a:lvl1pPr>
              <a:defRPr>
                <a:solidFill>
                  <a:srgbClr val="FFFFFF"/>
                </a:solidFill>
              </a:defRPr>
            </a:lvl1pPr>
          </a:lstStyle>
          <a:p>
            <a:fld id="{3E04DF46-C0DC-4ADC-9A6F-918CC4703A43}" type="slidenum">
              <a:rPr lang="en-GB" smtClean="0"/>
              <a:pPr/>
              <a:t>‹#›</a:t>
            </a:fld>
            <a:endParaRPr lang="en-GB"/>
          </a:p>
        </p:txBody>
      </p:sp>
      <p:sp>
        <p:nvSpPr>
          <p:cNvPr id="8" name="Copyright Line">
            <a:extLst>
              <a:ext uri="{FF2B5EF4-FFF2-40B4-BE49-F238E27FC236}">
                <a16:creationId xmlns:a16="http://schemas.microsoft.com/office/drawing/2014/main" id="{D18F1FC4-106D-3BF8-BC65-D648A021FC0D}"/>
              </a:ext>
            </a:extLst>
          </p:cNvPr>
          <p:cNvSpPr txBox="1">
            <a:spLocks noGrp="1" noRot="1" noMove="1" noResize="1" noEditPoints="1" noAdjustHandles="1" noChangeArrowheads="1" noChangeShapeType="1"/>
          </p:cNvSpPr>
          <p:nvPr userDrawn="1"/>
        </p:nvSpPr>
        <p:spPr>
          <a:xfrm>
            <a:off x="9167809" y="6526849"/>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rgbClr val="BBBBBB"/>
                </a:solidFill>
              </a:rPr>
              <a:t>© </a:t>
            </a:r>
            <a:fld id="{92E70860-886D-4303-B2B5-BD1295E1FD39}" type="datetimeyyyy">
              <a:rPr lang="en-US" sz="700" smtClean="0">
                <a:solidFill>
                  <a:srgbClr val="BBBBBB"/>
                </a:solidFill>
              </a:rPr>
              <a:t>2024</a:t>
            </a:fld>
            <a:r>
              <a:rPr lang="en-US" sz="700">
                <a:solidFill>
                  <a:srgbClr val="BBBBBB"/>
                </a:solidFill>
              </a:rPr>
              <a:t> Nielsen Consumer LLC. All Rights Reserved.</a:t>
            </a:r>
          </a:p>
        </p:txBody>
      </p:sp>
      <p:sp>
        <p:nvSpPr>
          <p:cNvPr id="11" name="Confidential disclaimer">
            <a:extLst>
              <a:ext uri="{FF2B5EF4-FFF2-40B4-BE49-F238E27FC236}">
                <a16:creationId xmlns:a16="http://schemas.microsoft.com/office/drawing/2014/main" id="{E92240A2-16A2-92E0-CB79-8A8DDCBFE3B1}"/>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pic>
        <p:nvPicPr>
          <p:cNvPr id="9" name="NIQ GFK Lockup" hidden="1">
            <a:extLst>
              <a:ext uri="{FF2B5EF4-FFF2-40B4-BE49-F238E27FC236}">
                <a16:creationId xmlns:a16="http://schemas.microsoft.com/office/drawing/2014/main" id="{F72C93F2-029A-F706-FCA1-C00C6620AA84}"/>
              </a:ext>
            </a:extLst>
          </p:cNvPr>
          <p:cNvPicPr>
            <a:picLocks noGrp="1" noRo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24" name="NielsenIQ logo+wordmark" descr="A blue text on a black background&#10;&#10;Description automatically generated" hidden="1">
            <a:extLst>
              <a:ext uri="{FF2B5EF4-FFF2-40B4-BE49-F238E27FC236}">
                <a16:creationId xmlns:a16="http://schemas.microsoft.com/office/drawing/2014/main" id="{30EA2721-2669-7CC1-263F-E48ACB34B739}"/>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tretch>
            <a:fillRect/>
          </a:stretch>
        </p:blipFill>
        <p:spPr>
          <a:xfrm>
            <a:off x="290130" y="6495154"/>
            <a:ext cx="781433" cy="269593"/>
          </a:xfrm>
          <a:prstGeom prst="rect">
            <a:avLst/>
          </a:prstGeom>
        </p:spPr>
      </p:pic>
      <p:pic>
        <p:nvPicPr>
          <p:cNvPr id="22" name="NIQ Logo">
            <a:extLst>
              <a:ext uri="{FF2B5EF4-FFF2-40B4-BE49-F238E27FC236}">
                <a16:creationId xmlns:a16="http://schemas.microsoft.com/office/drawing/2014/main" id="{C2F586F8-1BDB-2AFF-F8FE-C01DC3808778}"/>
              </a:ext>
            </a:extLst>
          </p:cNvPr>
          <p:cNvPicPr>
            <a:picLocks/>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65537088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3_Section Header Dark">
    <p:spTree>
      <p:nvGrpSpPr>
        <p:cNvPr id="1" name=""/>
        <p:cNvGrpSpPr/>
        <p:nvPr/>
      </p:nvGrpSpPr>
      <p:grpSpPr>
        <a:xfrm>
          <a:off x="0" y="0"/>
          <a:ext cx="0" cy="0"/>
          <a:chOff x="0" y="0"/>
          <a:chExt cx="0" cy="0"/>
        </a:xfrm>
      </p:grpSpPr>
      <p:cxnSp>
        <p:nvCxnSpPr>
          <p:cNvPr id="10" name="Base Rule">
            <a:extLst>
              <a:ext uri="{FF2B5EF4-FFF2-40B4-BE49-F238E27FC236}">
                <a16:creationId xmlns:a16="http://schemas.microsoft.com/office/drawing/2014/main" id="{BF009615-489A-5DA8-222F-36CEB46D77B1}"/>
              </a:ext>
            </a:extLst>
          </p:cNvPr>
          <p:cNvCxnSpPr>
            <a:cxnSpLocks/>
          </p:cNvCxnSpPr>
          <p:nvPr userDrawn="1"/>
        </p:nvCxnSpPr>
        <p:spPr>
          <a:xfrm>
            <a:off x="292100" y="6395755"/>
            <a:ext cx="1160780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Slide Number Placeholder">
            <a:extLst>
              <a:ext uri="{FF2B5EF4-FFF2-40B4-BE49-F238E27FC236}">
                <a16:creationId xmlns:a16="http://schemas.microsoft.com/office/drawing/2014/main" id="{74E97C96-6264-45A7-BD31-3F850D5B4046}"/>
              </a:ext>
            </a:extLst>
          </p:cNvPr>
          <p:cNvSpPr>
            <a:spLocks noGrp="1" noRot="1" noMove="1" noResize="1" noEditPoints="1" noAdjustHandles="1" noChangeArrowheads="1" noChangeShapeType="1"/>
          </p:cNvSpPr>
          <p:nvPr>
            <p:ph type="sldNum" sz="quarter" idx="12"/>
          </p:nvPr>
        </p:nvSpPr>
        <p:spPr/>
        <p:txBody>
          <a:bodyPr/>
          <a:lstStyle>
            <a:lvl1pPr>
              <a:defRPr>
                <a:solidFill>
                  <a:srgbClr val="FFFFFF"/>
                </a:solidFill>
              </a:defRPr>
            </a:lvl1pPr>
          </a:lstStyle>
          <a:p>
            <a:fld id="{3E04DF46-C0DC-4ADC-9A6F-918CC4703A43}" type="slidenum">
              <a:rPr lang="en-GB" smtClean="0"/>
              <a:pPr/>
              <a:t>‹#›</a:t>
            </a:fld>
            <a:endParaRPr lang="en-GB"/>
          </a:p>
        </p:txBody>
      </p:sp>
      <p:sp>
        <p:nvSpPr>
          <p:cNvPr id="8" name="Copyright Line">
            <a:extLst>
              <a:ext uri="{FF2B5EF4-FFF2-40B4-BE49-F238E27FC236}">
                <a16:creationId xmlns:a16="http://schemas.microsoft.com/office/drawing/2014/main" id="{D18F1FC4-106D-3BF8-BC65-D648A021FC0D}"/>
              </a:ext>
            </a:extLst>
          </p:cNvPr>
          <p:cNvSpPr txBox="1">
            <a:spLocks noGrp="1" noRot="1" noMove="1" noResize="1" noEditPoints="1" noAdjustHandles="1" noChangeArrowheads="1" noChangeShapeType="1"/>
          </p:cNvSpPr>
          <p:nvPr userDrawn="1"/>
        </p:nvSpPr>
        <p:spPr>
          <a:xfrm>
            <a:off x="9167809" y="6526849"/>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rgbClr val="BBBBBB"/>
                </a:solidFill>
              </a:rPr>
              <a:t>© </a:t>
            </a:r>
            <a:fld id="{92E70860-886D-4303-B2B5-BD1295E1FD39}" type="datetimeyyyy">
              <a:rPr lang="en-US" sz="700" smtClean="0">
                <a:solidFill>
                  <a:srgbClr val="BBBBBB"/>
                </a:solidFill>
              </a:rPr>
              <a:t>2024</a:t>
            </a:fld>
            <a:r>
              <a:rPr lang="en-US" sz="700">
                <a:solidFill>
                  <a:srgbClr val="BBBBBB"/>
                </a:solidFill>
              </a:rPr>
              <a:t> Nielsen Consumer LLC. All Rights Reserved.</a:t>
            </a:r>
          </a:p>
        </p:txBody>
      </p:sp>
      <p:sp>
        <p:nvSpPr>
          <p:cNvPr id="11" name="Confidential disclaimer">
            <a:extLst>
              <a:ext uri="{FF2B5EF4-FFF2-40B4-BE49-F238E27FC236}">
                <a16:creationId xmlns:a16="http://schemas.microsoft.com/office/drawing/2014/main" id="{E92240A2-16A2-92E0-CB79-8A8DDCBFE3B1}"/>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pic>
        <p:nvPicPr>
          <p:cNvPr id="9" name="NIQ GFK Lockup" hidden="1">
            <a:extLst>
              <a:ext uri="{FF2B5EF4-FFF2-40B4-BE49-F238E27FC236}">
                <a16:creationId xmlns:a16="http://schemas.microsoft.com/office/drawing/2014/main" id="{F72C93F2-029A-F706-FCA1-C00C6620AA84}"/>
              </a:ext>
            </a:extLst>
          </p:cNvPr>
          <p:cNvPicPr>
            <a:picLocks noGrp="1" noRo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24" name="NielsenIQ logo+wordmark" descr="A blue text on a black background&#10;&#10;Description automatically generated" hidden="1">
            <a:extLst>
              <a:ext uri="{FF2B5EF4-FFF2-40B4-BE49-F238E27FC236}">
                <a16:creationId xmlns:a16="http://schemas.microsoft.com/office/drawing/2014/main" id="{30EA2721-2669-7CC1-263F-E48ACB34B739}"/>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tretch>
            <a:fillRect/>
          </a:stretch>
        </p:blipFill>
        <p:spPr>
          <a:xfrm>
            <a:off x="290130" y="6495154"/>
            <a:ext cx="781433" cy="269593"/>
          </a:xfrm>
          <a:prstGeom prst="rect">
            <a:avLst/>
          </a:prstGeom>
        </p:spPr>
      </p:pic>
      <p:pic>
        <p:nvPicPr>
          <p:cNvPr id="22" name="NIQ Logo">
            <a:extLst>
              <a:ext uri="{FF2B5EF4-FFF2-40B4-BE49-F238E27FC236}">
                <a16:creationId xmlns:a16="http://schemas.microsoft.com/office/drawing/2014/main" id="{C2F586F8-1BDB-2AFF-F8FE-C01DC3808778}"/>
              </a:ext>
            </a:extLst>
          </p:cNvPr>
          <p:cNvPicPr>
            <a:picLocks/>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250089952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Sidebar">
    <p:bg>
      <p:bgRef idx="1001">
        <a:schemeClr val="bg1"/>
      </p:bgRef>
    </p:bg>
    <p:spTree>
      <p:nvGrpSpPr>
        <p:cNvPr id="1" name=""/>
        <p:cNvGrpSpPr/>
        <p:nvPr/>
      </p:nvGrpSpPr>
      <p:grpSpPr>
        <a:xfrm>
          <a:off x="0" y="0"/>
          <a:ext cx="0" cy="0"/>
          <a:chOff x="0" y="0"/>
          <a:chExt cx="0" cy="0"/>
        </a:xfrm>
      </p:grpSpPr>
      <p:sp>
        <p:nvSpPr>
          <p:cNvPr id="7" name="Static Light Bkgd">
            <a:extLst>
              <a:ext uri="{FF2B5EF4-FFF2-40B4-BE49-F238E27FC236}">
                <a16:creationId xmlns:a16="http://schemas.microsoft.com/office/drawing/2014/main" id="{D1093FDC-ACBE-C97A-79EC-30B506F35131}"/>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Block Bkgd">
            <a:extLst>
              <a:ext uri="{FF2B5EF4-FFF2-40B4-BE49-F238E27FC236}">
                <a16:creationId xmlns:a16="http://schemas.microsoft.com/office/drawing/2014/main" id="{61051253-1566-C6AD-277E-C41693FE3B9F}"/>
              </a:ext>
            </a:extLst>
          </p:cNvPr>
          <p:cNvSpPr>
            <a:spLocks noGrp="1" noRot="1" noMove="1" noResize="1" noEditPoints="1" noAdjustHandles="1" noChangeArrowheads="1" noChangeShapeType="1"/>
          </p:cNvSpPr>
          <p:nvPr userDrawn="1"/>
        </p:nvSpPr>
        <p:spPr>
          <a:xfrm>
            <a:off x="0" y="0"/>
            <a:ext cx="4002916" cy="685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GB" err="1"/>
          </a:p>
        </p:txBody>
      </p:sp>
      <p:cxnSp>
        <p:nvCxnSpPr>
          <p:cNvPr id="16" name="Base Rule">
            <a:extLst>
              <a:ext uri="{FF2B5EF4-FFF2-40B4-BE49-F238E27FC236}">
                <a16:creationId xmlns:a16="http://schemas.microsoft.com/office/drawing/2014/main" id="{A76E5B64-AFD0-1002-8187-608F612A25A9}"/>
              </a:ext>
            </a:extLst>
          </p:cNvPr>
          <p:cNvCxnSpPr>
            <a:cxnSpLocks noGrp="1" noRot="1" noMove="1" noResize="1" noEditPoints="1" noAdjustHandles="1" noChangeArrowheads="1" noChangeShapeType="1"/>
          </p:cNvCxnSpPr>
          <p:nvPr userDrawn="1"/>
        </p:nvCxnSpPr>
        <p:spPr>
          <a:xfrm>
            <a:off x="4237038" y="6395755"/>
            <a:ext cx="7662863" cy="0"/>
          </a:xfrm>
          <a:prstGeom prst="line">
            <a:avLst/>
          </a:prstGeom>
          <a:ln w="12700">
            <a:solidFill>
              <a:srgbClr val="555555"/>
            </a:solidFill>
          </a:ln>
        </p:spPr>
        <p:style>
          <a:lnRef idx="1">
            <a:schemeClr val="accent1"/>
          </a:lnRef>
          <a:fillRef idx="0">
            <a:schemeClr val="accent1"/>
          </a:fillRef>
          <a:effectRef idx="0">
            <a:schemeClr val="accent1"/>
          </a:effectRef>
          <a:fontRef idx="minor">
            <a:schemeClr val="tx1"/>
          </a:fontRef>
        </p:style>
      </p:cxnSp>
      <p:sp>
        <p:nvSpPr>
          <p:cNvPr id="27" name="Slide Number Placeholder">
            <a:extLst>
              <a:ext uri="{FF2B5EF4-FFF2-40B4-BE49-F238E27FC236}">
                <a16:creationId xmlns:a16="http://schemas.microsoft.com/office/drawing/2014/main" id="{6FB508FF-12E5-30CD-260F-1D79AD32367C}"/>
              </a:ext>
            </a:extLst>
          </p:cNvPr>
          <p:cNvSpPr>
            <a:spLocks noGrp="1" noRot="1" noMove="1" noResize="1" noEditPoints="1" noAdjustHandles="1" noChangeArrowheads="1" noChangeShapeType="1"/>
          </p:cNvSpPr>
          <p:nvPr>
            <p:ph type="sldNum" sz="quarter" idx="12"/>
          </p:nvPr>
        </p:nvSpPr>
        <p:spPr>
          <a:xfrm>
            <a:off x="11495577" y="6485399"/>
            <a:ext cx="404321" cy="282957"/>
          </a:xfrm>
        </p:spPr>
        <p:txBody>
          <a:bodyPr/>
          <a:lstStyle/>
          <a:p>
            <a:fld id="{3E04DF46-C0DC-4ADC-9A6F-918CC4703A43}" type="slidenum">
              <a:rPr lang="en-GB" smtClean="0"/>
              <a:pPr/>
              <a:t>‹#›</a:t>
            </a:fld>
            <a:endParaRPr lang="en-GB"/>
          </a:p>
        </p:txBody>
      </p:sp>
      <p:sp>
        <p:nvSpPr>
          <p:cNvPr id="15" name="Copyright Line">
            <a:extLst>
              <a:ext uri="{FF2B5EF4-FFF2-40B4-BE49-F238E27FC236}">
                <a16:creationId xmlns:a16="http://schemas.microsoft.com/office/drawing/2014/main" id="{148E64DD-C38D-F907-E20C-F3A4311DD323}"/>
              </a:ext>
            </a:extLst>
          </p:cNvPr>
          <p:cNvSpPr txBox="1">
            <a:spLocks noGrp="1" noRot="1" noMove="1" noResize="1" noEditPoints="1" noAdjustHandles="1" noChangeArrowheads="1" noChangeShapeType="1"/>
          </p:cNvSpPr>
          <p:nvPr userDrawn="1"/>
        </p:nvSpPr>
        <p:spPr>
          <a:xfrm>
            <a:off x="9167809" y="6526850"/>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a:t>
            </a:r>
            <a:fld id="{92E70860-886D-4303-B2B5-BD1295E1FD39}" type="datetimeyyyy">
              <a:rPr lang="en-US" sz="700" smtClean="0">
                <a:solidFill>
                  <a:schemeClr val="tx1">
                    <a:lumMod val="40000"/>
                    <a:lumOff val="60000"/>
                  </a:schemeClr>
                </a:solidFill>
              </a:rPr>
              <a:t>2024</a:t>
            </a:fld>
            <a:r>
              <a:rPr lang="en-US" sz="700">
                <a:solidFill>
                  <a:schemeClr val="tx1">
                    <a:lumMod val="40000"/>
                    <a:lumOff val="60000"/>
                  </a:schemeClr>
                </a:solidFill>
              </a:rPr>
              <a:t> Nielsen Consumer LLC. All Rights Reserved.</a:t>
            </a:r>
          </a:p>
        </p:txBody>
      </p:sp>
      <p:sp>
        <p:nvSpPr>
          <p:cNvPr id="14" name="Confidential disclaimer">
            <a:extLst>
              <a:ext uri="{FF2B5EF4-FFF2-40B4-BE49-F238E27FC236}">
                <a16:creationId xmlns:a16="http://schemas.microsoft.com/office/drawing/2014/main" id="{8190ED14-46E2-2B63-6E09-DC52ACE59C37}"/>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26" name="Footer Placeholder">
            <a:extLst>
              <a:ext uri="{FF2B5EF4-FFF2-40B4-BE49-F238E27FC236}">
                <a16:creationId xmlns:a16="http://schemas.microsoft.com/office/drawing/2014/main" id="{E183FCE9-1380-C908-3210-D1CC81C316CD}"/>
              </a:ext>
            </a:extLst>
          </p:cNvPr>
          <p:cNvSpPr>
            <a:spLocks noGrp="1" noRot="1" noMove="1" noResize="1" noEditPoints="1" noAdjustHandles="1" noChangeArrowheads="1" noChangeShapeType="1"/>
          </p:cNvSpPr>
          <p:nvPr>
            <p:ph type="ftr" sz="quarter" idx="11"/>
          </p:nvPr>
        </p:nvSpPr>
        <p:spPr>
          <a:xfrm>
            <a:off x="4237038" y="6485399"/>
            <a:ext cx="3056524" cy="282957"/>
          </a:xfrm>
        </p:spPr>
        <p:txBody>
          <a:bodyPr/>
          <a:lstStyle/>
          <a:p>
            <a:endParaRPr lang="en-GB"/>
          </a:p>
        </p:txBody>
      </p:sp>
      <p:sp>
        <p:nvSpPr>
          <p:cNvPr id="10" name="Source Placeholder">
            <a:extLst>
              <a:ext uri="{FF2B5EF4-FFF2-40B4-BE49-F238E27FC236}">
                <a16:creationId xmlns:a16="http://schemas.microsoft.com/office/drawing/2014/main" id="{77FED749-9C39-81DD-7428-E91EAF740A97}"/>
              </a:ext>
            </a:extLst>
          </p:cNvPr>
          <p:cNvSpPr>
            <a:spLocks noGrp="1" noRot="1" noMove="1" noResize="1" noEditPoints="1" noAdjustHandles="1" noChangeArrowheads="1" noChangeShapeType="1"/>
          </p:cNvSpPr>
          <p:nvPr>
            <p:ph type="body" sz="quarter" idx="14" hasCustomPrompt="1"/>
          </p:nvPr>
        </p:nvSpPr>
        <p:spPr>
          <a:xfrm>
            <a:off x="4237036" y="6108700"/>
            <a:ext cx="7662864"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13" name="Content Placeholder">
            <a:extLst>
              <a:ext uri="{FF2B5EF4-FFF2-40B4-BE49-F238E27FC236}">
                <a16:creationId xmlns:a16="http://schemas.microsoft.com/office/drawing/2014/main" id="{4EA26CDB-5FFD-8E65-BB9F-B583607F097C}"/>
              </a:ext>
            </a:extLst>
          </p:cNvPr>
          <p:cNvSpPr>
            <a:spLocks noGrp="1" noRot="1" noMove="1" noResize="1" noEditPoints="1" noAdjustHandles="1" noChangeArrowheads="1" noChangeShapeType="1"/>
          </p:cNvSpPr>
          <p:nvPr>
            <p:ph sz="quarter" idx="15"/>
          </p:nvPr>
        </p:nvSpPr>
        <p:spPr>
          <a:xfrm>
            <a:off x="4237038" y="1219200"/>
            <a:ext cx="7662862" cy="4457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ubtitle Placeholder">
            <a:extLst>
              <a:ext uri="{FF2B5EF4-FFF2-40B4-BE49-F238E27FC236}">
                <a16:creationId xmlns:a16="http://schemas.microsoft.com/office/drawing/2014/main" id="{811C7246-8A71-F257-DB0D-3E1F23CE6970}"/>
              </a:ext>
            </a:extLst>
          </p:cNvPr>
          <p:cNvSpPr>
            <a:spLocks noGrp="1" noRot="1" noMove="1" noResize="1" noEditPoints="1" noAdjustHandles="1" noChangeArrowheads="1" noChangeShapeType="1"/>
          </p:cNvSpPr>
          <p:nvPr>
            <p:ph type="body" idx="1" hasCustomPrompt="1"/>
          </p:nvPr>
        </p:nvSpPr>
        <p:spPr>
          <a:xfrm>
            <a:off x="292100" y="3945964"/>
            <a:ext cx="3409043" cy="1500187"/>
          </a:xfrm>
        </p:spPr>
        <p:txBody>
          <a:bodyPr>
            <a:noAutofit/>
          </a:bodyPr>
          <a:lstStyle>
            <a:lvl1pPr marL="0" indent="0">
              <a:buNone/>
              <a:defRPr sz="2000">
                <a:solidFill>
                  <a:schemeClr val="tx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add section subtitle</a:t>
            </a:r>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1219200"/>
            <a:ext cx="3409043" cy="2401887"/>
          </a:xfrm>
        </p:spPr>
        <p:txBody>
          <a:bodyPr anchor="b">
            <a:noAutofit/>
          </a:bodyPr>
          <a:lstStyle>
            <a:lvl1pPr>
              <a:defRPr sz="4400">
                <a:solidFill>
                  <a:schemeClr val="tx1"/>
                </a:solidFill>
              </a:defRPr>
            </a:lvl1pPr>
          </a:lstStyle>
          <a:p>
            <a:r>
              <a:rPr lang="en-US"/>
              <a:t>Section header</a:t>
            </a:r>
            <a:endParaRPr lang="en-GB"/>
          </a:p>
        </p:txBody>
      </p:sp>
      <p:pic>
        <p:nvPicPr>
          <p:cNvPr id="4" name="NIQ GFK Lockup" hidden="1">
            <a:extLst>
              <a:ext uri="{FF2B5EF4-FFF2-40B4-BE49-F238E27FC236}">
                <a16:creationId xmlns:a16="http://schemas.microsoft.com/office/drawing/2014/main" id="{EA4F8456-F302-1F9F-CB79-F96F7FF403B1}"/>
              </a:ext>
            </a:extLst>
          </p:cNvPr>
          <p:cNvPicPr>
            <a:picLocks noGrp="1" noRot="1" noChangeAspect="1" noMove="1" noResize="1" noEditPoints="1" noAdjustHandles="1" noChangeArrowheads="1" noChangeShapeType="1" noCrop="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02626" y="6462285"/>
            <a:ext cx="906224" cy="329184"/>
          </a:xfrm>
          <a:prstGeom prst="rect">
            <a:avLst/>
          </a:prstGeom>
        </p:spPr>
      </p:pic>
      <p:pic>
        <p:nvPicPr>
          <p:cNvPr id="5" name="NielsenIQ logo+wordmark" descr="A blue text on a black background&#10;&#10;Description automatically generated" hidden="1">
            <a:extLst>
              <a:ext uri="{FF2B5EF4-FFF2-40B4-BE49-F238E27FC236}">
                <a16:creationId xmlns:a16="http://schemas.microsoft.com/office/drawing/2014/main" id="{E5214B10-6ABB-0EB3-4E33-9E9E477DD15A}"/>
              </a:ext>
            </a:extLst>
          </p:cNvPr>
          <p:cNvPicPr>
            <a:picLocks noGrp="1" noRot="1" noChangeAspec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tretch>
            <a:fillRect/>
          </a:stretch>
        </p:blipFill>
        <p:spPr>
          <a:xfrm>
            <a:off x="290130" y="6495154"/>
            <a:ext cx="781433" cy="269593"/>
          </a:xfrm>
          <a:prstGeom prst="rect">
            <a:avLst/>
          </a:prstGeom>
        </p:spPr>
      </p:pic>
      <p:pic>
        <p:nvPicPr>
          <p:cNvPr id="6" name="NIQ Logo">
            <a:extLst>
              <a:ext uri="{FF2B5EF4-FFF2-40B4-BE49-F238E27FC236}">
                <a16:creationId xmlns:a16="http://schemas.microsoft.com/office/drawing/2014/main" id="{A9B1FD76-BF8D-8EEE-6EC7-E0AC284E58CD}"/>
              </a:ext>
            </a:extLst>
          </p:cNvPr>
          <p:cNvPicPr>
            <a:picLocks noGrp="1" noRo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925441220"/>
      </p:ext>
    </p:extLst>
  </p:cSld>
  <p:clrMapOvr>
    <a:overrideClrMapping bg1="lt1" tx1="dk1" bg2="lt2" tx2="dk2" accent1="accent1" accent2="accent2" accent3="accent3" accent4="accent4" accent5="accent5" accent6="accent6" hlink="hlink" folHlink="folHlink"/>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Blue Sidebar">
    <p:bg>
      <p:bgRef idx="1001">
        <a:schemeClr val="bg1"/>
      </p:bgRef>
    </p:bg>
    <p:spTree>
      <p:nvGrpSpPr>
        <p:cNvPr id="1" name=""/>
        <p:cNvGrpSpPr/>
        <p:nvPr/>
      </p:nvGrpSpPr>
      <p:grpSpPr>
        <a:xfrm>
          <a:off x="0" y="0"/>
          <a:ext cx="0" cy="0"/>
          <a:chOff x="0" y="0"/>
          <a:chExt cx="0" cy="0"/>
        </a:xfrm>
      </p:grpSpPr>
      <p:sp>
        <p:nvSpPr>
          <p:cNvPr id="7" name="Static Light Bkgd">
            <a:extLst>
              <a:ext uri="{FF2B5EF4-FFF2-40B4-BE49-F238E27FC236}">
                <a16:creationId xmlns:a16="http://schemas.microsoft.com/office/drawing/2014/main" id="{D1093FDC-ACBE-C97A-79EC-30B506F35131}"/>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Block Bkgd">
            <a:extLst>
              <a:ext uri="{FF2B5EF4-FFF2-40B4-BE49-F238E27FC236}">
                <a16:creationId xmlns:a16="http://schemas.microsoft.com/office/drawing/2014/main" id="{61051253-1566-C6AD-277E-C41693FE3B9F}"/>
              </a:ext>
            </a:extLst>
          </p:cNvPr>
          <p:cNvSpPr>
            <a:spLocks noGrp="1" noRot="1" noMove="1" noResize="1" noEditPoints="1" noAdjustHandles="1" noChangeArrowheads="1" noChangeShapeType="1"/>
          </p:cNvSpPr>
          <p:nvPr userDrawn="1"/>
        </p:nvSpPr>
        <p:spPr>
          <a:xfrm>
            <a:off x="0" y="0"/>
            <a:ext cx="4002916"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GB" err="1"/>
          </a:p>
        </p:txBody>
      </p:sp>
      <p:cxnSp>
        <p:nvCxnSpPr>
          <p:cNvPr id="16" name="Base Rule">
            <a:extLst>
              <a:ext uri="{FF2B5EF4-FFF2-40B4-BE49-F238E27FC236}">
                <a16:creationId xmlns:a16="http://schemas.microsoft.com/office/drawing/2014/main" id="{A76E5B64-AFD0-1002-8187-608F612A25A9}"/>
              </a:ext>
            </a:extLst>
          </p:cNvPr>
          <p:cNvCxnSpPr>
            <a:cxnSpLocks noGrp="1" noRot="1" noMove="1" noResize="1" noEditPoints="1" noAdjustHandles="1" noChangeArrowheads="1" noChangeShapeType="1"/>
          </p:cNvCxnSpPr>
          <p:nvPr userDrawn="1"/>
        </p:nvCxnSpPr>
        <p:spPr>
          <a:xfrm>
            <a:off x="4237038" y="6395755"/>
            <a:ext cx="7662863" cy="0"/>
          </a:xfrm>
          <a:prstGeom prst="line">
            <a:avLst/>
          </a:prstGeom>
          <a:ln w="12700">
            <a:solidFill>
              <a:srgbClr val="555555"/>
            </a:solidFill>
          </a:ln>
        </p:spPr>
        <p:style>
          <a:lnRef idx="1">
            <a:schemeClr val="accent1"/>
          </a:lnRef>
          <a:fillRef idx="0">
            <a:schemeClr val="accent1"/>
          </a:fillRef>
          <a:effectRef idx="0">
            <a:schemeClr val="accent1"/>
          </a:effectRef>
          <a:fontRef idx="minor">
            <a:schemeClr val="tx1"/>
          </a:fontRef>
        </p:style>
      </p:cxnSp>
      <p:sp>
        <p:nvSpPr>
          <p:cNvPr id="27" name="Slide Number Placeholder">
            <a:extLst>
              <a:ext uri="{FF2B5EF4-FFF2-40B4-BE49-F238E27FC236}">
                <a16:creationId xmlns:a16="http://schemas.microsoft.com/office/drawing/2014/main" id="{6FB508FF-12E5-30CD-260F-1D79AD32367C}"/>
              </a:ext>
            </a:extLst>
          </p:cNvPr>
          <p:cNvSpPr>
            <a:spLocks noGrp="1" noRot="1" noMove="1" noResize="1" noEditPoints="1" noAdjustHandles="1" noChangeArrowheads="1" noChangeShapeType="1"/>
          </p:cNvSpPr>
          <p:nvPr>
            <p:ph type="sldNum" sz="quarter" idx="12"/>
          </p:nvPr>
        </p:nvSpPr>
        <p:spPr/>
        <p:txBody>
          <a:bodyPr/>
          <a:lstStyle/>
          <a:p>
            <a:fld id="{3E04DF46-C0DC-4ADC-9A6F-918CC4703A43}" type="slidenum">
              <a:rPr lang="en-GB" smtClean="0"/>
              <a:pPr/>
              <a:t>‹#›</a:t>
            </a:fld>
            <a:endParaRPr lang="en-GB"/>
          </a:p>
        </p:txBody>
      </p:sp>
      <p:sp>
        <p:nvSpPr>
          <p:cNvPr id="14" name="Copyright Line">
            <a:extLst>
              <a:ext uri="{FF2B5EF4-FFF2-40B4-BE49-F238E27FC236}">
                <a16:creationId xmlns:a16="http://schemas.microsoft.com/office/drawing/2014/main" id="{785C4202-84F8-8C2C-1D92-57E97078C48D}"/>
              </a:ext>
            </a:extLst>
          </p:cNvPr>
          <p:cNvSpPr txBox="1">
            <a:spLocks noGrp="1" noRot="1" noMove="1" noResize="1" noEditPoints="1" noAdjustHandles="1" noChangeArrowheads="1" noChangeShapeType="1"/>
          </p:cNvSpPr>
          <p:nvPr userDrawn="1"/>
        </p:nvSpPr>
        <p:spPr>
          <a:xfrm>
            <a:off x="9167809" y="6526850"/>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a:t>
            </a:r>
            <a:fld id="{92E70860-886D-4303-B2B5-BD1295E1FD39}" type="datetimeyyyy">
              <a:rPr lang="en-US" sz="700" smtClean="0">
                <a:solidFill>
                  <a:schemeClr val="tx1">
                    <a:lumMod val="40000"/>
                    <a:lumOff val="60000"/>
                  </a:schemeClr>
                </a:solidFill>
              </a:rPr>
              <a:t>2024</a:t>
            </a:fld>
            <a:r>
              <a:rPr lang="en-US" sz="700">
                <a:solidFill>
                  <a:schemeClr val="tx1">
                    <a:lumMod val="40000"/>
                    <a:lumOff val="60000"/>
                  </a:schemeClr>
                </a:solidFill>
              </a:rPr>
              <a:t> Nielsen Consumer LLC. All Rights Reserved.</a:t>
            </a:r>
          </a:p>
        </p:txBody>
      </p:sp>
      <p:sp>
        <p:nvSpPr>
          <p:cNvPr id="13" name="Confidential disclaimer">
            <a:extLst>
              <a:ext uri="{FF2B5EF4-FFF2-40B4-BE49-F238E27FC236}">
                <a16:creationId xmlns:a16="http://schemas.microsoft.com/office/drawing/2014/main" id="{E096164C-17A9-3CC9-A52F-D0B4EEA62BD1}"/>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26" name="Footer Placeholder">
            <a:extLst>
              <a:ext uri="{FF2B5EF4-FFF2-40B4-BE49-F238E27FC236}">
                <a16:creationId xmlns:a16="http://schemas.microsoft.com/office/drawing/2014/main" id="{E183FCE9-1380-C908-3210-D1CC81C316CD}"/>
              </a:ext>
            </a:extLst>
          </p:cNvPr>
          <p:cNvSpPr>
            <a:spLocks noGrp="1" noRot="1" noMove="1" noResize="1" noEditPoints="1" noAdjustHandles="1" noChangeArrowheads="1" noChangeShapeType="1"/>
          </p:cNvSpPr>
          <p:nvPr>
            <p:ph type="ftr" sz="quarter" idx="11"/>
          </p:nvPr>
        </p:nvSpPr>
        <p:spPr>
          <a:xfrm>
            <a:off x="4237038" y="6485399"/>
            <a:ext cx="3056523" cy="282957"/>
          </a:xfrm>
        </p:spPr>
        <p:txBody>
          <a:bodyPr/>
          <a:lstStyle/>
          <a:p>
            <a:endParaRPr lang="en-GB"/>
          </a:p>
        </p:txBody>
      </p:sp>
      <p:sp>
        <p:nvSpPr>
          <p:cNvPr id="4" name="Source Placeholder">
            <a:extLst>
              <a:ext uri="{FF2B5EF4-FFF2-40B4-BE49-F238E27FC236}">
                <a16:creationId xmlns:a16="http://schemas.microsoft.com/office/drawing/2014/main" id="{7336FA02-79CA-726F-511F-D79250B87612}"/>
              </a:ext>
            </a:extLst>
          </p:cNvPr>
          <p:cNvSpPr>
            <a:spLocks noGrp="1" noRot="1" noMove="1" noResize="1" noEditPoints="1" noAdjustHandles="1" noChangeArrowheads="1" noChangeShapeType="1"/>
          </p:cNvSpPr>
          <p:nvPr>
            <p:ph type="body" sz="quarter" idx="14" hasCustomPrompt="1"/>
          </p:nvPr>
        </p:nvSpPr>
        <p:spPr>
          <a:xfrm>
            <a:off x="4237036" y="6108700"/>
            <a:ext cx="7662864"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10" name="Content Placeholder">
            <a:extLst>
              <a:ext uri="{FF2B5EF4-FFF2-40B4-BE49-F238E27FC236}">
                <a16:creationId xmlns:a16="http://schemas.microsoft.com/office/drawing/2014/main" id="{F249C353-5497-424D-4C80-DA025B85CF0E}"/>
              </a:ext>
            </a:extLst>
          </p:cNvPr>
          <p:cNvSpPr>
            <a:spLocks noGrp="1" noRot="1" noMove="1" noResize="1" noEditPoints="1" noAdjustHandles="1" noChangeArrowheads="1" noChangeShapeType="1"/>
          </p:cNvSpPr>
          <p:nvPr>
            <p:ph sz="quarter" idx="15"/>
          </p:nvPr>
        </p:nvSpPr>
        <p:spPr>
          <a:xfrm>
            <a:off x="4237038" y="1219200"/>
            <a:ext cx="7662862" cy="4457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ubtitle Placeholder">
            <a:extLst>
              <a:ext uri="{FF2B5EF4-FFF2-40B4-BE49-F238E27FC236}">
                <a16:creationId xmlns:a16="http://schemas.microsoft.com/office/drawing/2014/main" id="{811C7246-8A71-F257-DB0D-3E1F23CE6970}"/>
              </a:ext>
            </a:extLst>
          </p:cNvPr>
          <p:cNvSpPr>
            <a:spLocks noGrp="1" noRot="1" noMove="1" noResize="1" noEditPoints="1" noAdjustHandles="1" noChangeArrowheads="1" noChangeShapeType="1"/>
          </p:cNvSpPr>
          <p:nvPr>
            <p:ph type="body" idx="1" hasCustomPrompt="1"/>
          </p:nvPr>
        </p:nvSpPr>
        <p:spPr>
          <a:xfrm>
            <a:off x="292100" y="3945964"/>
            <a:ext cx="3409043" cy="1500187"/>
          </a:xfrm>
        </p:spPr>
        <p:txBody>
          <a:bodyPr>
            <a:noAutofit/>
          </a:bodyPr>
          <a:lstStyle>
            <a:lvl1pPr marL="0" indent="0">
              <a:buNone/>
              <a:defRPr sz="2000">
                <a:solidFill>
                  <a:srgbClr val="FFFFFF"/>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add section subtitle</a:t>
            </a:r>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1219200"/>
            <a:ext cx="3409043" cy="2401887"/>
          </a:xfrm>
        </p:spPr>
        <p:txBody>
          <a:bodyPr anchor="b">
            <a:noAutofit/>
          </a:bodyPr>
          <a:lstStyle>
            <a:lvl1pPr>
              <a:defRPr sz="4400">
                <a:solidFill>
                  <a:srgbClr val="FFFFFF"/>
                </a:solidFill>
              </a:defRPr>
            </a:lvl1pPr>
          </a:lstStyle>
          <a:p>
            <a:r>
              <a:rPr lang="en-US"/>
              <a:t>Section header</a:t>
            </a:r>
            <a:endParaRPr lang="en-GB"/>
          </a:p>
        </p:txBody>
      </p:sp>
      <p:pic>
        <p:nvPicPr>
          <p:cNvPr id="6" name="NIQ GFK Lockup" hidden="1">
            <a:extLst>
              <a:ext uri="{FF2B5EF4-FFF2-40B4-BE49-F238E27FC236}">
                <a16:creationId xmlns:a16="http://schemas.microsoft.com/office/drawing/2014/main" id="{EF6F7CF4-822A-D8B2-DFDA-1C3EAA869029}"/>
              </a:ext>
            </a:extLst>
          </p:cNvPr>
          <p:cNvPicPr>
            <a:picLocks noGrp="1" noRo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5" name="NielsenIQ logo+wordmark" hidden="1">
            <a:extLst>
              <a:ext uri="{FF2B5EF4-FFF2-40B4-BE49-F238E27FC236}">
                <a16:creationId xmlns:a16="http://schemas.microsoft.com/office/drawing/2014/main" id="{32C28E02-2118-88F0-2B78-22254A5F217C}"/>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rcRect/>
          <a:stretch/>
        </p:blipFill>
        <p:spPr>
          <a:xfrm>
            <a:off x="290132" y="6495154"/>
            <a:ext cx="781428" cy="269593"/>
          </a:xfrm>
          <a:prstGeom prst="rect">
            <a:avLst/>
          </a:prstGeom>
        </p:spPr>
      </p:pic>
      <p:pic>
        <p:nvPicPr>
          <p:cNvPr id="9" name="NIQ Logo">
            <a:extLst>
              <a:ext uri="{FF2B5EF4-FFF2-40B4-BE49-F238E27FC236}">
                <a16:creationId xmlns:a16="http://schemas.microsoft.com/office/drawing/2014/main" id="{557F1CC3-9C99-3BC3-AD92-FB8503D927CF}"/>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599090375"/>
      </p:ext>
    </p:extLst>
  </p:cSld>
  <p:clrMapOvr>
    <a:overrideClrMapping bg1="lt1" tx1="dk1" bg2="lt2" tx2="dk2" accent1="accent1" accent2="accent2" accent3="accent3" accent4="accent4" accent5="accent5" accent6="accent6" hlink="hlink" folHlink="folHlink"/>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Dark Sidebar">
    <p:bg>
      <p:bgRef idx="1001">
        <a:schemeClr val="bg1"/>
      </p:bgRef>
    </p:bg>
    <p:spTree>
      <p:nvGrpSpPr>
        <p:cNvPr id="1" name=""/>
        <p:cNvGrpSpPr/>
        <p:nvPr/>
      </p:nvGrpSpPr>
      <p:grpSpPr>
        <a:xfrm>
          <a:off x="0" y="0"/>
          <a:ext cx="0" cy="0"/>
          <a:chOff x="0" y="0"/>
          <a:chExt cx="0" cy="0"/>
        </a:xfrm>
      </p:grpSpPr>
      <p:sp>
        <p:nvSpPr>
          <p:cNvPr id="7" name="Static Light Bkgd">
            <a:extLst>
              <a:ext uri="{FF2B5EF4-FFF2-40B4-BE49-F238E27FC236}">
                <a16:creationId xmlns:a16="http://schemas.microsoft.com/office/drawing/2014/main" id="{D1093FDC-ACBE-C97A-79EC-30B506F35131}"/>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Block Bkgd">
            <a:extLst>
              <a:ext uri="{FF2B5EF4-FFF2-40B4-BE49-F238E27FC236}">
                <a16:creationId xmlns:a16="http://schemas.microsoft.com/office/drawing/2014/main" id="{61051253-1566-C6AD-277E-C41693FE3B9F}"/>
              </a:ext>
            </a:extLst>
          </p:cNvPr>
          <p:cNvSpPr>
            <a:spLocks noGrp="1" noRot="1" noMove="1" noResize="1" noEditPoints="1" noAdjustHandles="1" noChangeArrowheads="1" noChangeShapeType="1"/>
          </p:cNvSpPr>
          <p:nvPr userDrawn="1"/>
        </p:nvSpPr>
        <p:spPr>
          <a:xfrm>
            <a:off x="0" y="0"/>
            <a:ext cx="4002916"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GB" err="1"/>
          </a:p>
        </p:txBody>
      </p:sp>
      <p:cxnSp>
        <p:nvCxnSpPr>
          <p:cNvPr id="16" name="Base Rule">
            <a:extLst>
              <a:ext uri="{FF2B5EF4-FFF2-40B4-BE49-F238E27FC236}">
                <a16:creationId xmlns:a16="http://schemas.microsoft.com/office/drawing/2014/main" id="{A76E5B64-AFD0-1002-8187-608F612A25A9}"/>
              </a:ext>
            </a:extLst>
          </p:cNvPr>
          <p:cNvCxnSpPr>
            <a:cxnSpLocks noGrp="1" noRot="1" noMove="1" noResize="1" noEditPoints="1" noAdjustHandles="1" noChangeArrowheads="1" noChangeShapeType="1"/>
          </p:cNvCxnSpPr>
          <p:nvPr userDrawn="1"/>
        </p:nvCxnSpPr>
        <p:spPr>
          <a:xfrm>
            <a:off x="4237038" y="6395755"/>
            <a:ext cx="7662863" cy="0"/>
          </a:xfrm>
          <a:prstGeom prst="line">
            <a:avLst/>
          </a:prstGeom>
          <a:ln w="12700">
            <a:solidFill>
              <a:srgbClr val="555555"/>
            </a:solidFill>
          </a:ln>
        </p:spPr>
        <p:style>
          <a:lnRef idx="1">
            <a:schemeClr val="accent1"/>
          </a:lnRef>
          <a:fillRef idx="0">
            <a:schemeClr val="accent1"/>
          </a:fillRef>
          <a:effectRef idx="0">
            <a:schemeClr val="accent1"/>
          </a:effectRef>
          <a:fontRef idx="minor">
            <a:schemeClr val="tx1"/>
          </a:fontRef>
        </p:style>
      </p:cxnSp>
      <p:sp>
        <p:nvSpPr>
          <p:cNvPr id="27" name="Slide Number Placeholder">
            <a:extLst>
              <a:ext uri="{FF2B5EF4-FFF2-40B4-BE49-F238E27FC236}">
                <a16:creationId xmlns:a16="http://schemas.microsoft.com/office/drawing/2014/main" id="{6FB508FF-12E5-30CD-260F-1D79AD32367C}"/>
              </a:ext>
            </a:extLst>
          </p:cNvPr>
          <p:cNvSpPr>
            <a:spLocks noGrp="1" noRot="1" noMove="1" noResize="1" noEditPoints="1" noAdjustHandles="1" noChangeArrowheads="1" noChangeShapeType="1"/>
          </p:cNvSpPr>
          <p:nvPr>
            <p:ph type="sldNum" sz="quarter" idx="12"/>
          </p:nvPr>
        </p:nvSpPr>
        <p:spPr/>
        <p:txBody>
          <a:bodyPr/>
          <a:lstStyle/>
          <a:p>
            <a:fld id="{3E04DF46-C0DC-4ADC-9A6F-918CC4703A43}" type="slidenum">
              <a:rPr lang="en-GB" smtClean="0"/>
              <a:pPr/>
              <a:t>‹#›</a:t>
            </a:fld>
            <a:endParaRPr lang="en-GB"/>
          </a:p>
        </p:txBody>
      </p:sp>
      <p:sp>
        <p:nvSpPr>
          <p:cNvPr id="14" name="Copyright Line">
            <a:extLst>
              <a:ext uri="{FF2B5EF4-FFF2-40B4-BE49-F238E27FC236}">
                <a16:creationId xmlns:a16="http://schemas.microsoft.com/office/drawing/2014/main" id="{ABBC6E03-863D-FD63-7C57-491D7ADA71AD}"/>
              </a:ext>
            </a:extLst>
          </p:cNvPr>
          <p:cNvSpPr txBox="1">
            <a:spLocks noGrp="1" noRot="1" noMove="1" noResize="1" noEditPoints="1" noAdjustHandles="1" noChangeArrowheads="1" noChangeShapeType="1"/>
          </p:cNvSpPr>
          <p:nvPr userDrawn="1"/>
        </p:nvSpPr>
        <p:spPr>
          <a:xfrm>
            <a:off x="9167809" y="6526850"/>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a:t>
            </a:r>
            <a:fld id="{92E70860-886D-4303-B2B5-BD1295E1FD39}" type="datetimeyyyy">
              <a:rPr lang="en-US" sz="700" smtClean="0">
                <a:solidFill>
                  <a:schemeClr val="tx1">
                    <a:lumMod val="40000"/>
                    <a:lumOff val="60000"/>
                  </a:schemeClr>
                </a:solidFill>
              </a:rPr>
              <a:t>2024</a:t>
            </a:fld>
            <a:r>
              <a:rPr lang="en-US" sz="700">
                <a:solidFill>
                  <a:schemeClr val="tx1">
                    <a:lumMod val="40000"/>
                    <a:lumOff val="60000"/>
                  </a:schemeClr>
                </a:solidFill>
              </a:rPr>
              <a:t> Nielsen Consumer LLC. All Rights Reserved.</a:t>
            </a:r>
          </a:p>
        </p:txBody>
      </p:sp>
      <p:sp>
        <p:nvSpPr>
          <p:cNvPr id="4" name="Confidential disclaimer">
            <a:extLst>
              <a:ext uri="{FF2B5EF4-FFF2-40B4-BE49-F238E27FC236}">
                <a16:creationId xmlns:a16="http://schemas.microsoft.com/office/drawing/2014/main" id="{C0846810-8BC5-01F8-F631-25773D837541}"/>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26" name="Footer Placeholder">
            <a:extLst>
              <a:ext uri="{FF2B5EF4-FFF2-40B4-BE49-F238E27FC236}">
                <a16:creationId xmlns:a16="http://schemas.microsoft.com/office/drawing/2014/main" id="{E183FCE9-1380-C908-3210-D1CC81C316CD}"/>
              </a:ext>
            </a:extLst>
          </p:cNvPr>
          <p:cNvSpPr>
            <a:spLocks noGrp="1" noRot="1" noMove="1" noResize="1" noEditPoints="1" noAdjustHandles="1" noChangeArrowheads="1" noChangeShapeType="1"/>
          </p:cNvSpPr>
          <p:nvPr>
            <p:ph type="ftr" sz="quarter" idx="11"/>
          </p:nvPr>
        </p:nvSpPr>
        <p:spPr>
          <a:xfrm>
            <a:off x="4237038" y="6485399"/>
            <a:ext cx="3056524" cy="282957"/>
          </a:xfrm>
        </p:spPr>
        <p:txBody>
          <a:bodyPr/>
          <a:lstStyle/>
          <a:p>
            <a:endParaRPr lang="en-GB"/>
          </a:p>
        </p:txBody>
      </p:sp>
      <p:sp>
        <p:nvSpPr>
          <p:cNvPr id="10" name="Source Placeholder">
            <a:extLst>
              <a:ext uri="{FF2B5EF4-FFF2-40B4-BE49-F238E27FC236}">
                <a16:creationId xmlns:a16="http://schemas.microsoft.com/office/drawing/2014/main" id="{77FED749-9C39-81DD-7428-E91EAF740A97}"/>
              </a:ext>
            </a:extLst>
          </p:cNvPr>
          <p:cNvSpPr>
            <a:spLocks noGrp="1" noRot="1" noMove="1" noResize="1" noEditPoints="1" noAdjustHandles="1" noChangeArrowheads="1" noChangeShapeType="1"/>
          </p:cNvSpPr>
          <p:nvPr>
            <p:ph type="body" sz="quarter" idx="14" hasCustomPrompt="1"/>
          </p:nvPr>
        </p:nvSpPr>
        <p:spPr>
          <a:xfrm>
            <a:off x="4237036" y="6108700"/>
            <a:ext cx="7662864"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13" name="Content Placeholder">
            <a:extLst>
              <a:ext uri="{FF2B5EF4-FFF2-40B4-BE49-F238E27FC236}">
                <a16:creationId xmlns:a16="http://schemas.microsoft.com/office/drawing/2014/main" id="{4EA26CDB-5FFD-8E65-BB9F-B583607F097C}"/>
              </a:ext>
            </a:extLst>
          </p:cNvPr>
          <p:cNvSpPr>
            <a:spLocks noGrp="1" noRot="1" noMove="1" noResize="1" noEditPoints="1" noAdjustHandles="1" noChangeArrowheads="1" noChangeShapeType="1"/>
          </p:cNvSpPr>
          <p:nvPr>
            <p:ph sz="quarter" idx="15"/>
          </p:nvPr>
        </p:nvSpPr>
        <p:spPr>
          <a:xfrm>
            <a:off x="4237038" y="1219200"/>
            <a:ext cx="7662862" cy="4457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ubtitle Placeholder">
            <a:extLst>
              <a:ext uri="{FF2B5EF4-FFF2-40B4-BE49-F238E27FC236}">
                <a16:creationId xmlns:a16="http://schemas.microsoft.com/office/drawing/2014/main" id="{811C7246-8A71-F257-DB0D-3E1F23CE6970}"/>
              </a:ext>
            </a:extLst>
          </p:cNvPr>
          <p:cNvSpPr>
            <a:spLocks noGrp="1" noRot="1" noMove="1" noResize="1" noEditPoints="1" noAdjustHandles="1" noChangeArrowheads="1" noChangeShapeType="1"/>
          </p:cNvSpPr>
          <p:nvPr>
            <p:ph type="body" idx="1" hasCustomPrompt="1"/>
          </p:nvPr>
        </p:nvSpPr>
        <p:spPr>
          <a:xfrm>
            <a:off x="292100" y="3945964"/>
            <a:ext cx="3409043" cy="1500187"/>
          </a:xfrm>
        </p:spPr>
        <p:txBody>
          <a:bodyPr>
            <a:noAutofit/>
          </a:bodyPr>
          <a:lstStyle>
            <a:lvl1pPr marL="0" indent="0">
              <a:buNone/>
              <a:defRPr sz="20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add section subtitle</a:t>
            </a:r>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1219200"/>
            <a:ext cx="3409043" cy="2401887"/>
          </a:xfrm>
        </p:spPr>
        <p:txBody>
          <a:bodyPr anchor="b">
            <a:noAutofit/>
          </a:bodyPr>
          <a:lstStyle>
            <a:lvl1pPr>
              <a:defRPr sz="4400">
                <a:solidFill>
                  <a:schemeClr val="bg1"/>
                </a:solidFill>
              </a:defRPr>
            </a:lvl1pPr>
          </a:lstStyle>
          <a:p>
            <a:r>
              <a:rPr lang="en-US"/>
              <a:t>Section header</a:t>
            </a:r>
            <a:endParaRPr lang="en-GB"/>
          </a:p>
        </p:txBody>
      </p:sp>
      <p:pic>
        <p:nvPicPr>
          <p:cNvPr id="8" name="NIQ GFK Lockup" hidden="1">
            <a:extLst>
              <a:ext uri="{FF2B5EF4-FFF2-40B4-BE49-F238E27FC236}">
                <a16:creationId xmlns:a16="http://schemas.microsoft.com/office/drawing/2014/main" id="{23E903F1-B6FB-BED6-3501-293C1130DA4F}"/>
              </a:ext>
            </a:extLst>
          </p:cNvPr>
          <p:cNvPicPr>
            <a:picLocks noGrp="1" noRo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5" name="NielsenIQ logo+wordmark" descr="A blue text on a black background&#10;&#10;Description automatically generated" hidden="1">
            <a:extLst>
              <a:ext uri="{FF2B5EF4-FFF2-40B4-BE49-F238E27FC236}">
                <a16:creationId xmlns:a16="http://schemas.microsoft.com/office/drawing/2014/main" id="{E5214B10-6ABB-0EB3-4E33-9E9E477DD15A}"/>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tretch>
            <a:fillRect/>
          </a:stretch>
        </p:blipFill>
        <p:spPr>
          <a:xfrm>
            <a:off x="290130" y="6495154"/>
            <a:ext cx="781433" cy="269593"/>
          </a:xfrm>
          <a:prstGeom prst="rect">
            <a:avLst/>
          </a:prstGeom>
        </p:spPr>
      </p:pic>
      <p:pic>
        <p:nvPicPr>
          <p:cNvPr id="6" name="NIQ Logo">
            <a:extLst>
              <a:ext uri="{FF2B5EF4-FFF2-40B4-BE49-F238E27FC236}">
                <a16:creationId xmlns:a16="http://schemas.microsoft.com/office/drawing/2014/main" id="{A9B1FD76-BF8D-8EEE-6EC7-E0AC284E58CD}"/>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1632577003"/>
      </p:ext>
    </p:extLst>
  </p:cSld>
  <p:clrMapOvr>
    <a:overrideClrMapping bg1="lt1" tx1="dk1" bg2="lt2" tx2="dk2" accent1="accent1" accent2="accent2" accent3="accent3" accent4="accent4" accent5="accent5" accent6="accent6" hlink="hlink" folHlink="folHlink"/>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1_Section Header with Dark Sidebar">
    <p:bg>
      <p:bgRef idx="1001">
        <a:schemeClr val="bg1"/>
      </p:bgRef>
    </p:bg>
    <p:spTree>
      <p:nvGrpSpPr>
        <p:cNvPr id="1" name=""/>
        <p:cNvGrpSpPr/>
        <p:nvPr/>
      </p:nvGrpSpPr>
      <p:grpSpPr>
        <a:xfrm>
          <a:off x="0" y="0"/>
          <a:ext cx="0" cy="0"/>
          <a:chOff x="0" y="0"/>
          <a:chExt cx="0" cy="0"/>
        </a:xfrm>
      </p:grpSpPr>
      <p:sp>
        <p:nvSpPr>
          <p:cNvPr id="7" name="Static Light Bkgd">
            <a:extLst>
              <a:ext uri="{FF2B5EF4-FFF2-40B4-BE49-F238E27FC236}">
                <a16:creationId xmlns:a16="http://schemas.microsoft.com/office/drawing/2014/main" id="{D1093FDC-ACBE-C97A-79EC-30B506F35131}"/>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Block Bkgd">
            <a:extLst>
              <a:ext uri="{FF2B5EF4-FFF2-40B4-BE49-F238E27FC236}">
                <a16:creationId xmlns:a16="http://schemas.microsoft.com/office/drawing/2014/main" id="{61051253-1566-C6AD-277E-C41693FE3B9F}"/>
              </a:ext>
            </a:extLst>
          </p:cNvPr>
          <p:cNvSpPr>
            <a:spLocks noGrp="1" noRot="1" noMove="1" noResize="1" noEditPoints="1" noAdjustHandles="1" noChangeArrowheads="1" noChangeShapeType="1"/>
          </p:cNvSpPr>
          <p:nvPr userDrawn="1"/>
        </p:nvSpPr>
        <p:spPr>
          <a:xfrm>
            <a:off x="0" y="0"/>
            <a:ext cx="4002916"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GB" err="1"/>
          </a:p>
        </p:txBody>
      </p:sp>
      <p:cxnSp>
        <p:nvCxnSpPr>
          <p:cNvPr id="16" name="Base Rule">
            <a:extLst>
              <a:ext uri="{FF2B5EF4-FFF2-40B4-BE49-F238E27FC236}">
                <a16:creationId xmlns:a16="http://schemas.microsoft.com/office/drawing/2014/main" id="{A76E5B64-AFD0-1002-8187-608F612A25A9}"/>
              </a:ext>
            </a:extLst>
          </p:cNvPr>
          <p:cNvCxnSpPr>
            <a:cxnSpLocks noGrp="1" noRot="1" noMove="1" noResize="1" noEditPoints="1" noAdjustHandles="1" noChangeArrowheads="1" noChangeShapeType="1"/>
          </p:cNvCxnSpPr>
          <p:nvPr userDrawn="1"/>
        </p:nvCxnSpPr>
        <p:spPr>
          <a:xfrm>
            <a:off x="4237038" y="6395755"/>
            <a:ext cx="7662863" cy="0"/>
          </a:xfrm>
          <a:prstGeom prst="line">
            <a:avLst/>
          </a:prstGeom>
          <a:ln w="12700">
            <a:solidFill>
              <a:srgbClr val="555555"/>
            </a:solidFill>
          </a:ln>
        </p:spPr>
        <p:style>
          <a:lnRef idx="1">
            <a:schemeClr val="accent1"/>
          </a:lnRef>
          <a:fillRef idx="0">
            <a:schemeClr val="accent1"/>
          </a:fillRef>
          <a:effectRef idx="0">
            <a:schemeClr val="accent1"/>
          </a:effectRef>
          <a:fontRef idx="minor">
            <a:schemeClr val="tx1"/>
          </a:fontRef>
        </p:style>
      </p:cxnSp>
      <p:sp>
        <p:nvSpPr>
          <p:cNvPr id="26" name="Footer Placeholder">
            <a:extLst>
              <a:ext uri="{FF2B5EF4-FFF2-40B4-BE49-F238E27FC236}">
                <a16:creationId xmlns:a16="http://schemas.microsoft.com/office/drawing/2014/main" id="{E183FCE9-1380-C908-3210-D1CC81C316CD}"/>
              </a:ext>
            </a:extLst>
          </p:cNvPr>
          <p:cNvSpPr>
            <a:spLocks noGrp="1" noRot="1" noMove="1" noResize="1" noEditPoints="1" noAdjustHandles="1" noChangeArrowheads="1" noChangeShapeType="1"/>
          </p:cNvSpPr>
          <p:nvPr>
            <p:ph type="ftr" sz="quarter" idx="11"/>
          </p:nvPr>
        </p:nvSpPr>
        <p:spPr>
          <a:xfrm>
            <a:off x="4237038" y="6485399"/>
            <a:ext cx="3056524" cy="282957"/>
          </a:xfrm>
        </p:spPr>
        <p:txBody>
          <a:bodyPr/>
          <a:lstStyle/>
          <a:p>
            <a:endParaRPr lang="en-GB"/>
          </a:p>
        </p:txBody>
      </p:sp>
      <p:sp>
        <p:nvSpPr>
          <p:cNvPr id="10" name="Source Placeholder">
            <a:extLst>
              <a:ext uri="{FF2B5EF4-FFF2-40B4-BE49-F238E27FC236}">
                <a16:creationId xmlns:a16="http://schemas.microsoft.com/office/drawing/2014/main" id="{77FED749-9C39-81DD-7428-E91EAF740A97}"/>
              </a:ext>
            </a:extLst>
          </p:cNvPr>
          <p:cNvSpPr>
            <a:spLocks noGrp="1" noRot="1" noMove="1" noResize="1" noEditPoints="1" noAdjustHandles="1" noChangeArrowheads="1" noChangeShapeType="1"/>
          </p:cNvSpPr>
          <p:nvPr>
            <p:ph type="body" sz="quarter" idx="14" hasCustomPrompt="1"/>
          </p:nvPr>
        </p:nvSpPr>
        <p:spPr>
          <a:xfrm>
            <a:off x="4237036" y="6108700"/>
            <a:ext cx="7662864"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13" name="Content Placeholder">
            <a:extLst>
              <a:ext uri="{FF2B5EF4-FFF2-40B4-BE49-F238E27FC236}">
                <a16:creationId xmlns:a16="http://schemas.microsoft.com/office/drawing/2014/main" id="{4EA26CDB-5FFD-8E65-BB9F-B583607F097C}"/>
              </a:ext>
            </a:extLst>
          </p:cNvPr>
          <p:cNvSpPr>
            <a:spLocks noGrp="1" noRot="1" noMove="1" noResize="1" noEditPoints="1" noAdjustHandles="1" noChangeArrowheads="1" noChangeShapeType="1"/>
          </p:cNvSpPr>
          <p:nvPr>
            <p:ph sz="quarter" idx="15"/>
          </p:nvPr>
        </p:nvSpPr>
        <p:spPr>
          <a:xfrm>
            <a:off x="4237038" y="1219200"/>
            <a:ext cx="7662862" cy="4457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ubtitle Placeholder">
            <a:extLst>
              <a:ext uri="{FF2B5EF4-FFF2-40B4-BE49-F238E27FC236}">
                <a16:creationId xmlns:a16="http://schemas.microsoft.com/office/drawing/2014/main" id="{811C7246-8A71-F257-DB0D-3E1F23CE6970}"/>
              </a:ext>
            </a:extLst>
          </p:cNvPr>
          <p:cNvSpPr>
            <a:spLocks noGrp="1" noRot="1" noMove="1" noResize="1" noEditPoints="1" noAdjustHandles="1" noChangeArrowheads="1" noChangeShapeType="1"/>
          </p:cNvSpPr>
          <p:nvPr>
            <p:ph type="body" idx="1" hasCustomPrompt="1"/>
          </p:nvPr>
        </p:nvSpPr>
        <p:spPr>
          <a:xfrm>
            <a:off x="292100" y="3945964"/>
            <a:ext cx="3409043" cy="1500187"/>
          </a:xfrm>
        </p:spPr>
        <p:txBody>
          <a:bodyPr>
            <a:noAutofit/>
          </a:bodyPr>
          <a:lstStyle>
            <a:lvl1pPr marL="0" indent="0">
              <a:buNone/>
              <a:defRPr sz="20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add section subtitle</a:t>
            </a:r>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1219200"/>
            <a:ext cx="3409043" cy="2401887"/>
          </a:xfrm>
        </p:spPr>
        <p:txBody>
          <a:bodyPr anchor="b">
            <a:noAutofit/>
          </a:bodyPr>
          <a:lstStyle>
            <a:lvl1pPr>
              <a:defRPr sz="4400">
                <a:solidFill>
                  <a:schemeClr val="bg1"/>
                </a:solidFill>
              </a:defRPr>
            </a:lvl1pPr>
          </a:lstStyle>
          <a:p>
            <a:r>
              <a:rPr lang="en-US"/>
              <a:t>Section header</a:t>
            </a:r>
            <a:endParaRPr lang="en-GB"/>
          </a:p>
        </p:txBody>
      </p:sp>
      <p:pic>
        <p:nvPicPr>
          <p:cNvPr id="8" name="NIQ GFK Lockup" hidden="1">
            <a:extLst>
              <a:ext uri="{FF2B5EF4-FFF2-40B4-BE49-F238E27FC236}">
                <a16:creationId xmlns:a16="http://schemas.microsoft.com/office/drawing/2014/main" id="{23E903F1-B6FB-BED6-3501-293C1130DA4F}"/>
              </a:ext>
            </a:extLst>
          </p:cNvPr>
          <p:cNvPicPr>
            <a:picLocks noGrp="1" noRo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5" name="NielsenIQ logo+wordmark" descr="A blue text on a black background&#10;&#10;Description automatically generated" hidden="1">
            <a:extLst>
              <a:ext uri="{FF2B5EF4-FFF2-40B4-BE49-F238E27FC236}">
                <a16:creationId xmlns:a16="http://schemas.microsoft.com/office/drawing/2014/main" id="{E5214B10-6ABB-0EB3-4E33-9E9E477DD15A}"/>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tretch>
            <a:fillRect/>
          </a:stretch>
        </p:blipFill>
        <p:spPr>
          <a:xfrm>
            <a:off x="290130" y="6495154"/>
            <a:ext cx="781433" cy="269593"/>
          </a:xfrm>
          <a:prstGeom prst="rect">
            <a:avLst/>
          </a:prstGeom>
        </p:spPr>
      </p:pic>
      <p:pic>
        <p:nvPicPr>
          <p:cNvPr id="6" name="NIQ Logo">
            <a:extLst>
              <a:ext uri="{FF2B5EF4-FFF2-40B4-BE49-F238E27FC236}">
                <a16:creationId xmlns:a16="http://schemas.microsoft.com/office/drawing/2014/main" id="{A9B1FD76-BF8D-8EEE-6EC7-E0AC284E58CD}"/>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
        <p:nvSpPr>
          <p:cNvPr id="9" name="Slide Number Placeholder 5">
            <a:extLst>
              <a:ext uri="{FF2B5EF4-FFF2-40B4-BE49-F238E27FC236}">
                <a16:creationId xmlns:a16="http://schemas.microsoft.com/office/drawing/2014/main" id="{E1DBFC51-87EF-31DD-C029-0F71E6135F49}"/>
              </a:ext>
            </a:extLst>
          </p:cNvPr>
          <p:cNvSpPr txBox="1">
            <a:spLocks/>
          </p:cNvSpPr>
          <p:nvPr userDrawn="1"/>
        </p:nvSpPr>
        <p:spPr>
          <a:xfrm>
            <a:off x="10985325" y="6444314"/>
            <a:ext cx="90187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03EF4E2-7A7A-0548-85F1-5479B7C9E1B2}" type="slidenum">
              <a:rPr lang="en-US" sz="1200" smtClean="0">
                <a:solidFill>
                  <a:schemeClr val="tx1">
                    <a:lumMod val="50000"/>
                    <a:lumOff val="50000"/>
                  </a:schemeClr>
                </a:solidFill>
              </a:rPr>
              <a:pPr algn="r"/>
              <a:t>‹#›</a:t>
            </a:fld>
            <a:endParaRPr lang="en-US" sz="1200">
              <a:solidFill>
                <a:schemeClr val="tx1">
                  <a:lumMod val="50000"/>
                  <a:lumOff val="50000"/>
                </a:schemeClr>
              </a:solidFill>
            </a:endParaRPr>
          </a:p>
        </p:txBody>
      </p:sp>
      <p:sp>
        <p:nvSpPr>
          <p:cNvPr id="12" name="Copyright Line">
            <a:extLst>
              <a:ext uri="{FF2B5EF4-FFF2-40B4-BE49-F238E27FC236}">
                <a16:creationId xmlns:a16="http://schemas.microsoft.com/office/drawing/2014/main" id="{E3E53B1F-0A56-161A-EF11-A1FA88FF736A}"/>
              </a:ext>
            </a:extLst>
          </p:cNvPr>
          <p:cNvSpPr txBox="1"/>
          <p:nvPr userDrawn="1"/>
        </p:nvSpPr>
        <p:spPr>
          <a:xfrm>
            <a:off x="9167809" y="6526850"/>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a:t>
            </a:r>
            <a:fld id="{92E70860-886D-4303-B2B5-BD1295E1FD39}" type="datetimeyyyy">
              <a:rPr lang="en-US" sz="700" smtClean="0">
                <a:solidFill>
                  <a:schemeClr val="tx1">
                    <a:lumMod val="40000"/>
                    <a:lumOff val="60000"/>
                  </a:schemeClr>
                </a:solidFill>
              </a:rPr>
              <a:t>2024</a:t>
            </a:fld>
            <a:r>
              <a:rPr lang="en-US" sz="700">
                <a:solidFill>
                  <a:schemeClr val="tx1">
                    <a:lumMod val="40000"/>
                    <a:lumOff val="60000"/>
                  </a:schemeClr>
                </a:solidFill>
              </a:rPr>
              <a:t> Nielsen Consumer LLC. All Rights Reserved.</a:t>
            </a:r>
          </a:p>
        </p:txBody>
      </p:sp>
      <p:sp>
        <p:nvSpPr>
          <p:cNvPr id="15" name="Confidential disclaimer">
            <a:extLst>
              <a:ext uri="{FF2B5EF4-FFF2-40B4-BE49-F238E27FC236}">
                <a16:creationId xmlns:a16="http://schemas.microsoft.com/office/drawing/2014/main" id="{36C510C4-0769-1350-A7DD-40373FD1B378}"/>
              </a:ext>
            </a:extLst>
          </p:cNvPr>
          <p:cNvSpPr txBox="1"/>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Tree>
    <p:extLst>
      <p:ext uri="{BB962C8B-B14F-4D97-AF65-F5344CB8AC3E}">
        <p14:creationId xmlns:p14="http://schemas.microsoft.com/office/powerpoint/2010/main" val="3437600357"/>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Blue Sidebar">
    <p:bg>
      <p:bgRef idx="1001">
        <a:schemeClr val="bg1"/>
      </p:bgRef>
    </p:bg>
    <p:spTree>
      <p:nvGrpSpPr>
        <p:cNvPr id="1" name=""/>
        <p:cNvGrpSpPr/>
        <p:nvPr/>
      </p:nvGrpSpPr>
      <p:grpSpPr>
        <a:xfrm>
          <a:off x="0" y="0"/>
          <a:ext cx="0" cy="0"/>
          <a:chOff x="0" y="0"/>
          <a:chExt cx="0" cy="0"/>
        </a:xfrm>
      </p:grpSpPr>
      <p:sp>
        <p:nvSpPr>
          <p:cNvPr id="7" name="Static Light Bkgd">
            <a:extLst>
              <a:ext uri="{FF2B5EF4-FFF2-40B4-BE49-F238E27FC236}">
                <a16:creationId xmlns:a16="http://schemas.microsoft.com/office/drawing/2014/main" id="{D1093FDC-ACBE-C97A-79EC-30B506F35131}"/>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Block Bkgd">
            <a:extLst>
              <a:ext uri="{FF2B5EF4-FFF2-40B4-BE49-F238E27FC236}">
                <a16:creationId xmlns:a16="http://schemas.microsoft.com/office/drawing/2014/main" id="{61051253-1566-C6AD-277E-C41693FE3B9F}"/>
              </a:ext>
            </a:extLst>
          </p:cNvPr>
          <p:cNvSpPr>
            <a:spLocks noGrp="1" noRot="1" noMove="1" noResize="1" noEditPoints="1" noAdjustHandles="1" noChangeArrowheads="1" noChangeShapeType="1"/>
          </p:cNvSpPr>
          <p:nvPr userDrawn="1"/>
        </p:nvSpPr>
        <p:spPr>
          <a:xfrm>
            <a:off x="0" y="0"/>
            <a:ext cx="4002916"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GB" err="1"/>
          </a:p>
        </p:txBody>
      </p:sp>
      <p:cxnSp>
        <p:nvCxnSpPr>
          <p:cNvPr id="16" name="Base Rule">
            <a:extLst>
              <a:ext uri="{FF2B5EF4-FFF2-40B4-BE49-F238E27FC236}">
                <a16:creationId xmlns:a16="http://schemas.microsoft.com/office/drawing/2014/main" id="{A76E5B64-AFD0-1002-8187-608F612A25A9}"/>
              </a:ext>
            </a:extLst>
          </p:cNvPr>
          <p:cNvCxnSpPr>
            <a:cxnSpLocks noGrp="1" noRot="1" noMove="1" noResize="1" noEditPoints="1" noAdjustHandles="1" noChangeArrowheads="1" noChangeShapeType="1"/>
          </p:cNvCxnSpPr>
          <p:nvPr userDrawn="1"/>
        </p:nvCxnSpPr>
        <p:spPr>
          <a:xfrm>
            <a:off x="4237038" y="6395755"/>
            <a:ext cx="7662863" cy="0"/>
          </a:xfrm>
          <a:prstGeom prst="line">
            <a:avLst/>
          </a:prstGeom>
          <a:ln w="12700">
            <a:solidFill>
              <a:srgbClr val="555555"/>
            </a:solidFill>
          </a:ln>
        </p:spPr>
        <p:style>
          <a:lnRef idx="1">
            <a:schemeClr val="accent1"/>
          </a:lnRef>
          <a:fillRef idx="0">
            <a:schemeClr val="accent1"/>
          </a:fillRef>
          <a:effectRef idx="0">
            <a:schemeClr val="accent1"/>
          </a:effectRef>
          <a:fontRef idx="minor">
            <a:schemeClr val="tx1"/>
          </a:fontRef>
        </p:style>
      </p:cxnSp>
      <p:sp>
        <p:nvSpPr>
          <p:cNvPr id="27" name="Slide Number Placeholder">
            <a:extLst>
              <a:ext uri="{FF2B5EF4-FFF2-40B4-BE49-F238E27FC236}">
                <a16:creationId xmlns:a16="http://schemas.microsoft.com/office/drawing/2014/main" id="{6FB508FF-12E5-30CD-260F-1D79AD32367C}"/>
              </a:ext>
            </a:extLst>
          </p:cNvPr>
          <p:cNvSpPr>
            <a:spLocks noGrp="1" noRot="1" noMove="1" noResize="1" noEditPoints="1" noAdjustHandles="1" noChangeArrowheads="1" noChangeShapeType="1"/>
          </p:cNvSpPr>
          <p:nvPr>
            <p:ph type="sldNum" sz="quarter" idx="12"/>
          </p:nvPr>
        </p:nvSpPr>
        <p:spPr/>
        <p:txBody>
          <a:bodyPr/>
          <a:lstStyle/>
          <a:p>
            <a:fld id="{3E04DF46-C0DC-4ADC-9A6F-918CC4703A43}" type="slidenum">
              <a:rPr lang="en-GB" smtClean="0"/>
              <a:pPr/>
              <a:t>‹#›</a:t>
            </a:fld>
            <a:endParaRPr lang="en-GB"/>
          </a:p>
        </p:txBody>
      </p:sp>
      <p:sp>
        <p:nvSpPr>
          <p:cNvPr id="14" name="Copyright Line">
            <a:extLst>
              <a:ext uri="{FF2B5EF4-FFF2-40B4-BE49-F238E27FC236}">
                <a16:creationId xmlns:a16="http://schemas.microsoft.com/office/drawing/2014/main" id="{785C4202-84F8-8C2C-1D92-57E97078C48D}"/>
              </a:ext>
            </a:extLst>
          </p:cNvPr>
          <p:cNvSpPr txBox="1">
            <a:spLocks noGrp="1" noRot="1" noMove="1" noResize="1" noEditPoints="1" noAdjustHandles="1" noChangeArrowheads="1" noChangeShapeType="1"/>
          </p:cNvSpPr>
          <p:nvPr userDrawn="1"/>
        </p:nvSpPr>
        <p:spPr>
          <a:xfrm>
            <a:off x="9167809" y="6526850"/>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a:t>
            </a:r>
            <a:fld id="{92E70860-886D-4303-B2B5-BD1295E1FD39}" type="datetimeyyyy">
              <a:rPr lang="en-US" sz="700" smtClean="0">
                <a:solidFill>
                  <a:schemeClr val="tx1">
                    <a:lumMod val="40000"/>
                    <a:lumOff val="60000"/>
                  </a:schemeClr>
                </a:solidFill>
              </a:rPr>
              <a:t>2024</a:t>
            </a:fld>
            <a:r>
              <a:rPr lang="en-US" sz="700">
                <a:solidFill>
                  <a:schemeClr val="tx1">
                    <a:lumMod val="40000"/>
                    <a:lumOff val="60000"/>
                  </a:schemeClr>
                </a:solidFill>
              </a:rPr>
              <a:t> Nielsen Consumer LLC. All Rights Reserved.</a:t>
            </a:r>
          </a:p>
        </p:txBody>
      </p:sp>
      <p:sp>
        <p:nvSpPr>
          <p:cNvPr id="13" name="Confidential disclaimer">
            <a:extLst>
              <a:ext uri="{FF2B5EF4-FFF2-40B4-BE49-F238E27FC236}">
                <a16:creationId xmlns:a16="http://schemas.microsoft.com/office/drawing/2014/main" id="{E096164C-17A9-3CC9-A52F-D0B4EEA62BD1}"/>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26" name="Footer Placeholder">
            <a:extLst>
              <a:ext uri="{FF2B5EF4-FFF2-40B4-BE49-F238E27FC236}">
                <a16:creationId xmlns:a16="http://schemas.microsoft.com/office/drawing/2014/main" id="{E183FCE9-1380-C908-3210-D1CC81C316CD}"/>
              </a:ext>
            </a:extLst>
          </p:cNvPr>
          <p:cNvSpPr>
            <a:spLocks noGrp="1" noRot="1" noMove="1" noResize="1" noEditPoints="1" noAdjustHandles="1" noChangeArrowheads="1" noChangeShapeType="1"/>
          </p:cNvSpPr>
          <p:nvPr>
            <p:ph type="ftr" sz="quarter" idx="11"/>
          </p:nvPr>
        </p:nvSpPr>
        <p:spPr>
          <a:xfrm>
            <a:off x="4237038" y="6485399"/>
            <a:ext cx="3056523" cy="282957"/>
          </a:xfrm>
        </p:spPr>
        <p:txBody>
          <a:bodyPr/>
          <a:lstStyle/>
          <a:p>
            <a:endParaRPr lang="en-GB"/>
          </a:p>
        </p:txBody>
      </p:sp>
      <p:sp>
        <p:nvSpPr>
          <p:cNvPr id="4" name="Source Placeholder">
            <a:extLst>
              <a:ext uri="{FF2B5EF4-FFF2-40B4-BE49-F238E27FC236}">
                <a16:creationId xmlns:a16="http://schemas.microsoft.com/office/drawing/2014/main" id="{7336FA02-79CA-726F-511F-D79250B87612}"/>
              </a:ext>
            </a:extLst>
          </p:cNvPr>
          <p:cNvSpPr>
            <a:spLocks noGrp="1" noRot="1" noMove="1" noResize="1" noEditPoints="1" noAdjustHandles="1" noChangeArrowheads="1" noChangeShapeType="1"/>
          </p:cNvSpPr>
          <p:nvPr>
            <p:ph type="body" sz="quarter" idx="14" hasCustomPrompt="1"/>
          </p:nvPr>
        </p:nvSpPr>
        <p:spPr>
          <a:xfrm>
            <a:off x="4237036" y="6108700"/>
            <a:ext cx="7662864"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10" name="Content Placeholder">
            <a:extLst>
              <a:ext uri="{FF2B5EF4-FFF2-40B4-BE49-F238E27FC236}">
                <a16:creationId xmlns:a16="http://schemas.microsoft.com/office/drawing/2014/main" id="{F249C353-5497-424D-4C80-DA025B85CF0E}"/>
              </a:ext>
            </a:extLst>
          </p:cNvPr>
          <p:cNvSpPr>
            <a:spLocks noGrp="1" noRot="1" noMove="1" noResize="1" noEditPoints="1" noAdjustHandles="1" noChangeArrowheads="1" noChangeShapeType="1"/>
          </p:cNvSpPr>
          <p:nvPr>
            <p:ph sz="quarter" idx="15"/>
          </p:nvPr>
        </p:nvSpPr>
        <p:spPr>
          <a:xfrm>
            <a:off x="4237038" y="1219200"/>
            <a:ext cx="7662862" cy="4457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ubtitle Placeholder">
            <a:extLst>
              <a:ext uri="{FF2B5EF4-FFF2-40B4-BE49-F238E27FC236}">
                <a16:creationId xmlns:a16="http://schemas.microsoft.com/office/drawing/2014/main" id="{811C7246-8A71-F257-DB0D-3E1F23CE6970}"/>
              </a:ext>
            </a:extLst>
          </p:cNvPr>
          <p:cNvSpPr>
            <a:spLocks noGrp="1" noRot="1" noMove="1" noResize="1" noEditPoints="1" noAdjustHandles="1" noChangeArrowheads="1" noChangeShapeType="1"/>
          </p:cNvSpPr>
          <p:nvPr>
            <p:ph type="body" idx="1" hasCustomPrompt="1"/>
          </p:nvPr>
        </p:nvSpPr>
        <p:spPr>
          <a:xfrm>
            <a:off x="292100" y="3945964"/>
            <a:ext cx="3409043" cy="1500187"/>
          </a:xfrm>
        </p:spPr>
        <p:txBody>
          <a:bodyPr>
            <a:noAutofit/>
          </a:bodyPr>
          <a:lstStyle>
            <a:lvl1pPr marL="0" indent="0">
              <a:buNone/>
              <a:defRPr sz="2000">
                <a:solidFill>
                  <a:srgbClr val="FFFFFF"/>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add section subtitle</a:t>
            </a:r>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1219200"/>
            <a:ext cx="3409043" cy="2401887"/>
          </a:xfrm>
        </p:spPr>
        <p:txBody>
          <a:bodyPr anchor="b">
            <a:noAutofit/>
          </a:bodyPr>
          <a:lstStyle>
            <a:lvl1pPr>
              <a:defRPr sz="4400">
                <a:solidFill>
                  <a:srgbClr val="FFFFFF"/>
                </a:solidFill>
              </a:defRPr>
            </a:lvl1pPr>
          </a:lstStyle>
          <a:p>
            <a:r>
              <a:rPr lang="en-US"/>
              <a:t>Section header</a:t>
            </a:r>
            <a:endParaRPr lang="en-GB"/>
          </a:p>
        </p:txBody>
      </p:sp>
      <p:pic>
        <p:nvPicPr>
          <p:cNvPr id="6" name="NIQ GFK Lockup" hidden="1">
            <a:extLst>
              <a:ext uri="{FF2B5EF4-FFF2-40B4-BE49-F238E27FC236}">
                <a16:creationId xmlns:a16="http://schemas.microsoft.com/office/drawing/2014/main" id="{EF6F7CF4-822A-D8B2-DFDA-1C3EAA869029}"/>
              </a:ext>
            </a:extLst>
          </p:cNvPr>
          <p:cNvPicPr>
            <a:picLocks noGrp="1" noRo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5" name="NielsenIQ logo+wordmark" hidden="1">
            <a:extLst>
              <a:ext uri="{FF2B5EF4-FFF2-40B4-BE49-F238E27FC236}">
                <a16:creationId xmlns:a16="http://schemas.microsoft.com/office/drawing/2014/main" id="{32C28E02-2118-88F0-2B78-22254A5F217C}"/>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rcRect/>
          <a:stretch/>
        </p:blipFill>
        <p:spPr>
          <a:xfrm>
            <a:off x="290132" y="6495154"/>
            <a:ext cx="781428" cy="269593"/>
          </a:xfrm>
          <a:prstGeom prst="rect">
            <a:avLst/>
          </a:prstGeom>
        </p:spPr>
      </p:pic>
      <p:pic>
        <p:nvPicPr>
          <p:cNvPr id="9" name="NIQ Logo">
            <a:extLst>
              <a:ext uri="{FF2B5EF4-FFF2-40B4-BE49-F238E27FC236}">
                <a16:creationId xmlns:a16="http://schemas.microsoft.com/office/drawing/2014/main" id="{557F1CC3-9C99-3BC3-AD92-FB8503D927CF}"/>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3408112131"/>
      </p:ext>
    </p:extLst>
  </p:cSld>
  <p:clrMapOvr>
    <a:overrideClrMapping bg1="lt1" tx1="dk1" bg2="lt2" tx2="dk2" accent1="accent1" accent2="accent2" accent3="accent3" accent4="accent4" accent5="accent5" accent6="accent6" hlink="hlink" folHlink="folHlink"/>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2_Section Header with Dark Sidebar">
    <p:bg>
      <p:bgRef idx="1001">
        <a:schemeClr val="bg1"/>
      </p:bgRef>
    </p:bg>
    <p:spTree>
      <p:nvGrpSpPr>
        <p:cNvPr id="1" name=""/>
        <p:cNvGrpSpPr/>
        <p:nvPr/>
      </p:nvGrpSpPr>
      <p:grpSpPr>
        <a:xfrm>
          <a:off x="0" y="0"/>
          <a:ext cx="0" cy="0"/>
          <a:chOff x="0" y="0"/>
          <a:chExt cx="0" cy="0"/>
        </a:xfrm>
      </p:grpSpPr>
      <p:sp>
        <p:nvSpPr>
          <p:cNvPr id="11" name="Block Bkgd">
            <a:extLst>
              <a:ext uri="{FF2B5EF4-FFF2-40B4-BE49-F238E27FC236}">
                <a16:creationId xmlns:a16="http://schemas.microsoft.com/office/drawing/2014/main" id="{61051253-1566-C6AD-277E-C41693FE3B9F}"/>
              </a:ext>
            </a:extLst>
          </p:cNvPr>
          <p:cNvSpPr>
            <a:spLocks noGrp="1" noRot="1" noMove="1" noResize="1" noEditPoints="1" noAdjustHandles="1" noChangeArrowheads="1" noChangeShapeType="1"/>
          </p:cNvSpPr>
          <p:nvPr userDrawn="1"/>
        </p:nvSpPr>
        <p:spPr>
          <a:xfrm>
            <a:off x="0" y="0"/>
            <a:ext cx="4002916"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GB" err="1"/>
          </a:p>
        </p:txBody>
      </p:sp>
      <p:cxnSp>
        <p:nvCxnSpPr>
          <p:cNvPr id="16" name="Base Rule">
            <a:extLst>
              <a:ext uri="{FF2B5EF4-FFF2-40B4-BE49-F238E27FC236}">
                <a16:creationId xmlns:a16="http://schemas.microsoft.com/office/drawing/2014/main" id="{A76E5B64-AFD0-1002-8187-608F612A25A9}"/>
              </a:ext>
            </a:extLst>
          </p:cNvPr>
          <p:cNvCxnSpPr>
            <a:cxnSpLocks noGrp="1" noRot="1" noMove="1" noResize="1" noEditPoints="1" noAdjustHandles="1" noChangeArrowheads="1" noChangeShapeType="1"/>
          </p:cNvCxnSpPr>
          <p:nvPr userDrawn="1"/>
        </p:nvCxnSpPr>
        <p:spPr>
          <a:xfrm>
            <a:off x="4237038" y="6395755"/>
            <a:ext cx="7662863" cy="0"/>
          </a:xfrm>
          <a:prstGeom prst="line">
            <a:avLst/>
          </a:prstGeom>
          <a:ln w="12700">
            <a:solidFill>
              <a:srgbClr val="555555"/>
            </a:solidFill>
          </a:ln>
        </p:spPr>
        <p:style>
          <a:lnRef idx="1">
            <a:schemeClr val="accent1"/>
          </a:lnRef>
          <a:fillRef idx="0">
            <a:schemeClr val="accent1"/>
          </a:fillRef>
          <a:effectRef idx="0">
            <a:schemeClr val="accent1"/>
          </a:effectRef>
          <a:fontRef idx="minor">
            <a:schemeClr val="tx1"/>
          </a:fontRef>
        </p:style>
      </p:cxnSp>
      <p:sp>
        <p:nvSpPr>
          <p:cNvPr id="26" name="Footer Placeholder">
            <a:extLst>
              <a:ext uri="{FF2B5EF4-FFF2-40B4-BE49-F238E27FC236}">
                <a16:creationId xmlns:a16="http://schemas.microsoft.com/office/drawing/2014/main" id="{E183FCE9-1380-C908-3210-D1CC81C316CD}"/>
              </a:ext>
            </a:extLst>
          </p:cNvPr>
          <p:cNvSpPr>
            <a:spLocks noGrp="1" noRot="1" noMove="1" noResize="1" noEditPoints="1" noAdjustHandles="1" noChangeArrowheads="1" noChangeShapeType="1"/>
          </p:cNvSpPr>
          <p:nvPr>
            <p:ph type="ftr" sz="quarter" idx="11"/>
          </p:nvPr>
        </p:nvSpPr>
        <p:spPr>
          <a:xfrm>
            <a:off x="4237038" y="6485399"/>
            <a:ext cx="3056524" cy="282957"/>
          </a:xfrm>
        </p:spPr>
        <p:txBody>
          <a:bodyPr/>
          <a:lstStyle/>
          <a:p>
            <a:endParaRPr lang="en-GB"/>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1219200"/>
            <a:ext cx="3409043" cy="2401887"/>
          </a:xfrm>
        </p:spPr>
        <p:txBody>
          <a:bodyPr anchor="b">
            <a:noAutofit/>
          </a:bodyPr>
          <a:lstStyle>
            <a:lvl1pPr>
              <a:defRPr sz="4400">
                <a:solidFill>
                  <a:schemeClr val="bg1"/>
                </a:solidFill>
              </a:defRPr>
            </a:lvl1pPr>
          </a:lstStyle>
          <a:p>
            <a:r>
              <a:rPr lang="en-US"/>
              <a:t>Section header</a:t>
            </a:r>
            <a:endParaRPr lang="en-GB"/>
          </a:p>
        </p:txBody>
      </p:sp>
      <p:pic>
        <p:nvPicPr>
          <p:cNvPr id="8" name="NIQ GFK Lockup" hidden="1">
            <a:extLst>
              <a:ext uri="{FF2B5EF4-FFF2-40B4-BE49-F238E27FC236}">
                <a16:creationId xmlns:a16="http://schemas.microsoft.com/office/drawing/2014/main" id="{23E903F1-B6FB-BED6-3501-293C1130DA4F}"/>
              </a:ext>
            </a:extLst>
          </p:cNvPr>
          <p:cNvPicPr>
            <a:picLocks noGrp="1" noRo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5" name="NielsenIQ logo+wordmark" descr="A blue text on a black background&#10;&#10;Description automatically generated" hidden="1">
            <a:extLst>
              <a:ext uri="{FF2B5EF4-FFF2-40B4-BE49-F238E27FC236}">
                <a16:creationId xmlns:a16="http://schemas.microsoft.com/office/drawing/2014/main" id="{E5214B10-6ABB-0EB3-4E33-9E9E477DD15A}"/>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tretch>
            <a:fillRect/>
          </a:stretch>
        </p:blipFill>
        <p:spPr>
          <a:xfrm>
            <a:off x="290130" y="6495154"/>
            <a:ext cx="781433" cy="269593"/>
          </a:xfrm>
          <a:prstGeom prst="rect">
            <a:avLst/>
          </a:prstGeom>
        </p:spPr>
      </p:pic>
      <p:pic>
        <p:nvPicPr>
          <p:cNvPr id="6" name="NIQ Logo">
            <a:extLst>
              <a:ext uri="{FF2B5EF4-FFF2-40B4-BE49-F238E27FC236}">
                <a16:creationId xmlns:a16="http://schemas.microsoft.com/office/drawing/2014/main" id="{A9B1FD76-BF8D-8EEE-6EC7-E0AC284E58CD}"/>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
        <p:nvSpPr>
          <p:cNvPr id="9" name="Slide Number Placeholder 5">
            <a:extLst>
              <a:ext uri="{FF2B5EF4-FFF2-40B4-BE49-F238E27FC236}">
                <a16:creationId xmlns:a16="http://schemas.microsoft.com/office/drawing/2014/main" id="{E1DBFC51-87EF-31DD-C029-0F71E6135F49}"/>
              </a:ext>
            </a:extLst>
          </p:cNvPr>
          <p:cNvSpPr txBox="1">
            <a:spLocks/>
          </p:cNvSpPr>
          <p:nvPr userDrawn="1"/>
        </p:nvSpPr>
        <p:spPr>
          <a:xfrm>
            <a:off x="10985325" y="6444314"/>
            <a:ext cx="90187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03EF4E2-7A7A-0548-85F1-5479B7C9E1B2}" type="slidenum">
              <a:rPr lang="en-US" sz="1200" smtClean="0">
                <a:solidFill>
                  <a:schemeClr val="tx1">
                    <a:lumMod val="50000"/>
                    <a:lumOff val="50000"/>
                  </a:schemeClr>
                </a:solidFill>
              </a:rPr>
              <a:pPr algn="r"/>
              <a:t>‹#›</a:t>
            </a:fld>
            <a:endParaRPr lang="en-US" sz="1200">
              <a:solidFill>
                <a:schemeClr val="tx1">
                  <a:lumMod val="50000"/>
                  <a:lumOff val="50000"/>
                </a:schemeClr>
              </a:solidFill>
            </a:endParaRPr>
          </a:p>
        </p:txBody>
      </p:sp>
      <p:sp>
        <p:nvSpPr>
          <p:cNvPr id="12" name="Copyright Line">
            <a:extLst>
              <a:ext uri="{FF2B5EF4-FFF2-40B4-BE49-F238E27FC236}">
                <a16:creationId xmlns:a16="http://schemas.microsoft.com/office/drawing/2014/main" id="{E3E53B1F-0A56-161A-EF11-A1FA88FF736A}"/>
              </a:ext>
            </a:extLst>
          </p:cNvPr>
          <p:cNvSpPr txBox="1"/>
          <p:nvPr userDrawn="1"/>
        </p:nvSpPr>
        <p:spPr>
          <a:xfrm>
            <a:off x="9167809" y="6526850"/>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a:t>
            </a:r>
            <a:fld id="{92E70860-886D-4303-B2B5-BD1295E1FD39}" type="datetimeyyyy">
              <a:rPr lang="en-US" sz="700" smtClean="0">
                <a:solidFill>
                  <a:schemeClr val="tx1">
                    <a:lumMod val="40000"/>
                    <a:lumOff val="60000"/>
                  </a:schemeClr>
                </a:solidFill>
              </a:rPr>
              <a:t>2024</a:t>
            </a:fld>
            <a:r>
              <a:rPr lang="en-US" sz="700">
                <a:solidFill>
                  <a:schemeClr val="tx1">
                    <a:lumMod val="40000"/>
                    <a:lumOff val="60000"/>
                  </a:schemeClr>
                </a:solidFill>
              </a:rPr>
              <a:t> Nielsen Consumer LLC. All Rights Reserved.</a:t>
            </a:r>
          </a:p>
        </p:txBody>
      </p:sp>
      <p:sp>
        <p:nvSpPr>
          <p:cNvPr id="15" name="Confidential disclaimer">
            <a:extLst>
              <a:ext uri="{FF2B5EF4-FFF2-40B4-BE49-F238E27FC236}">
                <a16:creationId xmlns:a16="http://schemas.microsoft.com/office/drawing/2014/main" id="{36C510C4-0769-1350-A7DD-40373FD1B378}"/>
              </a:ext>
            </a:extLst>
          </p:cNvPr>
          <p:cNvSpPr txBox="1"/>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Tree>
    <p:extLst>
      <p:ext uri="{BB962C8B-B14F-4D97-AF65-F5344CB8AC3E}">
        <p14:creationId xmlns:p14="http://schemas.microsoft.com/office/powerpoint/2010/main" val="208310802"/>
      </p:ext>
    </p:extLst>
  </p:cSld>
  <p:clrMapOvr>
    <a:overrideClrMapping bg1="lt1" tx1="dk1" bg2="lt2" tx2="dk2" accent1="accent1" accent2="accent2" accent3="accent3" accent4="accent4" accent5="accent5" accent6="accent6" hlink="hlink" folHlink="folHlink"/>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9" name="Slide Number Placeholder">
            <a:extLst>
              <a:ext uri="{FF2B5EF4-FFF2-40B4-BE49-F238E27FC236}">
                <a16:creationId xmlns:a16="http://schemas.microsoft.com/office/drawing/2014/main" id="{48587361-5CC7-9C7F-BD1C-0A8CE32B90E3}"/>
              </a:ext>
            </a:extLst>
          </p:cNvPr>
          <p:cNvSpPr>
            <a:spLocks noGrp="1" noRot="1" noMove="1" noResize="1" noEditPoints="1" noAdjustHandles="1" noChangeArrowheads="1" noChangeShapeType="1"/>
          </p:cNvSpPr>
          <p:nvPr>
            <p:ph type="sldNum" sz="quarter" idx="12"/>
          </p:nvPr>
        </p:nvSpPr>
        <p:spPr/>
        <p:txBody>
          <a:bodyPr/>
          <a:lstStyle/>
          <a:p>
            <a:fld id="{3E04DF46-C0DC-4ADC-9A6F-918CC4703A43}" type="slidenum">
              <a:rPr lang="en-GB" smtClean="0"/>
              <a:t>‹#›</a:t>
            </a:fld>
            <a:endParaRPr lang="en-GB"/>
          </a:p>
        </p:txBody>
      </p:sp>
      <p:sp>
        <p:nvSpPr>
          <p:cNvPr id="8" name="Footer Placeholder">
            <a:extLst>
              <a:ext uri="{FF2B5EF4-FFF2-40B4-BE49-F238E27FC236}">
                <a16:creationId xmlns:a16="http://schemas.microsoft.com/office/drawing/2014/main" id="{889C55DD-275C-EFE2-8883-9CF82493650B}"/>
              </a:ext>
            </a:extLst>
          </p:cNvPr>
          <p:cNvSpPr>
            <a:spLocks noGrp="1" noRot="1" noMove="1" noResize="1" noEditPoints="1" noAdjustHandles="1" noChangeArrowheads="1" noChangeShapeType="1"/>
          </p:cNvSpPr>
          <p:nvPr>
            <p:ph type="ftr" sz="quarter" idx="11"/>
          </p:nvPr>
        </p:nvSpPr>
        <p:spPr/>
        <p:txBody>
          <a:bodyPr/>
          <a:lstStyle/>
          <a:p>
            <a:endParaRPr lang="en-GB"/>
          </a:p>
        </p:txBody>
      </p:sp>
      <p:sp>
        <p:nvSpPr>
          <p:cNvPr id="7" name="Date Placeholder">
            <a:extLst>
              <a:ext uri="{FF2B5EF4-FFF2-40B4-BE49-F238E27FC236}">
                <a16:creationId xmlns:a16="http://schemas.microsoft.com/office/drawing/2014/main" id="{66F49418-AA9F-5CA7-31F1-168499F3D808}"/>
              </a:ext>
            </a:extLst>
          </p:cNvPr>
          <p:cNvSpPr>
            <a:spLocks noGrp="1" noRot="1" noMove="1" noResize="1" noEditPoints="1" noAdjustHandles="1" noChangeArrowheads="1" noChangeShapeType="1"/>
          </p:cNvSpPr>
          <p:nvPr>
            <p:ph type="dt" sz="half" idx="10"/>
          </p:nvPr>
        </p:nvSpPr>
        <p:spPr/>
        <p:txBody>
          <a:bodyPr/>
          <a:lstStyle/>
          <a:p>
            <a:fld id="{A95ACABD-257F-48AB-94D3-B913B9097175}" type="datetime1">
              <a:rPr lang="en-GB" smtClean="0"/>
              <a:t>18/11/2024</a:t>
            </a:fld>
            <a:endParaRPr lang="en-GB"/>
          </a:p>
        </p:txBody>
      </p:sp>
      <p:sp>
        <p:nvSpPr>
          <p:cNvPr id="12" name="Source Placeholder">
            <a:extLst>
              <a:ext uri="{FF2B5EF4-FFF2-40B4-BE49-F238E27FC236}">
                <a16:creationId xmlns:a16="http://schemas.microsoft.com/office/drawing/2014/main" id="{E0FBE8A5-CBE4-7896-370D-0C351238E6E5}"/>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6" name="Content 2 Placeholder">
            <a:extLst>
              <a:ext uri="{FF2B5EF4-FFF2-40B4-BE49-F238E27FC236}">
                <a16:creationId xmlns:a16="http://schemas.microsoft.com/office/drawing/2014/main" id="{F2EB2B90-CA72-0453-8C46-7140538197AB}"/>
              </a:ext>
            </a:extLst>
          </p:cNvPr>
          <p:cNvSpPr>
            <a:spLocks noGrp="1" noRot="1" noMove="1" noResize="1" noEditPoints="1" noAdjustHandles="1" noChangeArrowheads="1" noChangeShapeType="1"/>
          </p:cNvSpPr>
          <p:nvPr>
            <p:ph sz="quarter" idx="4" hasCustomPrompt="1"/>
          </p:nvPr>
        </p:nvSpPr>
        <p:spPr>
          <a:xfrm>
            <a:off x="6210300" y="2019300"/>
            <a:ext cx="5673720" cy="3657600"/>
          </a:xfrm>
        </p:spPr>
        <p:txBody>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5" name="Header 2 Placeholder">
            <a:extLst>
              <a:ext uri="{FF2B5EF4-FFF2-40B4-BE49-F238E27FC236}">
                <a16:creationId xmlns:a16="http://schemas.microsoft.com/office/drawing/2014/main" id="{ADF8391B-E110-2D12-ED6A-D8681E868756}"/>
              </a:ext>
            </a:extLst>
          </p:cNvPr>
          <p:cNvSpPr>
            <a:spLocks noGrp="1" noRot="1" noMove="1" noResize="1" noEditPoints="1" noAdjustHandles="1" noChangeArrowheads="1" noChangeShapeType="1"/>
          </p:cNvSpPr>
          <p:nvPr>
            <p:ph type="body" sz="quarter" idx="3" hasCustomPrompt="1"/>
          </p:nvPr>
        </p:nvSpPr>
        <p:spPr>
          <a:xfrm>
            <a:off x="6210300" y="1308100"/>
            <a:ext cx="5689598"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4" name="Content 1 Placeholder">
            <a:extLst>
              <a:ext uri="{FF2B5EF4-FFF2-40B4-BE49-F238E27FC236}">
                <a16:creationId xmlns:a16="http://schemas.microsoft.com/office/drawing/2014/main" id="{984C70C1-C2F6-EFE6-3AEB-EEEE97D8D829}"/>
              </a:ext>
            </a:extLst>
          </p:cNvPr>
          <p:cNvSpPr>
            <a:spLocks noGrp="1" noRot="1" noMove="1" noResize="1" noEditPoints="1" noAdjustHandles="1" noChangeArrowheads="1" noChangeShapeType="1"/>
          </p:cNvSpPr>
          <p:nvPr>
            <p:ph sz="half" idx="2" hasCustomPrompt="1"/>
          </p:nvPr>
        </p:nvSpPr>
        <p:spPr>
          <a:xfrm>
            <a:off x="292101" y="2019300"/>
            <a:ext cx="5673721" cy="3657600"/>
          </a:xfrm>
        </p:spPr>
        <p:txBody>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3" name="Header 1 Placeholder">
            <a:extLst>
              <a:ext uri="{FF2B5EF4-FFF2-40B4-BE49-F238E27FC236}">
                <a16:creationId xmlns:a16="http://schemas.microsoft.com/office/drawing/2014/main" id="{E16F9965-5453-60FF-D1EB-3A608CF7F7BF}"/>
              </a:ext>
            </a:extLst>
          </p:cNvPr>
          <p:cNvSpPr>
            <a:spLocks noGrp="1" noRot="1" noMove="1" noResize="1" noEditPoints="1" noAdjustHandles="1" noChangeArrowheads="1" noChangeShapeType="1"/>
          </p:cNvSpPr>
          <p:nvPr>
            <p:ph type="body" idx="1" hasCustomPrompt="1"/>
          </p:nvPr>
        </p:nvSpPr>
        <p:spPr>
          <a:xfrm>
            <a:off x="292101" y="1308100"/>
            <a:ext cx="5689598"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14" name="Subtitle Placeholder">
            <a:extLst>
              <a:ext uri="{FF2B5EF4-FFF2-40B4-BE49-F238E27FC236}">
                <a16:creationId xmlns:a16="http://schemas.microsoft.com/office/drawing/2014/main" id="{3C3EBBEC-21F2-1AF3-1FA2-6C8052756C77}"/>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13" name="Title Placeholder">
            <a:extLst>
              <a:ext uri="{FF2B5EF4-FFF2-40B4-BE49-F238E27FC236}">
                <a16:creationId xmlns:a16="http://schemas.microsoft.com/office/drawing/2014/main" id="{31A8EC3A-084E-1F49-0F96-E9263F03E1FF}"/>
              </a:ext>
            </a:extLst>
          </p:cNvPr>
          <p:cNvSpPr>
            <a:spLocks noGrp="1" noRot="1" noMove="1" noResize="1" noEditPoints="1" noAdjustHandles="1" noChangeArrowheads="1" noChangeShapeType="1"/>
          </p:cNvSpPr>
          <p:nvPr>
            <p:ph type="title" hasCustomPrompt="1"/>
          </p:nvPr>
        </p:nvSpPr>
        <p:spPr/>
        <p:txBody>
          <a:bodyPr/>
          <a:lstStyle/>
          <a:p>
            <a:r>
              <a:rPr lang="en-US"/>
              <a:t>Insert your slide title in Arial Bold 20pt</a:t>
            </a:r>
            <a:endParaRPr lang="en-GB"/>
          </a:p>
        </p:txBody>
      </p:sp>
    </p:spTree>
    <p:extLst>
      <p:ext uri="{BB962C8B-B14F-4D97-AF65-F5344CB8AC3E}">
        <p14:creationId xmlns:p14="http://schemas.microsoft.com/office/powerpoint/2010/main" val="2742223712"/>
      </p:ext>
    </p:extLst>
  </p:cSld>
  <p:clrMapOvr>
    <a:masterClrMapping/>
  </p:clrMapOvr>
  <p:extLst>
    <p:ext uri="{DCECCB84-F9BA-43D5-87BE-67443E8EF086}">
      <p15:sldGuideLst xmlns:p15="http://schemas.microsoft.com/office/powerpoint/2012/main">
        <p15:guide id="4" pos="3768">
          <p15:clr>
            <a:srgbClr val="A4A3A4"/>
          </p15:clr>
        </p15:guide>
        <p15:guide id="5" pos="3912">
          <p15:clr>
            <a:srgbClr val="A4A3A4"/>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Slide Number Placeholder">
            <a:extLst>
              <a:ext uri="{FF2B5EF4-FFF2-40B4-BE49-F238E27FC236}">
                <a16:creationId xmlns:a16="http://schemas.microsoft.com/office/drawing/2014/main" id="{E94EA2D6-F376-E5FB-864F-2472964B1215}"/>
              </a:ext>
            </a:extLst>
          </p:cNvPr>
          <p:cNvSpPr>
            <a:spLocks noGrp="1" noRot="1" noMove="1" noResize="1" noEditPoints="1" noAdjustHandles="1" noChangeArrowheads="1" noChangeShapeType="1"/>
          </p:cNvSpPr>
          <p:nvPr>
            <p:ph type="sldNum" sz="quarter" idx="12"/>
          </p:nvPr>
        </p:nvSpPr>
        <p:spPr/>
        <p:txBody>
          <a:bodyPr/>
          <a:lstStyle/>
          <a:p>
            <a:fld id="{3E04DF46-C0DC-4ADC-9A6F-918CC4703A43}" type="slidenum">
              <a:rPr lang="en-GB" smtClean="0"/>
              <a:t>‹#›</a:t>
            </a:fld>
            <a:endParaRPr lang="en-GB"/>
          </a:p>
        </p:txBody>
      </p:sp>
      <p:sp>
        <p:nvSpPr>
          <p:cNvPr id="6" name="Footer Placeholder">
            <a:extLst>
              <a:ext uri="{FF2B5EF4-FFF2-40B4-BE49-F238E27FC236}">
                <a16:creationId xmlns:a16="http://schemas.microsoft.com/office/drawing/2014/main" id="{4898322A-6CDF-75C0-CCAE-9F91633E2F52}"/>
              </a:ext>
            </a:extLst>
          </p:cNvPr>
          <p:cNvSpPr>
            <a:spLocks noGrp="1" noRot="1" noMove="1" noResize="1" noEditPoints="1" noAdjustHandles="1" noChangeArrowheads="1" noChangeShapeType="1"/>
          </p:cNvSpPr>
          <p:nvPr>
            <p:ph type="ftr" sz="quarter" idx="11"/>
          </p:nvPr>
        </p:nvSpPr>
        <p:spPr/>
        <p:txBody>
          <a:bodyPr/>
          <a:lstStyle/>
          <a:p>
            <a:endParaRPr lang="en-GB"/>
          </a:p>
        </p:txBody>
      </p:sp>
      <p:sp>
        <p:nvSpPr>
          <p:cNvPr id="5" name="Date Placeholder">
            <a:extLst>
              <a:ext uri="{FF2B5EF4-FFF2-40B4-BE49-F238E27FC236}">
                <a16:creationId xmlns:a16="http://schemas.microsoft.com/office/drawing/2014/main" id="{339D1539-DC5B-675F-DCC6-5BBCE25FC740}"/>
              </a:ext>
            </a:extLst>
          </p:cNvPr>
          <p:cNvSpPr>
            <a:spLocks noGrp="1" noRot="1" noMove="1" noResize="1" noEditPoints="1" noAdjustHandles="1" noChangeArrowheads="1" noChangeShapeType="1"/>
          </p:cNvSpPr>
          <p:nvPr>
            <p:ph type="dt" sz="half" idx="10"/>
          </p:nvPr>
        </p:nvSpPr>
        <p:spPr/>
        <p:txBody>
          <a:bodyPr/>
          <a:lstStyle/>
          <a:p>
            <a:fld id="{B789455A-F4F5-4ADB-BA98-24336C9EA3E7}" type="datetime1">
              <a:rPr lang="en-GB" smtClean="0"/>
              <a:t>18/11/2024</a:t>
            </a:fld>
            <a:endParaRPr lang="en-GB"/>
          </a:p>
        </p:txBody>
      </p:sp>
      <p:sp>
        <p:nvSpPr>
          <p:cNvPr id="9" name="Source Placeholder">
            <a:extLst>
              <a:ext uri="{FF2B5EF4-FFF2-40B4-BE49-F238E27FC236}">
                <a16:creationId xmlns:a16="http://schemas.microsoft.com/office/drawing/2014/main" id="{2EA71DC4-3628-4313-321C-9A95F89CAB2F}"/>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4" name="Content 2 Placeholder">
            <a:extLst>
              <a:ext uri="{FF2B5EF4-FFF2-40B4-BE49-F238E27FC236}">
                <a16:creationId xmlns:a16="http://schemas.microsoft.com/office/drawing/2014/main" id="{5D43A841-AD92-4556-21E4-9939D57FC0A6}"/>
              </a:ext>
            </a:extLst>
          </p:cNvPr>
          <p:cNvSpPr>
            <a:spLocks noGrp="1" noRot="1" noMove="1" noResize="1" noEditPoints="1" noAdjustHandles="1" noChangeArrowheads="1" noChangeShapeType="1"/>
          </p:cNvSpPr>
          <p:nvPr>
            <p:ph sz="half" idx="2" hasCustomPrompt="1"/>
          </p:nvPr>
        </p:nvSpPr>
        <p:spPr>
          <a:xfrm>
            <a:off x="6211892" y="1638301"/>
            <a:ext cx="5688008" cy="4038600"/>
          </a:xfrm>
        </p:spPr>
        <p:txBody>
          <a:bodyPr/>
          <a:lstStyle>
            <a:lvl1pPr>
              <a:defRPr/>
            </a:lvl1pPr>
          </a:lstStyle>
          <a:p>
            <a:pPr lvl="0"/>
            <a:r>
              <a:rPr lang="en-US"/>
              <a:t>Insert content here</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1 Placeholder">
            <a:extLst>
              <a:ext uri="{FF2B5EF4-FFF2-40B4-BE49-F238E27FC236}">
                <a16:creationId xmlns:a16="http://schemas.microsoft.com/office/drawing/2014/main" id="{BBF77ABD-CA9D-F0FB-47F7-ABF58A85B72B}"/>
              </a:ext>
            </a:extLst>
          </p:cNvPr>
          <p:cNvSpPr>
            <a:spLocks noGrp="1" noRot="1" noMove="1" noResize="1" noEditPoints="1" noAdjustHandles="1" noChangeArrowheads="1" noChangeShapeType="1"/>
          </p:cNvSpPr>
          <p:nvPr>
            <p:ph sz="half" idx="1" hasCustomPrompt="1"/>
          </p:nvPr>
        </p:nvSpPr>
        <p:spPr>
          <a:xfrm>
            <a:off x="292100" y="1638301"/>
            <a:ext cx="5688010" cy="4038600"/>
          </a:xfrm>
        </p:spPr>
        <p:txBody>
          <a:bodyPr/>
          <a:lstStyle>
            <a:lvl1pPr>
              <a:defRPr/>
            </a:lvl1pPr>
          </a:lstStyle>
          <a:p>
            <a:pPr lvl="0"/>
            <a:r>
              <a:rPr lang="en-US"/>
              <a:t>Insert content here</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ubtitle Placeholder">
            <a:extLst>
              <a:ext uri="{FF2B5EF4-FFF2-40B4-BE49-F238E27FC236}">
                <a16:creationId xmlns:a16="http://schemas.microsoft.com/office/drawing/2014/main" id="{4DF2806F-470A-D63D-6287-2D96392FDBED}"/>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2" name="Title Placeholder">
            <a:extLst>
              <a:ext uri="{FF2B5EF4-FFF2-40B4-BE49-F238E27FC236}">
                <a16:creationId xmlns:a16="http://schemas.microsoft.com/office/drawing/2014/main" id="{330527F2-4E92-075E-0582-2535F1B4C690}"/>
              </a:ext>
            </a:extLst>
          </p:cNvPr>
          <p:cNvSpPr>
            <a:spLocks noGrp="1" noRot="1" noMove="1" noResize="1" noEditPoints="1" noAdjustHandles="1" noChangeArrowheads="1" noChangeShapeType="1"/>
          </p:cNvSpPr>
          <p:nvPr>
            <p:ph type="title" hasCustomPrompt="1"/>
          </p:nvPr>
        </p:nvSpPr>
        <p:spPr/>
        <p:txBody>
          <a:bodyPr/>
          <a:lstStyle/>
          <a:p>
            <a:r>
              <a:rPr lang="en-US"/>
              <a:t>Insert your slide title in Arial Bold 20pt</a:t>
            </a:r>
            <a:endParaRPr lang="en-GB"/>
          </a:p>
        </p:txBody>
      </p:sp>
    </p:spTree>
    <p:extLst>
      <p:ext uri="{BB962C8B-B14F-4D97-AF65-F5344CB8AC3E}">
        <p14:creationId xmlns:p14="http://schemas.microsoft.com/office/powerpoint/2010/main" val="4146845628"/>
      </p:ext>
    </p:extLst>
  </p:cSld>
  <p:clrMapOvr>
    <a:masterClrMapping/>
  </p:clrMapOvr>
  <p:extLst>
    <p:ext uri="{DCECCB84-F9BA-43D5-87BE-67443E8EF086}">
      <p15:sldGuideLst xmlns:p15="http://schemas.microsoft.com/office/powerpoint/2012/main">
        <p15:guide id="2" pos="7680">
          <p15:clr>
            <a:srgbClr val="FBAE40"/>
          </p15:clr>
        </p15:guide>
        <p15:guide id="4" pos="3768">
          <p15:clr>
            <a:srgbClr val="A4A3A4"/>
          </p15:clr>
        </p15:guide>
        <p15:guide id="5" pos="3912">
          <p15:clr>
            <a:srgbClr val="A4A3A4"/>
          </p15:clr>
        </p15:guide>
        <p15:guide id="6" pos="7495">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7" name="Slide Number Placeholder">
            <a:extLst>
              <a:ext uri="{FF2B5EF4-FFF2-40B4-BE49-F238E27FC236}">
                <a16:creationId xmlns:a16="http://schemas.microsoft.com/office/drawing/2014/main" id="{E94EA2D6-F376-E5FB-864F-2472964B1215}"/>
              </a:ext>
            </a:extLst>
          </p:cNvPr>
          <p:cNvSpPr>
            <a:spLocks noGrp="1" noRot="1" noMove="1" noResize="1" noEditPoints="1" noAdjustHandles="1" noChangeArrowheads="1" noChangeShapeType="1"/>
          </p:cNvSpPr>
          <p:nvPr>
            <p:ph type="sldNum" sz="quarter" idx="12"/>
          </p:nvPr>
        </p:nvSpPr>
        <p:spPr/>
        <p:txBody>
          <a:bodyPr/>
          <a:lstStyle/>
          <a:p>
            <a:fld id="{3E04DF46-C0DC-4ADC-9A6F-918CC4703A43}" type="slidenum">
              <a:rPr lang="en-GB" smtClean="0"/>
              <a:t>‹#›</a:t>
            </a:fld>
            <a:endParaRPr lang="en-GB"/>
          </a:p>
        </p:txBody>
      </p:sp>
      <p:sp>
        <p:nvSpPr>
          <p:cNvPr id="6" name="Footer Placeholder">
            <a:extLst>
              <a:ext uri="{FF2B5EF4-FFF2-40B4-BE49-F238E27FC236}">
                <a16:creationId xmlns:a16="http://schemas.microsoft.com/office/drawing/2014/main" id="{4898322A-6CDF-75C0-CCAE-9F91633E2F52}"/>
              </a:ext>
            </a:extLst>
          </p:cNvPr>
          <p:cNvSpPr>
            <a:spLocks noGrp="1" noRot="1" noMove="1" noResize="1" noEditPoints="1" noAdjustHandles="1" noChangeArrowheads="1" noChangeShapeType="1"/>
          </p:cNvSpPr>
          <p:nvPr>
            <p:ph type="ftr" sz="quarter" idx="11"/>
          </p:nvPr>
        </p:nvSpPr>
        <p:spPr/>
        <p:txBody>
          <a:bodyPr/>
          <a:lstStyle/>
          <a:p>
            <a:endParaRPr lang="en-GB"/>
          </a:p>
        </p:txBody>
      </p:sp>
      <p:sp>
        <p:nvSpPr>
          <p:cNvPr id="5" name="Date Placeholder">
            <a:extLst>
              <a:ext uri="{FF2B5EF4-FFF2-40B4-BE49-F238E27FC236}">
                <a16:creationId xmlns:a16="http://schemas.microsoft.com/office/drawing/2014/main" id="{339D1539-DC5B-675F-DCC6-5BBCE25FC740}"/>
              </a:ext>
            </a:extLst>
          </p:cNvPr>
          <p:cNvSpPr>
            <a:spLocks noGrp="1" noRot="1" noMove="1" noResize="1" noEditPoints="1" noAdjustHandles="1" noChangeArrowheads="1" noChangeShapeType="1"/>
          </p:cNvSpPr>
          <p:nvPr>
            <p:ph type="dt" sz="half" idx="10"/>
          </p:nvPr>
        </p:nvSpPr>
        <p:spPr/>
        <p:txBody>
          <a:bodyPr/>
          <a:lstStyle/>
          <a:p>
            <a:fld id="{B789455A-F4F5-4ADB-BA98-24336C9EA3E7}" type="datetime1">
              <a:rPr lang="en-GB" smtClean="0"/>
              <a:t>18/11/2024</a:t>
            </a:fld>
            <a:endParaRPr lang="en-GB"/>
          </a:p>
        </p:txBody>
      </p:sp>
      <p:sp>
        <p:nvSpPr>
          <p:cNvPr id="9" name="Source Placeholder">
            <a:extLst>
              <a:ext uri="{FF2B5EF4-FFF2-40B4-BE49-F238E27FC236}">
                <a16:creationId xmlns:a16="http://schemas.microsoft.com/office/drawing/2014/main" id="{2EA71DC4-3628-4313-321C-9A95F89CAB2F}"/>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4" name="Content 2 Placeholder">
            <a:extLst>
              <a:ext uri="{FF2B5EF4-FFF2-40B4-BE49-F238E27FC236}">
                <a16:creationId xmlns:a16="http://schemas.microsoft.com/office/drawing/2014/main" id="{5D43A841-AD92-4556-21E4-9939D57FC0A6}"/>
              </a:ext>
            </a:extLst>
          </p:cNvPr>
          <p:cNvSpPr>
            <a:spLocks noGrp="1" noRot="1" noMove="1" noResize="1" noEditPoints="1" noAdjustHandles="1" noChangeArrowheads="1" noChangeShapeType="1"/>
          </p:cNvSpPr>
          <p:nvPr>
            <p:ph sz="half" idx="2" hasCustomPrompt="1"/>
          </p:nvPr>
        </p:nvSpPr>
        <p:spPr>
          <a:xfrm>
            <a:off x="6211892" y="3771899"/>
            <a:ext cx="5688008" cy="1905001"/>
          </a:xfrm>
        </p:spPr>
        <p:txBody>
          <a:bodyPr/>
          <a:lstStyle>
            <a:lvl1pPr>
              <a:defRPr/>
            </a:lvl1pPr>
          </a:lstStyle>
          <a:p>
            <a:pPr lvl="0"/>
            <a:r>
              <a:rPr lang="en-US"/>
              <a:t>Insert content here</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Image/Content 2 Placeholder">
            <a:extLst>
              <a:ext uri="{FF2B5EF4-FFF2-40B4-BE49-F238E27FC236}">
                <a16:creationId xmlns:a16="http://schemas.microsoft.com/office/drawing/2014/main" id="{F551C892-6720-FE2B-D337-A46B9C4D713A}"/>
              </a:ext>
            </a:extLst>
          </p:cNvPr>
          <p:cNvSpPr>
            <a:spLocks noGrp="1" noRot="1" noMove="1" noResize="1" noEditPoints="1" noAdjustHandles="1" noChangeArrowheads="1" noChangeShapeType="1"/>
          </p:cNvSpPr>
          <p:nvPr>
            <p:ph sz="half" idx="16" hasCustomPrompt="1"/>
          </p:nvPr>
        </p:nvSpPr>
        <p:spPr>
          <a:xfrm>
            <a:off x="6211892" y="1638300"/>
            <a:ext cx="5688009" cy="1905000"/>
          </a:xfrm>
          <a:solidFill>
            <a:srgbClr val="F0F0F0"/>
          </a:solidFill>
        </p:spPr>
        <p:txBody>
          <a:bodyPr anchor="ctr">
            <a:noAutofit/>
          </a:bodyPr>
          <a:lstStyle>
            <a:lvl1pPr marL="0" indent="0" algn="ctr">
              <a:buNone/>
              <a:defRPr/>
            </a:lvl1pPr>
          </a:lstStyle>
          <a:p>
            <a:pPr lvl="0"/>
            <a:r>
              <a:rPr lang="en-GB"/>
              <a:t>Insert content</a:t>
            </a:r>
          </a:p>
        </p:txBody>
      </p:sp>
      <p:sp>
        <p:nvSpPr>
          <p:cNvPr id="3" name="Content 1 Placeholder">
            <a:extLst>
              <a:ext uri="{FF2B5EF4-FFF2-40B4-BE49-F238E27FC236}">
                <a16:creationId xmlns:a16="http://schemas.microsoft.com/office/drawing/2014/main" id="{BBF77ABD-CA9D-F0FB-47F7-ABF58A85B72B}"/>
              </a:ext>
            </a:extLst>
          </p:cNvPr>
          <p:cNvSpPr>
            <a:spLocks noGrp="1" noRot="1" noMove="1" noResize="1" noEditPoints="1" noAdjustHandles="1" noChangeArrowheads="1" noChangeShapeType="1"/>
          </p:cNvSpPr>
          <p:nvPr>
            <p:ph sz="half" idx="1" hasCustomPrompt="1"/>
          </p:nvPr>
        </p:nvSpPr>
        <p:spPr>
          <a:xfrm>
            <a:off x="292100" y="3771899"/>
            <a:ext cx="5688010" cy="1905001"/>
          </a:xfrm>
        </p:spPr>
        <p:txBody>
          <a:bodyPr/>
          <a:lstStyle>
            <a:lvl1pPr>
              <a:defRPr/>
            </a:lvl1pPr>
          </a:lstStyle>
          <a:p>
            <a:pPr lvl="0"/>
            <a:r>
              <a:rPr lang="en-US"/>
              <a:t>Insert content here</a:t>
            </a:r>
          </a:p>
          <a:p>
            <a:pPr lvl="1"/>
            <a:r>
              <a:rPr lang="en-US"/>
              <a:t>Second level</a:t>
            </a:r>
          </a:p>
          <a:p>
            <a:pPr lvl="2"/>
            <a:r>
              <a:rPr lang="en-US"/>
              <a:t>Third level</a:t>
            </a:r>
          </a:p>
          <a:p>
            <a:pPr lvl="3"/>
            <a:r>
              <a:rPr lang="en-US"/>
              <a:t>Fourth level</a:t>
            </a:r>
          </a:p>
          <a:p>
            <a:pPr lvl="4"/>
            <a:r>
              <a:rPr lang="en-US"/>
              <a:t>Fifth level</a:t>
            </a:r>
            <a:endParaRPr lang="en-GB"/>
          </a:p>
        </p:txBody>
      </p:sp>
      <p:sp>
        <p:nvSpPr>
          <p:cNvPr id="8" name="Image/Content 1 Placeholder">
            <a:extLst>
              <a:ext uri="{FF2B5EF4-FFF2-40B4-BE49-F238E27FC236}">
                <a16:creationId xmlns:a16="http://schemas.microsoft.com/office/drawing/2014/main" id="{A3759FC6-112A-A989-2E57-F664AD59A35E}"/>
              </a:ext>
            </a:extLst>
          </p:cNvPr>
          <p:cNvSpPr>
            <a:spLocks noGrp="1" noRot="1" noMove="1" noResize="1" noEditPoints="1" noAdjustHandles="1" noChangeArrowheads="1" noChangeShapeType="1"/>
          </p:cNvSpPr>
          <p:nvPr>
            <p:ph sz="half" idx="15" hasCustomPrompt="1"/>
          </p:nvPr>
        </p:nvSpPr>
        <p:spPr>
          <a:xfrm>
            <a:off x="292100" y="1638300"/>
            <a:ext cx="5688009" cy="1905000"/>
          </a:xfrm>
          <a:solidFill>
            <a:srgbClr val="F0F0F0"/>
          </a:solidFill>
        </p:spPr>
        <p:txBody>
          <a:bodyPr anchor="ctr">
            <a:noAutofit/>
          </a:bodyPr>
          <a:lstStyle>
            <a:lvl1pPr marL="0" indent="0" algn="ctr">
              <a:buNone/>
              <a:defRPr/>
            </a:lvl1pPr>
          </a:lstStyle>
          <a:p>
            <a:pPr lvl="0"/>
            <a:r>
              <a:rPr lang="en-GB"/>
              <a:t>Insert content</a:t>
            </a:r>
          </a:p>
        </p:txBody>
      </p:sp>
      <p:sp>
        <p:nvSpPr>
          <p:cNvPr id="10" name="Subtitle Placeholder">
            <a:extLst>
              <a:ext uri="{FF2B5EF4-FFF2-40B4-BE49-F238E27FC236}">
                <a16:creationId xmlns:a16="http://schemas.microsoft.com/office/drawing/2014/main" id="{4DF2806F-470A-D63D-6287-2D96392FDBED}"/>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2" name="Title Placeholder">
            <a:extLst>
              <a:ext uri="{FF2B5EF4-FFF2-40B4-BE49-F238E27FC236}">
                <a16:creationId xmlns:a16="http://schemas.microsoft.com/office/drawing/2014/main" id="{330527F2-4E92-075E-0582-2535F1B4C690}"/>
              </a:ext>
            </a:extLst>
          </p:cNvPr>
          <p:cNvSpPr>
            <a:spLocks noGrp="1" noRot="1" noMove="1" noResize="1" noEditPoints="1" noAdjustHandles="1" noChangeArrowheads="1" noChangeShapeType="1"/>
          </p:cNvSpPr>
          <p:nvPr>
            <p:ph type="title" hasCustomPrompt="1"/>
          </p:nvPr>
        </p:nvSpPr>
        <p:spPr/>
        <p:txBody>
          <a:bodyPr/>
          <a:lstStyle/>
          <a:p>
            <a:r>
              <a:rPr lang="en-US"/>
              <a:t>Insert your slide title in Arial Bold 20pt</a:t>
            </a:r>
            <a:endParaRPr lang="en-GB"/>
          </a:p>
        </p:txBody>
      </p:sp>
    </p:spTree>
    <p:extLst>
      <p:ext uri="{BB962C8B-B14F-4D97-AF65-F5344CB8AC3E}">
        <p14:creationId xmlns:p14="http://schemas.microsoft.com/office/powerpoint/2010/main" val="959766429"/>
      </p:ext>
    </p:extLst>
  </p:cSld>
  <p:clrMapOvr>
    <a:masterClrMapping/>
  </p:clrMapOvr>
  <p:extLst>
    <p:ext uri="{DCECCB84-F9BA-43D5-87BE-67443E8EF086}">
      <p15:sldGuideLst xmlns:p15="http://schemas.microsoft.com/office/powerpoint/2012/main">
        <p15:guide id="2" pos="7680">
          <p15:clr>
            <a:srgbClr val="FBAE40"/>
          </p15:clr>
        </p15:guide>
        <p15:guide id="4" pos="3768">
          <p15:clr>
            <a:srgbClr val="A4A3A4"/>
          </p15:clr>
        </p15:guide>
        <p15:guide id="5" pos="3912">
          <p15:clr>
            <a:srgbClr val="A4A3A4"/>
          </p15:clr>
        </p15:guide>
        <p15:guide id="6" pos="7495">
          <p15:clr>
            <a:srgbClr val="FBAE40"/>
          </p15:clr>
        </p15:guide>
        <p15:guide id="7" orient="horz" pos="2232">
          <p15:clr>
            <a:srgbClr val="A4A3A4"/>
          </p15:clr>
        </p15:guide>
        <p15:guide id="8" orient="horz" pos="2376">
          <p15:clr>
            <a:srgbClr val="A4A3A4"/>
          </p15:clr>
        </p15:guide>
        <p15:guide id="9" orient="horz" pos="2304">
          <p15:clr>
            <a:srgbClr val="A4A3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ntent Half Gray">
    <p:spTree>
      <p:nvGrpSpPr>
        <p:cNvPr id="1" name=""/>
        <p:cNvGrpSpPr/>
        <p:nvPr/>
      </p:nvGrpSpPr>
      <p:grpSpPr>
        <a:xfrm>
          <a:off x="0" y="0"/>
          <a:ext cx="0" cy="0"/>
          <a:chOff x="0" y="0"/>
          <a:chExt cx="0" cy="0"/>
        </a:xfrm>
      </p:grpSpPr>
      <p:sp>
        <p:nvSpPr>
          <p:cNvPr id="14" name="Block Bkgd">
            <a:extLst>
              <a:ext uri="{FF2B5EF4-FFF2-40B4-BE49-F238E27FC236}">
                <a16:creationId xmlns:a16="http://schemas.microsoft.com/office/drawing/2014/main" id="{EF28BEE6-A3B9-F3EC-053D-F000E1C03344}"/>
              </a:ext>
            </a:extLst>
          </p:cNvPr>
          <p:cNvSpPr>
            <a:spLocks noGrp="1" noRot="1" noMove="1" noResize="1" noEditPoints="1" noAdjustHandles="1" noChangeArrowheads="1" noChangeShapeType="1"/>
          </p:cNvSpPr>
          <p:nvPr userDrawn="1"/>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a:extLst>
              <a:ext uri="{FF2B5EF4-FFF2-40B4-BE49-F238E27FC236}">
                <a16:creationId xmlns:a16="http://schemas.microsoft.com/office/drawing/2014/main" id="{E94EA2D6-F376-E5FB-864F-2472964B1215}"/>
              </a:ext>
            </a:extLst>
          </p:cNvPr>
          <p:cNvSpPr>
            <a:spLocks noGrp="1" noRot="1" noMove="1" noResize="1" noEditPoints="1" noAdjustHandles="1" noChangeArrowheads="1" noChangeShapeType="1"/>
          </p:cNvSpPr>
          <p:nvPr>
            <p:ph type="sldNum" sz="quarter" idx="12"/>
          </p:nvPr>
        </p:nvSpPr>
        <p:spPr/>
        <p:txBody>
          <a:bodyPr/>
          <a:lstStyle/>
          <a:p>
            <a:fld id="{3E04DF46-C0DC-4ADC-9A6F-918CC4703A43}" type="slidenum">
              <a:rPr lang="en-GB" smtClean="0"/>
              <a:t>‹#›</a:t>
            </a:fld>
            <a:endParaRPr lang="en-GB"/>
          </a:p>
        </p:txBody>
      </p:sp>
      <p:sp>
        <p:nvSpPr>
          <p:cNvPr id="16" name="Copyright Line">
            <a:extLst>
              <a:ext uri="{FF2B5EF4-FFF2-40B4-BE49-F238E27FC236}">
                <a16:creationId xmlns:a16="http://schemas.microsoft.com/office/drawing/2014/main" id="{9C89E4B4-9DF8-8FBA-0988-31F1C70E4154}"/>
              </a:ext>
            </a:extLst>
          </p:cNvPr>
          <p:cNvSpPr txBox="1">
            <a:spLocks noGrp="1" noRot="1" noMove="1" noResize="1" noEditPoints="1" noAdjustHandles="1" noChangeArrowheads="1" noChangeShapeType="1"/>
          </p:cNvSpPr>
          <p:nvPr userDrawn="1"/>
        </p:nvSpPr>
        <p:spPr>
          <a:xfrm>
            <a:off x="9167809" y="6536551"/>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rgbClr val="BBBBBB"/>
                </a:solidFill>
              </a:rPr>
              <a:t>© </a:t>
            </a:r>
            <a:fld id="{92E70860-886D-4303-B2B5-BD1295E1FD39}" type="datetimeyyyy">
              <a:rPr lang="en-US" sz="700" smtClean="0">
                <a:solidFill>
                  <a:srgbClr val="BBBBBB"/>
                </a:solidFill>
              </a:rPr>
              <a:t>2024</a:t>
            </a:fld>
            <a:r>
              <a:rPr lang="en-US" sz="700">
                <a:solidFill>
                  <a:srgbClr val="BBBBBB"/>
                </a:solidFill>
              </a:rPr>
              <a:t> Nielsen Consumer LLC. All Rights Reserved.</a:t>
            </a:r>
          </a:p>
        </p:txBody>
      </p:sp>
      <p:sp>
        <p:nvSpPr>
          <p:cNvPr id="12" name="Confidential disclaimer">
            <a:extLst>
              <a:ext uri="{FF2B5EF4-FFF2-40B4-BE49-F238E27FC236}">
                <a16:creationId xmlns:a16="http://schemas.microsoft.com/office/drawing/2014/main" id="{96AB6125-A385-529E-E151-BDF1D0C7EF79}"/>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15" name="Footer Placeholder">
            <a:extLst>
              <a:ext uri="{FF2B5EF4-FFF2-40B4-BE49-F238E27FC236}">
                <a16:creationId xmlns:a16="http://schemas.microsoft.com/office/drawing/2014/main" id="{E1297F61-9D45-2558-68F0-C18078DF959B}"/>
              </a:ext>
            </a:extLst>
          </p:cNvPr>
          <p:cNvSpPr>
            <a:spLocks noGrp="1" noRot="1" noMove="1" noResize="1" noEditPoints="1" noAdjustHandles="1" noChangeArrowheads="1" noChangeShapeType="1"/>
          </p:cNvSpPr>
          <p:nvPr>
            <p:ph type="ftr" sz="quarter" idx="16"/>
          </p:nvPr>
        </p:nvSpPr>
        <p:spPr>
          <a:xfrm>
            <a:off x="3251200" y="6495102"/>
            <a:ext cx="2551110" cy="282957"/>
          </a:xfrm>
        </p:spPr>
        <p:txBody>
          <a:bodyPr/>
          <a:lstStyle/>
          <a:p>
            <a:endParaRPr lang="en-GB"/>
          </a:p>
        </p:txBody>
      </p:sp>
      <p:sp>
        <p:nvSpPr>
          <p:cNvPr id="5" name="Date Placeholder">
            <a:extLst>
              <a:ext uri="{FF2B5EF4-FFF2-40B4-BE49-F238E27FC236}">
                <a16:creationId xmlns:a16="http://schemas.microsoft.com/office/drawing/2014/main" id="{339D1539-DC5B-675F-DCC6-5BBCE25FC740}"/>
              </a:ext>
            </a:extLst>
          </p:cNvPr>
          <p:cNvSpPr>
            <a:spLocks noGrp="1" noRot="1" noMove="1" noResize="1" noEditPoints="1" noAdjustHandles="1" noChangeArrowheads="1" noChangeShapeType="1"/>
          </p:cNvSpPr>
          <p:nvPr>
            <p:ph type="dt" sz="half" idx="10"/>
          </p:nvPr>
        </p:nvSpPr>
        <p:spPr/>
        <p:txBody>
          <a:bodyPr/>
          <a:lstStyle/>
          <a:p>
            <a:fld id="{B789455A-F4F5-4ADB-BA98-24336C9EA3E7}" type="datetime1">
              <a:rPr lang="en-GB" smtClean="0"/>
              <a:t>18/11/2024</a:t>
            </a:fld>
            <a:endParaRPr lang="en-GB"/>
          </a:p>
        </p:txBody>
      </p:sp>
      <p:cxnSp>
        <p:nvCxnSpPr>
          <p:cNvPr id="17" name="Base Rule">
            <a:extLst>
              <a:ext uri="{FF2B5EF4-FFF2-40B4-BE49-F238E27FC236}">
                <a16:creationId xmlns:a16="http://schemas.microsoft.com/office/drawing/2014/main" id="{0DFE5D64-C53A-A500-F0A7-C09857B818AB}"/>
              </a:ext>
            </a:extLst>
          </p:cNvPr>
          <p:cNvCxnSpPr>
            <a:cxnSpLocks noGrp="1" noRot="1" noMove="1" noResize="1" noEditPoints="1" noAdjustHandles="1" noChangeArrowheads="1" noChangeShapeType="1"/>
          </p:cNvCxnSpPr>
          <p:nvPr userDrawn="1"/>
        </p:nvCxnSpPr>
        <p:spPr>
          <a:xfrm>
            <a:off x="292100" y="6395755"/>
            <a:ext cx="116078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ource Placeholder">
            <a:extLst>
              <a:ext uri="{FF2B5EF4-FFF2-40B4-BE49-F238E27FC236}">
                <a16:creationId xmlns:a16="http://schemas.microsoft.com/office/drawing/2014/main" id="{2EA71DC4-3628-4313-321C-9A95F89CAB2F}"/>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4" name="Content 2 Placeholder">
            <a:extLst>
              <a:ext uri="{FF2B5EF4-FFF2-40B4-BE49-F238E27FC236}">
                <a16:creationId xmlns:a16="http://schemas.microsoft.com/office/drawing/2014/main" id="{5D43A841-AD92-4556-21E4-9939D57FC0A6}"/>
              </a:ext>
            </a:extLst>
          </p:cNvPr>
          <p:cNvSpPr>
            <a:spLocks noGrp="1" noRot="1" noMove="1" noResize="1" noEditPoints="1" noAdjustHandles="1" noChangeArrowheads="1" noChangeShapeType="1"/>
          </p:cNvSpPr>
          <p:nvPr>
            <p:ph sz="half" idx="2" hasCustomPrompt="1"/>
          </p:nvPr>
        </p:nvSpPr>
        <p:spPr>
          <a:xfrm>
            <a:off x="6388100" y="1638301"/>
            <a:ext cx="5511800" cy="4038600"/>
          </a:xfrm>
        </p:spPr>
        <p:txBody>
          <a:bodyPr/>
          <a:lstStyle>
            <a:lvl1pPr>
              <a:defRPr/>
            </a:lvl1pPr>
          </a:lstStyle>
          <a:p>
            <a:pPr lvl="0"/>
            <a:r>
              <a:rPr lang="en-US"/>
              <a:t>Insert content here</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Subtitle 2 Placeholder">
            <a:extLst>
              <a:ext uri="{FF2B5EF4-FFF2-40B4-BE49-F238E27FC236}">
                <a16:creationId xmlns:a16="http://schemas.microsoft.com/office/drawing/2014/main" id="{9B24A1DB-1E99-30C3-D014-5A6DEDB3C66E}"/>
              </a:ext>
            </a:extLst>
          </p:cNvPr>
          <p:cNvSpPr>
            <a:spLocks noGrp="1" noRot="1" noMove="1" noResize="1" noEditPoints="1" noAdjustHandles="1" noChangeArrowheads="1" noChangeShapeType="1"/>
          </p:cNvSpPr>
          <p:nvPr>
            <p:ph type="body" sz="quarter" idx="15" hasCustomPrompt="1"/>
          </p:nvPr>
        </p:nvSpPr>
        <p:spPr>
          <a:xfrm>
            <a:off x="6388895" y="579495"/>
            <a:ext cx="5511005"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11" name="Title 2 Placeholder">
            <a:extLst>
              <a:ext uri="{FF2B5EF4-FFF2-40B4-BE49-F238E27FC236}">
                <a16:creationId xmlns:a16="http://schemas.microsoft.com/office/drawing/2014/main" id="{A1808D7B-A584-646A-5554-EA7041352FF8}"/>
              </a:ext>
            </a:extLst>
          </p:cNvPr>
          <p:cNvSpPr>
            <a:spLocks noGrp="1" noRot="1" noMove="1" noResize="1" noEditPoints="1" noAdjustHandles="1" noChangeArrowheads="1" noChangeShapeType="1"/>
          </p:cNvSpPr>
          <p:nvPr>
            <p:ph type="body" sz="quarter" idx="17" hasCustomPrompt="1"/>
          </p:nvPr>
        </p:nvSpPr>
        <p:spPr>
          <a:xfrm>
            <a:off x="6383895" y="274634"/>
            <a:ext cx="5514418" cy="295756"/>
          </a:xfrm>
        </p:spPr>
        <p:txBody>
          <a:bodyPr anchor="t" anchorCtr="0">
            <a:noAutofit/>
          </a:bodyPr>
          <a:lstStyle>
            <a:lvl1pPr marL="0" indent="0">
              <a:buFont typeface="Arial" panose="020B0604020202020204" pitchFamily="34" charset="0"/>
              <a:buNone/>
              <a:defRPr sz="2000" b="1"/>
            </a:lvl1pPr>
          </a:lstStyle>
          <a:p>
            <a:pPr lvl="0"/>
            <a:r>
              <a:rPr lang="en-US"/>
              <a:t>Insert your slide title in Arial Bold 20pt</a:t>
            </a:r>
          </a:p>
        </p:txBody>
      </p:sp>
      <p:sp>
        <p:nvSpPr>
          <p:cNvPr id="3" name="Content 1 Placeholder">
            <a:extLst>
              <a:ext uri="{FF2B5EF4-FFF2-40B4-BE49-F238E27FC236}">
                <a16:creationId xmlns:a16="http://schemas.microsoft.com/office/drawing/2014/main" id="{BBF77ABD-CA9D-F0FB-47F7-ABF58A85B72B}"/>
              </a:ext>
            </a:extLst>
          </p:cNvPr>
          <p:cNvSpPr>
            <a:spLocks noGrp="1" noRot="1" noMove="1" noResize="1" noEditPoints="1" noAdjustHandles="1" noChangeArrowheads="1" noChangeShapeType="1"/>
          </p:cNvSpPr>
          <p:nvPr>
            <p:ph sz="half" idx="1" hasCustomPrompt="1"/>
          </p:nvPr>
        </p:nvSpPr>
        <p:spPr>
          <a:xfrm>
            <a:off x="292100" y="1638301"/>
            <a:ext cx="5510210" cy="4038600"/>
          </a:xfrm>
        </p:spPr>
        <p:txBody>
          <a:bodyPr/>
          <a:lstStyle>
            <a:lvl1pPr>
              <a:defRPr/>
            </a:lvl1pPr>
          </a:lstStyle>
          <a:p>
            <a:pPr lvl="0"/>
            <a:r>
              <a:rPr lang="en-US"/>
              <a:t>Insert content here</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ubtitle 1 Placeholder">
            <a:extLst>
              <a:ext uri="{FF2B5EF4-FFF2-40B4-BE49-F238E27FC236}">
                <a16:creationId xmlns:a16="http://schemas.microsoft.com/office/drawing/2014/main" id="{4DF2806F-470A-D63D-6287-2D96392FDBED}"/>
              </a:ext>
            </a:extLst>
          </p:cNvPr>
          <p:cNvSpPr>
            <a:spLocks noGrp="1" noRot="1" noMove="1" noResize="1" noEditPoints="1" noAdjustHandles="1" noChangeArrowheads="1" noChangeShapeType="1"/>
          </p:cNvSpPr>
          <p:nvPr>
            <p:ph type="body" sz="quarter" idx="13" hasCustomPrompt="1"/>
          </p:nvPr>
        </p:nvSpPr>
        <p:spPr>
          <a:xfrm>
            <a:off x="292100" y="579495"/>
            <a:ext cx="5511005"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2" name="Title 1 Placeholder">
            <a:extLst>
              <a:ext uri="{FF2B5EF4-FFF2-40B4-BE49-F238E27FC236}">
                <a16:creationId xmlns:a16="http://schemas.microsoft.com/office/drawing/2014/main" id="{330527F2-4E92-075E-0582-2535F1B4C690}"/>
              </a:ext>
            </a:extLst>
          </p:cNvPr>
          <p:cNvSpPr>
            <a:spLocks noGrp="1" noRot="1" noMove="1" noResize="1" noEditPoints="1" noAdjustHandles="1" noChangeArrowheads="1" noChangeShapeType="1"/>
          </p:cNvSpPr>
          <p:nvPr>
            <p:ph type="title" hasCustomPrompt="1"/>
          </p:nvPr>
        </p:nvSpPr>
        <p:spPr>
          <a:xfrm>
            <a:off x="292100" y="304800"/>
            <a:ext cx="5513623" cy="265590"/>
          </a:xfrm>
        </p:spPr>
        <p:txBody>
          <a:bodyPr/>
          <a:lstStyle/>
          <a:p>
            <a:r>
              <a:rPr lang="en-US"/>
              <a:t>Insert your slide title in Arial Bold 20pt</a:t>
            </a:r>
            <a:endParaRPr lang="en-GB"/>
          </a:p>
        </p:txBody>
      </p:sp>
    </p:spTree>
    <p:extLst>
      <p:ext uri="{BB962C8B-B14F-4D97-AF65-F5344CB8AC3E}">
        <p14:creationId xmlns:p14="http://schemas.microsoft.com/office/powerpoint/2010/main" val="3960206993"/>
      </p:ext>
    </p:extLst>
  </p:cSld>
  <p:clrMapOvr>
    <a:masterClrMapping/>
  </p:clrMapOvr>
  <p:extLst>
    <p:ext uri="{DCECCB84-F9BA-43D5-87BE-67443E8EF086}">
      <p15:sldGuideLst xmlns:p15="http://schemas.microsoft.com/office/powerpoint/2012/main">
        <p15:guide id="2" pos="7680">
          <p15:clr>
            <a:srgbClr val="FBAE40"/>
          </p15:clr>
        </p15:guide>
        <p15:guide id="4" pos="3768">
          <p15:clr>
            <a:srgbClr val="A4A3A4"/>
          </p15:clr>
        </p15:guide>
        <p15:guide id="5" pos="3912">
          <p15:clr>
            <a:srgbClr val="A4A3A4"/>
          </p15:clr>
        </p15:guide>
        <p15:guide id="6" pos="7495">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ntent Half Blue">
    <p:spTree>
      <p:nvGrpSpPr>
        <p:cNvPr id="1" name=""/>
        <p:cNvGrpSpPr/>
        <p:nvPr/>
      </p:nvGrpSpPr>
      <p:grpSpPr>
        <a:xfrm>
          <a:off x="0" y="0"/>
          <a:ext cx="0" cy="0"/>
          <a:chOff x="0" y="0"/>
          <a:chExt cx="0" cy="0"/>
        </a:xfrm>
      </p:grpSpPr>
      <p:sp>
        <p:nvSpPr>
          <p:cNvPr id="14" name="Block Bkgd">
            <a:extLst>
              <a:ext uri="{FF2B5EF4-FFF2-40B4-BE49-F238E27FC236}">
                <a16:creationId xmlns:a16="http://schemas.microsoft.com/office/drawing/2014/main" id="{EF28BEE6-A3B9-F3EC-053D-F000E1C03344}"/>
              </a:ext>
            </a:extLst>
          </p:cNvPr>
          <p:cNvSpPr>
            <a:spLocks noGrp="1" noRot="1" noMove="1" noResize="1" noEditPoints="1" noAdjustHandles="1" noChangeArrowheads="1" noChangeShapeType="1"/>
          </p:cNvSpPr>
          <p:nvPr userDrawn="1"/>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7" name="Slide Number Placeholder">
            <a:extLst>
              <a:ext uri="{FF2B5EF4-FFF2-40B4-BE49-F238E27FC236}">
                <a16:creationId xmlns:a16="http://schemas.microsoft.com/office/drawing/2014/main" id="{E94EA2D6-F376-E5FB-864F-2472964B1215}"/>
              </a:ext>
            </a:extLst>
          </p:cNvPr>
          <p:cNvSpPr>
            <a:spLocks noGrp="1" noRot="1" noMove="1" noResize="1" noEditPoints="1" noAdjustHandles="1" noChangeArrowheads="1" noChangeShapeType="1"/>
          </p:cNvSpPr>
          <p:nvPr>
            <p:ph type="sldNum" sz="quarter" idx="12"/>
          </p:nvPr>
        </p:nvSpPr>
        <p:spPr>
          <a:xfrm>
            <a:off x="11495577" y="6485399"/>
            <a:ext cx="404321" cy="282957"/>
          </a:xfrm>
        </p:spPr>
        <p:txBody>
          <a:bodyPr/>
          <a:lstStyle>
            <a:lvl1pPr>
              <a:defRPr>
                <a:solidFill>
                  <a:schemeClr val="bg1"/>
                </a:solidFill>
              </a:defRPr>
            </a:lvl1pPr>
          </a:lstStyle>
          <a:p>
            <a:fld id="{3E04DF46-C0DC-4ADC-9A6F-918CC4703A43}" type="slidenum">
              <a:rPr lang="en-GB" smtClean="0"/>
              <a:pPr/>
              <a:t>‹#›</a:t>
            </a:fld>
            <a:endParaRPr lang="en-GB"/>
          </a:p>
        </p:txBody>
      </p:sp>
      <p:sp>
        <p:nvSpPr>
          <p:cNvPr id="16" name="Copyright Line">
            <a:extLst>
              <a:ext uri="{FF2B5EF4-FFF2-40B4-BE49-F238E27FC236}">
                <a16:creationId xmlns:a16="http://schemas.microsoft.com/office/drawing/2014/main" id="{9C89E4B4-9DF8-8FBA-0988-31F1C70E4154}"/>
              </a:ext>
            </a:extLst>
          </p:cNvPr>
          <p:cNvSpPr txBox="1">
            <a:spLocks noGrp="1" noRot="1" noMove="1" noResize="1" noEditPoints="1" noAdjustHandles="1" noChangeArrowheads="1" noChangeShapeType="1"/>
          </p:cNvSpPr>
          <p:nvPr userDrawn="1"/>
        </p:nvSpPr>
        <p:spPr>
          <a:xfrm>
            <a:off x="9167809" y="6536551"/>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a:t>
            </a:r>
            <a:fld id="{92E70860-886D-4303-B2B5-BD1295E1FD39}" type="datetimeyyyy">
              <a:rPr lang="en-US" sz="700" smtClean="0">
                <a:solidFill>
                  <a:schemeClr val="tx1">
                    <a:lumMod val="40000"/>
                    <a:lumOff val="60000"/>
                  </a:schemeClr>
                </a:solidFill>
              </a:rPr>
              <a:t>2024</a:t>
            </a:fld>
            <a:r>
              <a:rPr lang="en-US" sz="700">
                <a:solidFill>
                  <a:schemeClr val="tx1">
                    <a:lumMod val="40000"/>
                    <a:lumOff val="60000"/>
                  </a:schemeClr>
                </a:solidFill>
              </a:rPr>
              <a:t> Nielsen Consumer LLC. All Rights Reserved.</a:t>
            </a:r>
          </a:p>
        </p:txBody>
      </p:sp>
      <p:sp>
        <p:nvSpPr>
          <p:cNvPr id="8" name="Confidential disclaimer">
            <a:extLst>
              <a:ext uri="{FF2B5EF4-FFF2-40B4-BE49-F238E27FC236}">
                <a16:creationId xmlns:a16="http://schemas.microsoft.com/office/drawing/2014/main" id="{23E65464-19C9-DB30-2F4C-D472D2E89EBF}"/>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15" name="Footer Placeholder">
            <a:extLst>
              <a:ext uri="{FF2B5EF4-FFF2-40B4-BE49-F238E27FC236}">
                <a16:creationId xmlns:a16="http://schemas.microsoft.com/office/drawing/2014/main" id="{E1297F61-9D45-2558-68F0-C18078DF959B}"/>
              </a:ext>
            </a:extLst>
          </p:cNvPr>
          <p:cNvSpPr>
            <a:spLocks noGrp="1" noRot="1" noMove="1" noResize="1" noEditPoints="1" noAdjustHandles="1" noChangeArrowheads="1" noChangeShapeType="1"/>
          </p:cNvSpPr>
          <p:nvPr>
            <p:ph type="ftr" sz="quarter" idx="16"/>
          </p:nvPr>
        </p:nvSpPr>
        <p:spPr>
          <a:xfrm>
            <a:off x="3251200" y="6485399"/>
            <a:ext cx="2551110" cy="282957"/>
          </a:xfrm>
        </p:spPr>
        <p:txBody>
          <a:bodyPr/>
          <a:lstStyle/>
          <a:p>
            <a:endParaRPr lang="en-GB"/>
          </a:p>
        </p:txBody>
      </p:sp>
      <p:sp>
        <p:nvSpPr>
          <p:cNvPr id="5" name="Date Placeholder">
            <a:extLst>
              <a:ext uri="{FF2B5EF4-FFF2-40B4-BE49-F238E27FC236}">
                <a16:creationId xmlns:a16="http://schemas.microsoft.com/office/drawing/2014/main" id="{339D1539-DC5B-675F-DCC6-5BBCE25FC740}"/>
              </a:ext>
            </a:extLst>
          </p:cNvPr>
          <p:cNvSpPr>
            <a:spLocks noGrp="1" noRot="1" noMove="1" noResize="1" noEditPoints="1" noAdjustHandles="1" noChangeArrowheads="1" noChangeShapeType="1"/>
          </p:cNvSpPr>
          <p:nvPr>
            <p:ph type="dt" sz="half" idx="10"/>
          </p:nvPr>
        </p:nvSpPr>
        <p:spPr>
          <a:xfrm>
            <a:off x="2265363" y="6485399"/>
            <a:ext cx="757238" cy="282957"/>
          </a:xfrm>
        </p:spPr>
        <p:txBody>
          <a:bodyPr/>
          <a:lstStyle/>
          <a:p>
            <a:fld id="{B789455A-F4F5-4ADB-BA98-24336C9EA3E7}" type="datetime1">
              <a:rPr lang="en-GB" smtClean="0"/>
              <a:t>18/11/2024</a:t>
            </a:fld>
            <a:endParaRPr lang="en-GB"/>
          </a:p>
        </p:txBody>
      </p:sp>
      <p:cxnSp>
        <p:nvCxnSpPr>
          <p:cNvPr id="17" name="Base Rule">
            <a:extLst>
              <a:ext uri="{FF2B5EF4-FFF2-40B4-BE49-F238E27FC236}">
                <a16:creationId xmlns:a16="http://schemas.microsoft.com/office/drawing/2014/main" id="{0DFE5D64-C53A-A500-F0A7-C09857B818AB}"/>
              </a:ext>
            </a:extLst>
          </p:cNvPr>
          <p:cNvCxnSpPr>
            <a:cxnSpLocks noGrp="1" noRot="1" noMove="1" noResize="1" noEditPoints="1" noAdjustHandles="1" noChangeArrowheads="1" noChangeShapeType="1"/>
          </p:cNvCxnSpPr>
          <p:nvPr userDrawn="1"/>
        </p:nvCxnSpPr>
        <p:spPr>
          <a:xfrm>
            <a:off x="6096000" y="6395755"/>
            <a:ext cx="580390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ource Placeholder">
            <a:extLst>
              <a:ext uri="{FF2B5EF4-FFF2-40B4-BE49-F238E27FC236}">
                <a16:creationId xmlns:a16="http://schemas.microsoft.com/office/drawing/2014/main" id="{2EA71DC4-3628-4313-321C-9A95F89CAB2F}"/>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4" name="Content 2 Placeholder">
            <a:extLst>
              <a:ext uri="{FF2B5EF4-FFF2-40B4-BE49-F238E27FC236}">
                <a16:creationId xmlns:a16="http://schemas.microsoft.com/office/drawing/2014/main" id="{5D43A841-AD92-4556-21E4-9939D57FC0A6}"/>
              </a:ext>
            </a:extLst>
          </p:cNvPr>
          <p:cNvSpPr>
            <a:spLocks noGrp="1" noRot="1" noMove="1" noResize="1" noEditPoints="1" noAdjustHandles="1" noChangeArrowheads="1" noChangeShapeType="1"/>
          </p:cNvSpPr>
          <p:nvPr>
            <p:ph sz="half" idx="2" hasCustomPrompt="1"/>
          </p:nvPr>
        </p:nvSpPr>
        <p:spPr>
          <a:xfrm>
            <a:off x="6388100" y="1638301"/>
            <a:ext cx="5511800" cy="403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content here</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Subtitle 2 Placeholder">
            <a:extLst>
              <a:ext uri="{FF2B5EF4-FFF2-40B4-BE49-F238E27FC236}">
                <a16:creationId xmlns:a16="http://schemas.microsoft.com/office/drawing/2014/main" id="{9B24A1DB-1E99-30C3-D014-5A6DEDB3C66E}"/>
              </a:ext>
            </a:extLst>
          </p:cNvPr>
          <p:cNvSpPr>
            <a:spLocks noGrp="1" noRot="1" noMove="1" noResize="1" noEditPoints="1" noAdjustHandles="1" noChangeArrowheads="1" noChangeShapeType="1"/>
          </p:cNvSpPr>
          <p:nvPr>
            <p:ph type="body" sz="quarter" idx="15" hasCustomPrompt="1"/>
          </p:nvPr>
        </p:nvSpPr>
        <p:spPr>
          <a:xfrm>
            <a:off x="6388895" y="579495"/>
            <a:ext cx="5511005"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bg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6" name="Title 2 Placeholder">
            <a:extLst>
              <a:ext uri="{FF2B5EF4-FFF2-40B4-BE49-F238E27FC236}">
                <a16:creationId xmlns:a16="http://schemas.microsoft.com/office/drawing/2014/main" id="{A36FABAF-7E80-EFD2-0E01-79E8B041B9D4}"/>
              </a:ext>
            </a:extLst>
          </p:cNvPr>
          <p:cNvSpPr>
            <a:spLocks noGrp="1" noRot="1" noMove="1" noResize="1" noEditPoints="1" noAdjustHandles="1" noChangeArrowheads="1" noChangeShapeType="1"/>
          </p:cNvSpPr>
          <p:nvPr>
            <p:ph type="body" sz="quarter" idx="17" hasCustomPrompt="1"/>
          </p:nvPr>
        </p:nvSpPr>
        <p:spPr>
          <a:xfrm>
            <a:off x="6383895" y="274634"/>
            <a:ext cx="5514418" cy="295756"/>
          </a:xfrm>
        </p:spPr>
        <p:txBody>
          <a:bodyPr anchor="t" anchorCtr="0">
            <a:noAutofit/>
          </a:bodyPr>
          <a:lstStyle>
            <a:lvl1pPr marL="0" indent="0">
              <a:buFont typeface="Arial" panose="020B0604020202020204" pitchFamily="34" charset="0"/>
              <a:buNone/>
              <a:defRPr sz="2000" b="1">
                <a:solidFill>
                  <a:schemeClr val="bg1"/>
                </a:solidFill>
              </a:defRPr>
            </a:lvl1pPr>
          </a:lstStyle>
          <a:p>
            <a:pPr lvl="0"/>
            <a:r>
              <a:rPr lang="en-US"/>
              <a:t>Insert your slide title in Arial Bold 20pt</a:t>
            </a:r>
          </a:p>
        </p:txBody>
      </p:sp>
      <p:sp>
        <p:nvSpPr>
          <p:cNvPr id="3" name="Content 1 Placeholder">
            <a:extLst>
              <a:ext uri="{FF2B5EF4-FFF2-40B4-BE49-F238E27FC236}">
                <a16:creationId xmlns:a16="http://schemas.microsoft.com/office/drawing/2014/main" id="{BBF77ABD-CA9D-F0FB-47F7-ABF58A85B72B}"/>
              </a:ext>
            </a:extLst>
          </p:cNvPr>
          <p:cNvSpPr>
            <a:spLocks noGrp="1" noRot="1" noMove="1" noResize="1" noEditPoints="1" noAdjustHandles="1" noChangeArrowheads="1" noChangeShapeType="1"/>
          </p:cNvSpPr>
          <p:nvPr>
            <p:ph sz="half" idx="1" hasCustomPrompt="1"/>
          </p:nvPr>
        </p:nvSpPr>
        <p:spPr>
          <a:xfrm>
            <a:off x="292100" y="1638301"/>
            <a:ext cx="5510210" cy="4038600"/>
          </a:xfrm>
        </p:spPr>
        <p:txBody>
          <a:bodyPr/>
          <a:lstStyle>
            <a:lvl1pPr>
              <a:defRPr/>
            </a:lvl1pPr>
          </a:lstStyle>
          <a:p>
            <a:pPr lvl="0"/>
            <a:r>
              <a:rPr lang="en-US"/>
              <a:t>Insert content here</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ubtitle 1 Placeholder">
            <a:extLst>
              <a:ext uri="{FF2B5EF4-FFF2-40B4-BE49-F238E27FC236}">
                <a16:creationId xmlns:a16="http://schemas.microsoft.com/office/drawing/2014/main" id="{4DF2806F-470A-D63D-6287-2D96392FDBED}"/>
              </a:ext>
            </a:extLst>
          </p:cNvPr>
          <p:cNvSpPr>
            <a:spLocks noGrp="1" noRot="1" noMove="1" noResize="1" noEditPoints="1" noAdjustHandles="1" noChangeArrowheads="1" noChangeShapeType="1"/>
          </p:cNvSpPr>
          <p:nvPr>
            <p:ph type="body" sz="quarter" idx="13" hasCustomPrompt="1"/>
          </p:nvPr>
        </p:nvSpPr>
        <p:spPr>
          <a:xfrm>
            <a:off x="292100" y="579495"/>
            <a:ext cx="5511005"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2" name="Title 1 Placeholder">
            <a:extLst>
              <a:ext uri="{FF2B5EF4-FFF2-40B4-BE49-F238E27FC236}">
                <a16:creationId xmlns:a16="http://schemas.microsoft.com/office/drawing/2014/main" id="{330527F2-4E92-075E-0582-2535F1B4C690}"/>
              </a:ext>
            </a:extLst>
          </p:cNvPr>
          <p:cNvSpPr>
            <a:spLocks noGrp="1" noRot="1" noMove="1" noResize="1" noEditPoints="1" noAdjustHandles="1" noChangeArrowheads="1" noChangeShapeType="1"/>
          </p:cNvSpPr>
          <p:nvPr>
            <p:ph type="title" hasCustomPrompt="1"/>
          </p:nvPr>
        </p:nvSpPr>
        <p:spPr>
          <a:xfrm>
            <a:off x="292100" y="304800"/>
            <a:ext cx="5513623" cy="265590"/>
          </a:xfrm>
        </p:spPr>
        <p:txBody>
          <a:bodyPr/>
          <a:lstStyle/>
          <a:p>
            <a:r>
              <a:rPr lang="en-US"/>
              <a:t>Insert your slide title in Arial Bold 20pt</a:t>
            </a:r>
            <a:endParaRPr lang="en-GB"/>
          </a:p>
        </p:txBody>
      </p:sp>
    </p:spTree>
    <p:extLst>
      <p:ext uri="{BB962C8B-B14F-4D97-AF65-F5344CB8AC3E}">
        <p14:creationId xmlns:p14="http://schemas.microsoft.com/office/powerpoint/2010/main" val="1653621395"/>
      </p:ext>
    </p:extLst>
  </p:cSld>
  <p:clrMapOvr>
    <a:masterClrMapping/>
  </p:clrMapOvr>
  <p:extLst>
    <p:ext uri="{DCECCB84-F9BA-43D5-87BE-67443E8EF086}">
      <p15:sldGuideLst xmlns:p15="http://schemas.microsoft.com/office/powerpoint/2012/main">
        <p15:guide id="2" pos="7680">
          <p15:clr>
            <a:srgbClr val="FBAE40"/>
          </p15:clr>
        </p15:guide>
        <p15:guide id="4" pos="3768">
          <p15:clr>
            <a:srgbClr val="A4A3A4"/>
          </p15:clr>
        </p15:guide>
        <p15:guide id="5" pos="3912">
          <p15:clr>
            <a:srgbClr val="A4A3A4"/>
          </p15:clr>
        </p15:guide>
        <p15:guide id="6" pos="7495">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Content Half Dark">
    <p:spTree>
      <p:nvGrpSpPr>
        <p:cNvPr id="1" name=""/>
        <p:cNvGrpSpPr/>
        <p:nvPr/>
      </p:nvGrpSpPr>
      <p:grpSpPr>
        <a:xfrm>
          <a:off x="0" y="0"/>
          <a:ext cx="0" cy="0"/>
          <a:chOff x="0" y="0"/>
          <a:chExt cx="0" cy="0"/>
        </a:xfrm>
      </p:grpSpPr>
      <p:sp>
        <p:nvSpPr>
          <p:cNvPr id="14" name="Block Bkgd">
            <a:extLst>
              <a:ext uri="{FF2B5EF4-FFF2-40B4-BE49-F238E27FC236}">
                <a16:creationId xmlns:a16="http://schemas.microsoft.com/office/drawing/2014/main" id="{EF28BEE6-A3B9-F3EC-053D-F000E1C03344}"/>
              </a:ext>
            </a:extLst>
          </p:cNvPr>
          <p:cNvSpPr>
            <a:spLocks noGrp="1" noRot="1" noMove="1" noResize="1" noEditPoints="1" noAdjustHandles="1" noChangeArrowheads="1" noChangeShapeType="1"/>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7" name="Slide Number Placeholder">
            <a:extLst>
              <a:ext uri="{FF2B5EF4-FFF2-40B4-BE49-F238E27FC236}">
                <a16:creationId xmlns:a16="http://schemas.microsoft.com/office/drawing/2014/main" id="{E94EA2D6-F376-E5FB-864F-2472964B1215}"/>
              </a:ext>
            </a:extLst>
          </p:cNvPr>
          <p:cNvSpPr>
            <a:spLocks noGrp="1" noRot="1" noMove="1" noResize="1" noEditPoints="1" noAdjustHandles="1" noChangeArrowheads="1" noChangeShapeType="1"/>
          </p:cNvSpPr>
          <p:nvPr>
            <p:ph type="sldNum" sz="quarter" idx="12"/>
          </p:nvPr>
        </p:nvSpPr>
        <p:spPr/>
        <p:txBody>
          <a:bodyPr/>
          <a:lstStyle>
            <a:lvl1pPr>
              <a:defRPr>
                <a:solidFill>
                  <a:schemeClr val="bg1"/>
                </a:solidFill>
              </a:defRPr>
            </a:lvl1pPr>
          </a:lstStyle>
          <a:p>
            <a:fld id="{3E04DF46-C0DC-4ADC-9A6F-918CC4703A43}" type="slidenum">
              <a:rPr lang="en-GB" smtClean="0"/>
              <a:pPr/>
              <a:t>‹#›</a:t>
            </a:fld>
            <a:endParaRPr lang="en-GB"/>
          </a:p>
        </p:txBody>
      </p:sp>
      <p:sp>
        <p:nvSpPr>
          <p:cNvPr id="16" name="Copyright Line">
            <a:extLst>
              <a:ext uri="{FF2B5EF4-FFF2-40B4-BE49-F238E27FC236}">
                <a16:creationId xmlns:a16="http://schemas.microsoft.com/office/drawing/2014/main" id="{9C89E4B4-9DF8-8FBA-0988-31F1C70E4154}"/>
              </a:ext>
            </a:extLst>
          </p:cNvPr>
          <p:cNvSpPr txBox="1">
            <a:spLocks noGrp="1" noRot="1" noMove="1" noResize="1" noEditPoints="1" noAdjustHandles="1" noChangeArrowheads="1" noChangeShapeType="1"/>
          </p:cNvSpPr>
          <p:nvPr userDrawn="1"/>
        </p:nvSpPr>
        <p:spPr>
          <a:xfrm>
            <a:off x="9167809" y="6536551"/>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a:t>
            </a:r>
            <a:fld id="{92E70860-886D-4303-B2B5-BD1295E1FD39}" type="datetimeyyyy">
              <a:rPr lang="en-US" sz="700" smtClean="0">
                <a:solidFill>
                  <a:schemeClr val="tx1">
                    <a:lumMod val="40000"/>
                    <a:lumOff val="60000"/>
                  </a:schemeClr>
                </a:solidFill>
              </a:rPr>
              <a:t>2024</a:t>
            </a:fld>
            <a:r>
              <a:rPr lang="en-US" sz="700">
                <a:solidFill>
                  <a:schemeClr val="tx1">
                    <a:lumMod val="40000"/>
                    <a:lumOff val="60000"/>
                  </a:schemeClr>
                </a:solidFill>
              </a:rPr>
              <a:t> Nielsen Consumer LLC. All Rights Reserved.</a:t>
            </a:r>
          </a:p>
        </p:txBody>
      </p:sp>
      <p:sp>
        <p:nvSpPr>
          <p:cNvPr id="8" name="Confidential disclaimer">
            <a:extLst>
              <a:ext uri="{FF2B5EF4-FFF2-40B4-BE49-F238E27FC236}">
                <a16:creationId xmlns:a16="http://schemas.microsoft.com/office/drawing/2014/main" id="{96D5C3C7-B3B0-FB86-5907-4E244DADEAE3}"/>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15" name="Footer Placeholder">
            <a:extLst>
              <a:ext uri="{FF2B5EF4-FFF2-40B4-BE49-F238E27FC236}">
                <a16:creationId xmlns:a16="http://schemas.microsoft.com/office/drawing/2014/main" id="{E1297F61-9D45-2558-68F0-C18078DF959B}"/>
              </a:ext>
            </a:extLst>
          </p:cNvPr>
          <p:cNvSpPr>
            <a:spLocks noGrp="1" noRot="1" noMove="1" noResize="1" noEditPoints="1" noAdjustHandles="1" noChangeArrowheads="1" noChangeShapeType="1"/>
          </p:cNvSpPr>
          <p:nvPr>
            <p:ph type="ftr" sz="quarter" idx="16"/>
          </p:nvPr>
        </p:nvSpPr>
        <p:spPr>
          <a:xfrm>
            <a:off x="3251200" y="6485399"/>
            <a:ext cx="2551110" cy="282957"/>
          </a:xfrm>
        </p:spPr>
        <p:txBody>
          <a:bodyPr/>
          <a:lstStyle/>
          <a:p>
            <a:endParaRPr lang="en-GB"/>
          </a:p>
        </p:txBody>
      </p:sp>
      <p:sp>
        <p:nvSpPr>
          <p:cNvPr id="5" name="Date Placeholder">
            <a:extLst>
              <a:ext uri="{FF2B5EF4-FFF2-40B4-BE49-F238E27FC236}">
                <a16:creationId xmlns:a16="http://schemas.microsoft.com/office/drawing/2014/main" id="{339D1539-DC5B-675F-DCC6-5BBCE25FC740}"/>
              </a:ext>
            </a:extLst>
          </p:cNvPr>
          <p:cNvSpPr>
            <a:spLocks noGrp="1" noRot="1" noMove="1" noResize="1" noEditPoints="1" noAdjustHandles="1" noChangeArrowheads="1" noChangeShapeType="1"/>
          </p:cNvSpPr>
          <p:nvPr>
            <p:ph type="dt" sz="half" idx="10"/>
          </p:nvPr>
        </p:nvSpPr>
        <p:spPr/>
        <p:txBody>
          <a:bodyPr/>
          <a:lstStyle/>
          <a:p>
            <a:fld id="{B789455A-F4F5-4ADB-BA98-24336C9EA3E7}" type="datetime1">
              <a:rPr lang="en-GB" smtClean="0"/>
              <a:t>18/11/2024</a:t>
            </a:fld>
            <a:endParaRPr lang="en-GB"/>
          </a:p>
        </p:txBody>
      </p:sp>
      <p:cxnSp>
        <p:nvCxnSpPr>
          <p:cNvPr id="17" name="Base Rule">
            <a:extLst>
              <a:ext uri="{FF2B5EF4-FFF2-40B4-BE49-F238E27FC236}">
                <a16:creationId xmlns:a16="http://schemas.microsoft.com/office/drawing/2014/main" id="{0DFE5D64-C53A-A500-F0A7-C09857B818AB}"/>
              </a:ext>
            </a:extLst>
          </p:cNvPr>
          <p:cNvCxnSpPr>
            <a:cxnSpLocks noGrp="1" noRot="1" noMove="1" noResize="1" noEditPoints="1" noAdjustHandles="1" noChangeArrowheads="1" noChangeShapeType="1"/>
          </p:cNvCxnSpPr>
          <p:nvPr userDrawn="1"/>
        </p:nvCxnSpPr>
        <p:spPr>
          <a:xfrm>
            <a:off x="6096000" y="6395755"/>
            <a:ext cx="580390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ource Placeholder">
            <a:extLst>
              <a:ext uri="{FF2B5EF4-FFF2-40B4-BE49-F238E27FC236}">
                <a16:creationId xmlns:a16="http://schemas.microsoft.com/office/drawing/2014/main" id="{2EA71DC4-3628-4313-321C-9A95F89CAB2F}"/>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4" name="Content 2 Placeholder">
            <a:extLst>
              <a:ext uri="{FF2B5EF4-FFF2-40B4-BE49-F238E27FC236}">
                <a16:creationId xmlns:a16="http://schemas.microsoft.com/office/drawing/2014/main" id="{5D43A841-AD92-4556-21E4-9939D57FC0A6}"/>
              </a:ext>
            </a:extLst>
          </p:cNvPr>
          <p:cNvSpPr>
            <a:spLocks noGrp="1" noRot="1" noMove="1" noResize="1" noEditPoints="1" noAdjustHandles="1" noChangeArrowheads="1" noChangeShapeType="1"/>
          </p:cNvSpPr>
          <p:nvPr>
            <p:ph sz="half" idx="2" hasCustomPrompt="1"/>
          </p:nvPr>
        </p:nvSpPr>
        <p:spPr>
          <a:xfrm>
            <a:off x="6388100" y="1638301"/>
            <a:ext cx="5511800" cy="403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content here</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Subtitle 2 Placeholder">
            <a:extLst>
              <a:ext uri="{FF2B5EF4-FFF2-40B4-BE49-F238E27FC236}">
                <a16:creationId xmlns:a16="http://schemas.microsoft.com/office/drawing/2014/main" id="{9B24A1DB-1E99-30C3-D014-5A6DEDB3C66E}"/>
              </a:ext>
            </a:extLst>
          </p:cNvPr>
          <p:cNvSpPr>
            <a:spLocks noGrp="1" noRot="1" noMove="1" noResize="1" noEditPoints="1" noAdjustHandles="1" noChangeArrowheads="1" noChangeShapeType="1"/>
          </p:cNvSpPr>
          <p:nvPr>
            <p:ph type="body" sz="quarter" idx="15" hasCustomPrompt="1"/>
          </p:nvPr>
        </p:nvSpPr>
        <p:spPr>
          <a:xfrm>
            <a:off x="6388895" y="579495"/>
            <a:ext cx="5511005"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bg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6" name="Title 2 Placeholder">
            <a:extLst>
              <a:ext uri="{FF2B5EF4-FFF2-40B4-BE49-F238E27FC236}">
                <a16:creationId xmlns:a16="http://schemas.microsoft.com/office/drawing/2014/main" id="{2D03B6C0-C08D-EDFA-F4C8-01772C443E65}"/>
              </a:ext>
            </a:extLst>
          </p:cNvPr>
          <p:cNvSpPr>
            <a:spLocks noGrp="1" noRot="1" noMove="1" noResize="1" noEditPoints="1" noAdjustHandles="1" noChangeArrowheads="1" noChangeShapeType="1"/>
          </p:cNvSpPr>
          <p:nvPr>
            <p:ph type="body" sz="quarter" idx="17" hasCustomPrompt="1"/>
          </p:nvPr>
        </p:nvSpPr>
        <p:spPr>
          <a:xfrm>
            <a:off x="6383895" y="274634"/>
            <a:ext cx="5514418" cy="295756"/>
          </a:xfrm>
        </p:spPr>
        <p:txBody>
          <a:bodyPr anchor="t" anchorCtr="0">
            <a:noAutofit/>
          </a:bodyPr>
          <a:lstStyle>
            <a:lvl1pPr marL="0" indent="0">
              <a:buFont typeface="Arial" panose="020B0604020202020204" pitchFamily="34" charset="0"/>
              <a:buNone/>
              <a:defRPr sz="2000" b="1">
                <a:solidFill>
                  <a:schemeClr val="bg1"/>
                </a:solidFill>
              </a:defRPr>
            </a:lvl1pPr>
          </a:lstStyle>
          <a:p>
            <a:pPr lvl="0"/>
            <a:r>
              <a:rPr lang="en-US"/>
              <a:t>Insert your slide title in Arial Bold 20pt</a:t>
            </a:r>
          </a:p>
        </p:txBody>
      </p:sp>
      <p:sp>
        <p:nvSpPr>
          <p:cNvPr id="3" name="Content 1 Placeholder">
            <a:extLst>
              <a:ext uri="{FF2B5EF4-FFF2-40B4-BE49-F238E27FC236}">
                <a16:creationId xmlns:a16="http://schemas.microsoft.com/office/drawing/2014/main" id="{BBF77ABD-CA9D-F0FB-47F7-ABF58A85B72B}"/>
              </a:ext>
            </a:extLst>
          </p:cNvPr>
          <p:cNvSpPr>
            <a:spLocks noGrp="1" noRot="1" noMove="1" noResize="1" noEditPoints="1" noAdjustHandles="1" noChangeArrowheads="1" noChangeShapeType="1"/>
          </p:cNvSpPr>
          <p:nvPr>
            <p:ph sz="half" idx="1" hasCustomPrompt="1"/>
          </p:nvPr>
        </p:nvSpPr>
        <p:spPr>
          <a:xfrm>
            <a:off x="292100" y="1638301"/>
            <a:ext cx="5510210" cy="4038600"/>
          </a:xfrm>
        </p:spPr>
        <p:txBody>
          <a:bodyPr/>
          <a:lstStyle>
            <a:lvl1pPr>
              <a:defRPr/>
            </a:lvl1pPr>
          </a:lstStyle>
          <a:p>
            <a:pPr lvl="0"/>
            <a:r>
              <a:rPr lang="en-US"/>
              <a:t>Insert content here</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ubtitle 1 Placeholder">
            <a:extLst>
              <a:ext uri="{FF2B5EF4-FFF2-40B4-BE49-F238E27FC236}">
                <a16:creationId xmlns:a16="http://schemas.microsoft.com/office/drawing/2014/main" id="{4DF2806F-470A-D63D-6287-2D96392FDBED}"/>
              </a:ext>
            </a:extLst>
          </p:cNvPr>
          <p:cNvSpPr>
            <a:spLocks noGrp="1" noRot="1" noMove="1" noResize="1" noEditPoints="1" noAdjustHandles="1" noChangeArrowheads="1" noChangeShapeType="1"/>
          </p:cNvSpPr>
          <p:nvPr>
            <p:ph type="body" sz="quarter" idx="13" hasCustomPrompt="1"/>
          </p:nvPr>
        </p:nvSpPr>
        <p:spPr>
          <a:xfrm>
            <a:off x="292100" y="579495"/>
            <a:ext cx="5511005"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2" name="Title 1 Placeholder">
            <a:extLst>
              <a:ext uri="{FF2B5EF4-FFF2-40B4-BE49-F238E27FC236}">
                <a16:creationId xmlns:a16="http://schemas.microsoft.com/office/drawing/2014/main" id="{330527F2-4E92-075E-0582-2535F1B4C690}"/>
              </a:ext>
            </a:extLst>
          </p:cNvPr>
          <p:cNvSpPr>
            <a:spLocks noGrp="1" noRot="1" noMove="1" noResize="1" noEditPoints="1" noAdjustHandles="1" noChangeArrowheads="1" noChangeShapeType="1"/>
          </p:cNvSpPr>
          <p:nvPr>
            <p:ph type="title" hasCustomPrompt="1"/>
          </p:nvPr>
        </p:nvSpPr>
        <p:spPr>
          <a:xfrm>
            <a:off x="292100" y="304800"/>
            <a:ext cx="5513623" cy="265590"/>
          </a:xfrm>
        </p:spPr>
        <p:txBody>
          <a:bodyPr/>
          <a:lstStyle/>
          <a:p>
            <a:r>
              <a:rPr lang="en-US"/>
              <a:t>Insert your slide title in Arial Bold 20pt</a:t>
            </a:r>
            <a:endParaRPr lang="en-GB"/>
          </a:p>
        </p:txBody>
      </p:sp>
    </p:spTree>
    <p:extLst>
      <p:ext uri="{BB962C8B-B14F-4D97-AF65-F5344CB8AC3E}">
        <p14:creationId xmlns:p14="http://schemas.microsoft.com/office/powerpoint/2010/main" val="2274133613"/>
      </p:ext>
    </p:extLst>
  </p:cSld>
  <p:clrMapOvr>
    <a:masterClrMapping/>
  </p:clrMapOvr>
  <p:extLst>
    <p:ext uri="{DCECCB84-F9BA-43D5-87BE-67443E8EF086}">
      <p15:sldGuideLst xmlns:p15="http://schemas.microsoft.com/office/powerpoint/2012/main">
        <p15:guide id="2" pos="7680">
          <p15:clr>
            <a:srgbClr val="FBAE40"/>
          </p15:clr>
        </p15:guide>
        <p15:guide id="4" pos="3768">
          <p15:clr>
            <a:srgbClr val="A4A3A4"/>
          </p15:clr>
        </p15:guide>
        <p15:guide id="5" pos="3912">
          <p15:clr>
            <a:srgbClr val="A4A3A4"/>
          </p15:clr>
        </p15:guide>
        <p15:guide id="6" pos="7495">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Content Half Image">
    <p:spTree>
      <p:nvGrpSpPr>
        <p:cNvPr id="1" name=""/>
        <p:cNvGrpSpPr/>
        <p:nvPr/>
      </p:nvGrpSpPr>
      <p:grpSpPr>
        <a:xfrm>
          <a:off x="0" y="0"/>
          <a:ext cx="0" cy="0"/>
          <a:chOff x="0" y="0"/>
          <a:chExt cx="0" cy="0"/>
        </a:xfrm>
      </p:grpSpPr>
      <p:sp>
        <p:nvSpPr>
          <p:cNvPr id="18" name="Rule Block">
            <a:extLst>
              <a:ext uri="{FF2B5EF4-FFF2-40B4-BE49-F238E27FC236}">
                <a16:creationId xmlns:a16="http://schemas.microsoft.com/office/drawing/2014/main" id="{658D6E94-1F36-94B6-33A7-7C708E049D30}"/>
              </a:ext>
            </a:extLst>
          </p:cNvPr>
          <p:cNvSpPr>
            <a:spLocks noGrp="1" noRot="1" noMove="1" noResize="1" noEditPoints="1" noAdjustHandles="1" noChangeArrowheads="1" noChangeShapeType="1"/>
          </p:cNvSpPr>
          <p:nvPr userDrawn="1"/>
        </p:nvSpPr>
        <p:spPr>
          <a:xfrm>
            <a:off x="5802310" y="6299199"/>
            <a:ext cx="293690" cy="1861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GB" err="1"/>
          </a:p>
        </p:txBody>
      </p:sp>
      <p:sp>
        <p:nvSpPr>
          <p:cNvPr id="12" name="Picture Placeholder">
            <a:extLst>
              <a:ext uri="{FF2B5EF4-FFF2-40B4-BE49-F238E27FC236}">
                <a16:creationId xmlns:a16="http://schemas.microsoft.com/office/drawing/2014/main" id="{7A78F6A2-6801-C5FD-6F85-67A9BBDEF53C}"/>
              </a:ext>
            </a:extLst>
          </p:cNvPr>
          <p:cNvSpPr>
            <a:spLocks noGrp="1" noRot="1" noMove="1" noResize="1" noEditPoints="1" noAdjustHandles="1" noChangeArrowheads="1" noChangeShapeType="1"/>
          </p:cNvSpPr>
          <p:nvPr>
            <p:ph type="pic" sz="quarter" idx="17" hasCustomPrompt="1"/>
          </p:nvPr>
        </p:nvSpPr>
        <p:spPr>
          <a:xfrm>
            <a:off x="6096000" y="0"/>
            <a:ext cx="6096000" cy="6858000"/>
          </a:xfrm>
          <a:solidFill>
            <a:schemeClr val="tx1">
              <a:lumMod val="60000"/>
              <a:lumOff val="40000"/>
            </a:schemeClr>
          </a:solidFill>
        </p:spPr>
        <p:txBody>
          <a:bodyPr lIns="182880" tIns="91440" rIns="274320" anchor="t">
            <a:normAutofit/>
          </a:bodyPr>
          <a:lstStyle>
            <a:lvl1pPr marL="174625" indent="-174625" algn="l">
              <a:spcBef>
                <a:spcPts val="0"/>
              </a:spcBef>
              <a:buFont typeface="Arial" panose="020B0604020202020204" pitchFamily="34" charset="0"/>
              <a:buNone/>
              <a:defRPr sz="1400" b="1">
                <a:solidFill>
                  <a:srgbClr val="FFFF00"/>
                </a:solidFill>
              </a:defRPr>
            </a:lvl1pPr>
          </a:lstStyle>
          <a:p>
            <a:r>
              <a:rPr lang="en-US"/>
              <a:t>To add image: </a:t>
            </a:r>
            <a:br>
              <a:rPr lang="en-US"/>
            </a:br>
            <a:r>
              <a:rPr lang="en-US"/>
              <a:t>1. Select image placeholder </a:t>
            </a:r>
            <a:br>
              <a:rPr lang="en-US"/>
            </a:br>
            <a:r>
              <a:rPr lang="en-US"/>
              <a:t>2. Drag/drop file or copy/paste image into slide (.jpg, .gif, .</a:t>
            </a:r>
            <a:r>
              <a:rPr lang="en-US" err="1"/>
              <a:t>png</a:t>
            </a:r>
            <a:r>
              <a:rPr lang="en-US"/>
              <a:t>) </a:t>
            </a:r>
            <a:br>
              <a:rPr lang="en-US"/>
            </a:br>
            <a:r>
              <a:rPr lang="en-US"/>
              <a:t>3. Right-click image and “Send to back”</a:t>
            </a:r>
          </a:p>
          <a:p>
            <a:r>
              <a:rPr lang="en-GB"/>
              <a:t> </a:t>
            </a:r>
          </a:p>
        </p:txBody>
      </p:sp>
      <p:sp>
        <p:nvSpPr>
          <p:cNvPr id="7" name="Slide Number Placeholder">
            <a:extLst>
              <a:ext uri="{FF2B5EF4-FFF2-40B4-BE49-F238E27FC236}">
                <a16:creationId xmlns:a16="http://schemas.microsoft.com/office/drawing/2014/main" id="{E94EA2D6-F376-E5FB-864F-2472964B1215}"/>
              </a:ext>
            </a:extLst>
          </p:cNvPr>
          <p:cNvSpPr>
            <a:spLocks noGrp="1" noRot="1" noMove="1" noResize="1" noEditPoints="1" noAdjustHandles="1" noChangeArrowheads="1" noChangeShapeType="1"/>
          </p:cNvSpPr>
          <p:nvPr>
            <p:ph type="sldNum" sz="quarter" idx="12"/>
          </p:nvPr>
        </p:nvSpPr>
        <p:spPr/>
        <p:txBody>
          <a:bodyPr/>
          <a:lstStyle>
            <a:lvl1pPr>
              <a:defRPr>
                <a:solidFill>
                  <a:schemeClr val="bg1"/>
                </a:solidFill>
              </a:defRPr>
            </a:lvl1pPr>
          </a:lstStyle>
          <a:p>
            <a:fld id="{3E04DF46-C0DC-4ADC-9A6F-918CC4703A43}" type="slidenum">
              <a:rPr lang="en-GB" smtClean="0"/>
              <a:pPr/>
              <a:t>‹#›</a:t>
            </a:fld>
            <a:endParaRPr lang="en-GB"/>
          </a:p>
        </p:txBody>
      </p:sp>
      <p:sp>
        <p:nvSpPr>
          <p:cNvPr id="16" name="Copyright Line">
            <a:extLst>
              <a:ext uri="{FF2B5EF4-FFF2-40B4-BE49-F238E27FC236}">
                <a16:creationId xmlns:a16="http://schemas.microsoft.com/office/drawing/2014/main" id="{9C89E4B4-9DF8-8FBA-0988-31F1C70E4154}"/>
              </a:ext>
            </a:extLst>
          </p:cNvPr>
          <p:cNvSpPr txBox="1">
            <a:spLocks noGrp="1" noRot="1" noMove="1" noResize="1" noEditPoints="1" noAdjustHandles="1" noChangeArrowheads="1" noChangeShapeType="1"/>
          </p:cNvSpPr>
          <p:nvPr userDrawn="1"/>
        </p:nvSpPr>
        <p:spPr>
          <a:xfrm>
            <a:off x="9167809" y="6536551"/>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a:t>
            </a:r>
            <a:fld id="{92E70860-886D-4303-B2B5-BD1295E1FD39}" type="datetimeyyyy">
              <a:rPr lang="en-US" sz="700" smtClean="0">
                <a:solidFill>
                  <a:schemeClr val="tx1">
                    <a:lumMod val="40000"/>
                    <a:lumOff val="60000"/>
                  </a:schemeClr>
                </a:solidFill>
              </a:rPr>
              <a:t>2024</a:t>
            </a:fld>
            <a:r>
              <a:rPr lang="en-US" sz="700">
                <a:solidFill>
                  <a:schemeClr val="tx1">
                    <a:lumMod val="40000"/>
                    <a:lumOff val="60000"/>
                  </a:schemeClr>
                </a:solidFill>
              </a:rPr>
              <a:t> Nielsen Consumer LLC. All Rights Reserved.</a:t>
            </a:r>
          </a:p>
        </p:txBody>
      </p:sp>
      <p:sp>
        <p:nvSpPr>
          <p:cNvPr id="8" name="Confidential disclaimer">
            <a:extLst>
              <a:ext uri="{FF2B5EF4-FFF2-40B4-BE49-F238E27FC236}">
                <a16:creationId xmlns:a16="http://schemas.microsoft.com/office/drawing/2014/main" id="{96D5C3C7-B3B0-FB86-5907-4E244DADEAE3}"/>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15" name="Footer Placeholder">
            <a:extLst>
              <a:ext uri="{FF2B5EF4-FFF2-40B4-BE49-F238E27FC236}">
                <a16:creationId xmlns:a16="http://schemas.microsoft.com/office/drawing/2014/main" id="{E1297F61-9D45-2558-68F0-C18078DF959B}"/>
              </a:ext>
            </a:extLst>
          </p:cNvPr>
          <p:cNvSpPr>
            <a:spLocks noGrp="1" noRot="1" noMove="1" noResize="1" noEditPoints="1" noAdjustHandles="1" noChangeArrowheads="1" noChangeShapeType="1"/>
          </p:cNvSpPr>
          <p:nvPr>
            <p:ph type="ftr" sz="quarter" idx="16"/>
          </p:nvPr>
        </p:nvSpPr>
        <p:spPr>
          <a:xfrm>
            <a:off x="3251200" y="6485399"/>
            <a:ext cx="2551110" cy="282957"/>
          </a:xfrm>
        </p:spPr>
        <p:txBody>
          <a:bodyPr/>
          <a:lstStyle/>
          <a:p>
            <a:endParaRPr lang="en-GB"/>
          </a:p>
        </p:txBody>
      </p:sp>
      <p:sp>
        <p:nvSpPr>
          <p:cNvPr id="5" name="Date Placeholder">
            <a:extLst>
              <a:ext uri="{FF2B5EF4-FFF2-40B4-BE49-F238E27FC236}">
                <a16:creationId xmlns:a16="http://schemas.microsoft.com/office/drawing/2014/main" id="{339D1539-DC5B-675F-DCC6-5BBCE25FC740}"/>
              </a:ext>
            </a:extLst>
          </p:cNvPr>
          <p:cNvSpPr>
            <a:spLocks noGrp="1" noRot="1" noMove="1" noResize="1" noEditPoints="1" noAdjustHandles="1" noChangeArrowheads="1" noChangeShapeType="1"/>
          </p:cNvSpPr>
          <p:nvPr>
            <p:ph type="dt" sz="half" idx="10"/>
          </p:nvPr>
        </p:nvSpPr>
        <p:spPr/>
        <p:txBody>
          <a:bodyPr/>
          <a:lstStyle/>
          <a:p>
            <a:fld id="{B789455A-F4F5-4ADB-BA98-24336C9EA3E7}" type="datetime1">
              <a:rPr lang="en-GB" smtClean="0"/>
              <a:t>18/11/2024</a:t>
            </a:fld>
            <a:endParaRPr lang="en-GB"/>
          </a:p>
        </p:txBody>
      </p:sp>
      <p:sp>
        <p:nvSpPr>
          <p:cNvPr id="9" name="Source Placeholder">
            <a:extLst>
              <a:ext uri="{FF2B5EF4-FFF2-40B4-BE49-F238E27FC236}">
                <a16:creationId xmlns:a16="http://schemas.microsoft.com/office/drawing/2014/main" id="{2EA71DC4-3628-4313-321C-9A95F89CAB2F}"/>
              </a:ext>
            </a:extLst>
          </p:cNvPr>
          <p:cNvSpPr>
            <a:spLocks noGrp="1" noRot="1" noMove="1" noResize="1" noEditPoints="1" noAdjustHandles="1" noChangeArrowheads="1" noChangeShapeType="1"/>
          </p:cNvSpPr>
          <p:nvPr>
            <p:ph type="body" sz="quarter" idx="14" hasCustomPrompt="1"/>
          </p:nvPr>
        </p:nvSpPr>
        <p:spPr>
          <a:xfrm>
            <a:off x="292100" y="6108700"/>
            <a:ext cx="551021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3" name="Content 1 Placeholder">
            <a:extLst>
              <a:ext uri="{FF2B5EF4-FFF2-40B4-BE49-F238E27FC236}">
                <a16:creationId xmlns:a16="http://schemas.microsoft.com/office/drawing/2014/main" id="{BBF77ABD-CA9D-F0FB-47F7-ABF58A85B72B}"/>
              </a:ext>
            </a:extLst>
          </p:cNvPr>
          <p:cNvSpPr>
            <a:spLocks noGrp="1" noRot="1" noMove="1" noResize="1" noEditPoints="1" noAdjustHandles="1" noChangeArrowheads="1" noChangeShapeType="1"/>
          </p:cNvSpPr>
          <p:nvPr>
            <p:ph sz="half" idx="1" hasCustomPrompt="1"/>
          </p:nvPr>
        </p:nvSpPr>
        <p:spPr>
          <a:xfrm>
            <a:off x="292100" y="1638301"/>
            <a:ext cx="5510210" cy="4038600"/>
          </a:xfrm>
        </p:spPr>
        <p:txBody>
          <a:bodyPr/>
          <a:lstStyle>
            <a:lvl1pPr>
              <a:defRPr/>
            </a:lvl1pPr>
          </a:lstStyle>
          <a:p>
            <a:pPr lvl="0"/>
            <a:r>
              <a:rPr lang="en-US"/>
              <a:t>Insert content here</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ubtitle 1 Placeholder">
            <a:extLst>
              <a:ext uri="{FF2B5EF4-FFF2-40B4-BE49-F238E27FC236}">
                <a16:creationId xmlns:a16="http://schemas.microsoft.com/office/drawing/2014/main" id="{4DF2806F-470A-D63D-6287-2D96392FDBED}"/>
              </a:ext>
            </a:extLst>
          </p:cNvPr>
          <p:cNvSpPr>
            <a:spLocks noGrp="1" noRot="1" noMove="1" noResize="1" noEditPoints="1" noAdjustHandles="1" noChangeArrowheads="1" noChangeShapeType="1"/>
          </p:cNvSpPr>
          <p:nvPr>
            <p:ph type="body" sz="quarter" idx="13" hasCustomPrompt="1"/>
          </p:nvPr>
        </p:nvSpPr>
        <p:spPr>
          <a:xfrm>
            <a:off x="292100" y="579495"/>
            <a:ext cx="5511005"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2" name="Title 1 Placeholder">
            <a:extLst>
              <a:ext uri="{FF2B5EF4-FFF2-40B4-BE49-F238E27FC236}">
                <a16:creationId xmlns:a16="http://schemas.microsoft.com/office/drawing/2014/main" id="{330527F2-4E92-075E-0582-2535F1B4C690}"/>
              </a:ext>
            </a:extLst>
          </p:cNvPr>
          <p:cNvSpPr>
            <a:spLocks noGrp="1" noRot="1" noMove="1" noResize="1" noEditPoints="1" noAdjustHandles="1" noChangeArrowheads="1" noChangeShapeType="1"/>
          </p:cNvSpPr>
          <p:nvPr>
            <p:ph type="title" hasCustomPrompt="1"/>
          </p:nvPr>
        </p:nvSpPr>
        <p:spPr>
          <a:xfrm>
            <a:off x="292100" y="304800"/>
            <a:ext cx="5513623" cy="265590"/>
          </a:xfrm>
        </p:spPr>
        <p:txBody>
          <a:bodyPr/>
          <a:lstStyle/>
          <a:p>
            <a:r>
              <a:rPr lang="en-US"/>
              <a:t>Insert your slide title in Arial Bold 20pt</a:t>
            </a:r>
            <a:endParaRPr lang="en-GB"/>
          </a:p>
        </p:txBody>
      </p:sp>
      <p:sp>
        <p:nvSpPr>
          <p:cNvPr id="22" name="Off-slide Instructions">
            <a:extLst>
              <a:ext uri="{FF2B5EF4-FFF2-40B4-BE49-F238E27FC236}">
                <a16:creationId xmlns:a16="http://schemas.microsoft.com/office/drawing/2014/main" id="{960CB651-6B1A-3200-5D2F-A4891428ED7E}"/>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12338614" y="0"/>
            <a:ext cx="2812486" cy="2373888"/>
          </a:xfrm>
          <a:prstGeom prst="bracketPair">
            <a:avLst>
              <a:gd name="adj" fmla="val 4083"/>
            </a:avLst>
          </a:prstGeom>
          <a:solidFill>
            <a:srgbClr val="FFFF00">
              <a:alpha val="80000"/>
            </a:srgbClr>
          </a:solidFill>
          <a:ln w="38100">
            <a:solidFill>
              <a:srgbClr val="FFC000"/>
            </a:solidFill>
          </a:ln>
        </p:spPr>
        <p:style>
          <a:lnRef idx="1">
            <a:schemeClr val="accent1"/>
          </a:lnRef>
          <a:fillRef idx="0">
            <a:schemeClr val="accent1"/>
          </a:fillRef>
          <a:effectRef idx="0">
            <a:schemeClr val="accent1"/>
          </a:effectRef>
          <a:fontRef idx="minor">
            <a:schemeClr val="tx1"/>
          </a:fontRef>
        </p:style>
        <p:txBody>
          <a:bodyPr wrap="square" rtlCol="0" anchor="ctr">
            <a:spAutoFit/>
          </a:bodyPr>
          <a:lstStyle/>
          <a:p>
            <a:pPr marL="0" indent="0" algn="l" defTabSz="914400" rtl="0" eaLnBrk="1" latinLnBrk="0" hangingPunct="1">
              <a:spcAft>
                <a:spcPts val="400"/>
              </a:spcAft>
              <a:buFont typeface="+mj-lt"/>
              <a:buNone/>
            </a:pPr>
            <a:r>
              <a:rPr lang="en-US" sz="1200" b="1" kern="1200">
                <a:solidFill>
                  <a:srgbClr val="000000"/>
                </a:solidFill>
                <a:latin typeface="+mn-lt"/>
                <a:ea typeface="+mn-ea"/>
                <a:cs typeface="+mn-cs"/>
              </a:rPr>
              <a:t>If copyright line, disclaimer, slide #, etc. are missing:</a:t>
            </a:r>
          </a:p>
          <a:p>
            <a:pPr marL="177800" lvl="0" indent="-177800">
              <a:spcAft>
                <a:spcPts val="400"/>
              </a:spcAft>
              <a:buFont typeface="+mj-lt"/>
              <a:buAutoNum type="arabicPeriod"/>
            </a:pPr>
            <a:r>
              <a:rPr lang="en-US" sz="800">
                <a:solidFill>
                  <a:srgbClr val="000000"/>
                </a:solidFill>
              </a:rPr>
              <a:t>Go to </a:t>
            </a:r>
            <a:r>
              <a:rPr lang="en-US" sz="800" b="1">
                <a:solidFill>
                  <a:srgbClr val="000000"/>
                </a:solidFill>
              </a:rPr>
              <a:t>View &gt; Slide Master</a:t>
            </a:r>
          </a:p>
          <a:p>
            <a:pPr marL="177800" lvl="0" indent="-177800">
              <a:spcAft>
                <a:spcPts val="400"/>
              </a:spcAft>
              <a:buFont typeface="+mj-lt"/>
              <a:buAutoNum type="arabicPeriod"/>
            </a:pPr>
            <a:r>
              <a:rPr lang="en-US" sz="800">
                <a:solidFill>
                  <a:srgbClr val="000000"/>
                </a:solidFill>
              </a:rPr>
              <a:t>Copy missing elements from Layout Master</a:t>
            </a:r>
          </a:p>
          <a:p>
            <a:pPr marL="177800" lvl="0" indent="-177800">
              <a:spcAft>
                <a:spcPts val="400"/>
              </a:spcAft>
              <a:buFont typeface="+mj-lt"/>
              <a:buAutoNum type="arabicPeriod"/>
            </a:pPr>
            <a:r>
              <a:rPr lang="en-US" sz="800">
                <a:solidFill>
                  <a:srgbClr val="000000"/>
                </a:solidFill>
              </a:rPr>
              <a:t>Close Master View</a:t>
            </a:r>
          </a:p>
          <a:p>
            <a:pPr marL="177800" lvl="0" indent="-177800">
              <a:spcAft>
                <a:spcPts val="400"/>
              </a:spcAft>
              <a:buFont typeface="+mj-lt"/>
              <a:buAutoNum type="arabicPeriod"/>
            </a:pPr>
            <a:r>
              <a:rPr lang="en-US" sz="800">
                <a:solidFill>
                  <a:srgbClr val="000000"/>
                </a:solidFill>
              </a:rPr>
              <a:t>Paste on slide</a:t>
            </a:r>
            <a:endParaRPr lang="en-US" sz="1200" b="1">
              <a:solidFill>
                <a:srgbClr val="000000"/>
              </a:solidFill>
            </a:endParaRPr>
          </a:p>
          <a:p>
            <a:pPr>
              <a:spcAft>
                <a:spcPts val="400"/>
              </a:spcAft>
            </a:pPr>
            <a:endParaRPr lang="en-US" sz="1200" b="1">
              <a:solidFill>
                <a:srgbClr val="000000"/>
              </a:solidFill>
            </a:endParaRPr>
          </a:p>
          <a:p>
            <a:pPr>
              <a:spcAft>
                <a:spcPts val="400"/>
              </a:spcAft>
            </a:pPr>
            <a:r>
              <a:rPr lang="en-US" sz="1200" b="1">
                <a:solidFill>
                  <a:srgbClr val="000000"/>
                </a:solidFill>
              </a:rPr>
              <a:t>To replace existing image:</a:t>
            </a:r>
          </a:p>
          <a:p>
            <a:pPr marL="174625" indent="-174625">
              <a:spcAft>
                <a:spcPts val="400"/>
              </a:spcAft>
              <a:buFont typeface="+mj-lt"/>
              <a:buAutoNum type="arabicPeriod"/>
            </a:pPr>
            <a:r>
              <a:rPr lang="en-US" sz="800">
                <a:solidFill>
                  <a:srgbClr val="000000"/>
                </a:solidFill>
              </a:rPr>
              <a:t>Right-click image placeholder</a:t>
            </a:r>
          </a:p>
          <a:p>
            <a:pPr marL="174625" indent="-174625">
              <a:spcAft>
                <a:spcPts val="400"/>
              </a:spcAft>
              <a:buFont typeface="+mj-lt"/>
              <a:buAutoNum type="arabicPeriod"/>
            </a:pPr>
            <a:r>
              <a:rPr lang="en-US" sz="800">
                <a:solidFill>
                  <a:srgbClr val="000000"/>
                </a:solidFill>
              </a:rPr>
              <a:t>Select </a:t>
            </a:r>
            <a:r>
              <a:rPr lang="en-US" sz="800" b="1">
                <a:solidFill>
                  <a:srgbClr val="000000"/>
                </a:solidFill>
              </a:rPr>
              <a:t>Change Picture</a:t>
            </a:r>
          </a:p>
          <a:p>
            <a:pPr marL="174625" indent="-174625">
              <a:spcAft>
                <a:spcPts val="400"/>
              </a:spcAft>
              <a:buFont typeface="+mj-lt"/>
              <a:buAutoNum type="arabicPeriod"/>
            </a:pPr>
            <a:r>
              <a:rPr lang="en-US" sz="800">
                <a:solidFill>
                  <a:srgbClr val="000000"/>
                </a:solidFill>
              </a:rPr>
              <a:t>Select</a:t>
            </a:r>
            <a:r>
              <a:rPr lang="en-US" sz="800" b="1">
                <a:solidFill>
                  <a:srgbClr val="000000"/>
                </a:solidFill>
              </a:rPr>
              <a:t> desired </a:t>
            </a:r>
            <a:r>
              <a:rPr lang="en-US" sz="800">
                <a:solidFill>
                  <a:srgbClr val="000000"/>
                </a:solidFill>
              </a:rPr>
              <a:t>image file (.jpg, .</a:t>
            </a:r>
            <a:r>
              <a:rPr lang="en-US" sz="800" err="1">
                <a:solidFill>
                  <a:srgbClr val="000000"/>
                </a:solidFill>
              </a:rPr>
              <a:t>png</a:t>
            </a:r>
            <a:r>
              <a:rPr lang="en-US" sz="800">
                <a:solidFill>
                  <a:srgbClr val="000000"/>
                </a:solidFill>
              </a:rPr>
              <a:t>, .gif)</a:t>
            </a:r>
          </a:p>
          <a:p>
            <a:pPr marL="174625" indent="-174625">
              <a:spcAft>
                <a:spcPts val="400"/>
              </a:spcAft>
              <a:buFont typeface="+mj-lt"/>
              <a:buAutoNum type="arabicPeriod"/>
            </a:pPr>
            <a:endParaRPr lang="en-US" sz="800">
              <a:solidFill>
                <a:srgbClr val="000000"/>
              </a:solidFill>
            </a:endParaRPr>
          </a:p>
        </p:txBody>
      </p:sp>
    </p:spTree>
    <p:extLst>
      <p:ext uri="{BB962C8B-B14F-4D97-AF65-F5344CB8AC3E}">
        <p14:creationId xmlns:p14="http://schemas.microsoft.com/office/powerpoint/2010/main" val="557898445"/>
      </p:ext>
    </p:extLst>
  </p:cSld>
  <p:clrMapOvr>
    <a:masterClrMapping/>
  </p:clrMapOvr>
  <p:extLst>
    <p:ext uri="{DCECCB84-F9BA-43D5-87BE-67443E8EF086}">
      <p15:sldGuideLst xmlns:p15="http://schemas.microsoft.com/office/powerpoint/2012/main">
        <p15:guide id="2" pos="7680">
          <p15:clr>
            <a:srgbClr val="FBAE40"/>
          </p15:clr>
        </p15:guide>
        <p15:guide id="4" pos="3768">
          <p15:clr>
            <a:srgbClr val="A4A3A4"/>
          </p15:clr>
        </p15:guide>
        <p15:guide id="5" pos="3912">
          <p15:clr>
            <a:srgbClr val="A4A3A4"/>
          </p15:clr>
        </p15:guide>
        <p15:guide id="6" pos="7495">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5" name="Slide Number Placeholder">
            <a:extLst>
              <a:ext uri="{FF2B5EF4-FFF2-40B4-BE49-F238E27FC236}">
                <a16:creationId xmlns:a16="http://schemas.microsoft.com/office/drawing/2014/main" id="{334999CC-B0E8-932E-3334-1667B3798F02}"/>
              </a:ext>
            </a:extLst>
          </p:cNvPr>
          <p:cNvSpPr>
            <a:spLocks noGrp="1" noRot="1" noMove="1" noResize="1" noEditPoints="1" noAdjustHandles="1" noChangeArrowheads="1" noChangeShapeType="1"/>
          </p:cNvSpPr>
          <p:nvPr>
            <p:ph type="sldNum" sz="quarter" idx="12"/>
          </p:nvPr>
        </p:nvSpPr>
        <p:spPr/>
        <p:txBody>
          <a:bodyPr/>
          <a:lstStyle/>
          <a:p>
            <a:fld id="{3E04DF46-C0DC-4ADC-9A6F-918CC4703A43}" type="slidenum">
              <a:rPr lang="en-GB" smtClean="0"/>
              <a:t>‹#›</a:t>
            </a:fld>
            <a:endParaRPr lang="en-GB"/>
          </a:p>
        </p:txBody>
      </p:sp>
      <p:sp>
        <p:nvSpPr>
          <p:cNvPr id="4" name="Footer Placeholder">
            <a:extLst>
              <a:ext uri="{FF2B5EF4-FFF2-40B4-BE49-F238E27FC236}">
                <a16:creationId xmlns:a16="http://schemas.microsoft.com/office/drawing/2014/main" id="{CFA438E1-E88D-115E-D3AC-C02C6E11C4BF}"/>
              </a:ext>
            </a:extLst>
          </p:cNvPr>
          <p:cNvSpPr>
            <a:spLocks noGrp="1" noRot="1" noMove="1" noResize="1" noEditPoints="1" noAdjustHandles="1" noChangeArrowheads="1" noChangeShapeType="1"/>
          </p:cNvSpPr>
          <p:nvPr>
            <p:ph type="ftr" sz="quarter" idx="11"/>
          </p:nvPr>
        </p:nvSpPr>
        <p:spPr/>
        <p:txBody>
          <a:bodyPr/>
          <a:lstStyle/>
          <a:p>
            <a:endParaRPr lang="en-GB"/>
          </a:p>
        </p:txBody>
      </p:sp>
      <p:sp>
        <p:nvSpPr>
          <p:cNvPr id="3" name="Date Placeholder">
            <a:extLst>
              <a:ext uri="{FF2B5EF4-FFF2-40B4-BE49-F238E27FC236}">
                <a16:creationId xmlns:a16="http://schemas.microsoft.com/office/drawing/2014/main" id="{A9C7E5F4-8ACB-AE44-BEFF-CFE9E0596F33}"/>
              </a:ext>
            </a:extLst>
          </p:cNvPr>
          <p:cNvSpPr>
            <a:spLocks noGrp="1" noRot="1" noMove="1" noResize="1" noEditPoints="1" noAdjustHandles="1" noChangeArrowheads="1" noChangeShapeType="1"/>
          </p:cNvSpPr>
          <p:nvPr>
            <p:ph type="dt" sz="half" idx="10"/>
          </p:nvPr>
        </p:nvSpPr>
        <p:spPr/>
        <p:txBody>
          <a:bodyPr/>
          <a:lstStyle/>
          <a:p>
            <a:fld id="{1B0DF2C9-7B70-4009-B83E-42FD28295E6A}" type="datetime1">
              <a:rPr lang="en-GB" smtClean="0"/>
              <a:t>18/11/2024</a:t>
            </a:fld>
            <a:endParaRPr lang="en-GB"/>
          </a:p>
        </p:txBody>
      </p:sp>
      <p:sp>
        <p:nvSpPr>
          <p:cNvPr id="12" name="Source Placeholder">
            <a:extLst>
              <a:ext uri="{FF2B5EF4-FFF2-40B4-BE49-F238E27FC236}">
                <a16:creationId xmlns:a16="http://schemas.microsoft.com/office/drawing/2014/main" id="{C3339F06-F87A-3EB3-4646-D4F9A9AC27AC}"/>
              </a:ext>
            </a:extLst>
          </p:cNvPr>
          <p:cNvSpPr>
            <a:spLocks noGrp="1" noRot="1" noMove="1" noResize="1" noEditPoints="1" noAdjustHandles="1" noChangeArrowheads="1" noChangeShapeType="1"/>
          </p:cNvSpPr>
          <p:nvPr>
            <p:ph type="body" sz="quarter" idx="16"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11" name="Content 3 Placeholder">
            <a:extLst>
              <a:ext uri="{FF2B5EF4-FFF2-40B4-BE49-F238E27FC236}">
                <a16:creationId xmlns:a16="http://schemas.microsoft.com/office/drawing/2014/main" id="{F0ADA552-6794-0F4D-013E-A6DA97DBFF4E}"/>
              </a:ext>
            </a:extLst>
          </p:cNvPr>
          <p:cNvSpPr>
            <a:spLocks noGrp="1" noRot="1" noMove="1" noResize="1" noEditPoints="1" noAdjustHandles="1" noChangeArrowheads="1" noChangeShapeType="1"/>
          </p:cNvSpPr>
          <p:nvPr>
            <p:ph sz="quarter" idx="15" hasCustomPrompt="1"/>
          </p:nvPr>
        </p:nvSpPr>
        <p:spPr>
          <a:xfrm>
            <a:off x="8199441" y="2019300"/>
            <a:ext cx="3700459" cy="36576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Header 3 Placeholder">
            <a:extLst>
              <a:ext uri="{FF2B5EF4-FFF2-40B4-BE49-F238E27FC236}">
                <a16:creationId xmlns:a16="http://schemas.microsoft.com/office/drawing/2014/main" id="{2E94C2A3-89CF-36E6-BD07-E465D92FB482}"/>
              </a:ext>
            </a:extLst>
          </p:cNvPr>
          <p:cNvSpPr>
            <a:spLocks noGrp="1" noRot="1" noMove="1" noResize="1" noEditPoints="1" noAdjustHandles="1" noChangeArrowheads="1" noChangeShapeType="1"/>
          </p:cNvSpPr>
          <p:nvPr>
            <p:ph type="body" sz="quarter" idx="14" hasCustomPrompt="1"/>
          </p:nvPr>
        </p:nvSpPr>
        <p:spPr>
          <a:xfrm>
            <a:off x="8199441" y="1308100"/>
            <a:ext cx="3710815"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9" name="Content 2 Placeholder">
            <a:extLst>
              <a:ext uri="{FF2B5EF4-FFF2-40B4-BE49-F238E27FC236}">
                <a16:creationId xmlns:a16="http://schemas.microsoft.com/office/drawing/2014/main" id="{EEE356A3-4F73-532E-E901-63F8001F850D}"/>
              </a:ext>
            </a:extLst>
          </p:cNvPr>
          <p:cNvSpPr>
            <a:spLocks noGrp="1" noRot="1" noMove="1" noResize="1" noEditPoints="1" noAdjustHandles="1" noChangeArrowheads="1" noChangeShapeType="1"/>
          </p:cNvSpPr>
          <p:nvPr>
            <p:ph sz="quarter" idx="4" hasCustomPrompt="1"/>
          </p:nvPr>
        </p:nvSpPr>
        <p:spPr>
          <a:xfrm>
            <a:off x="4245770" y="2019300"/>
            <a:ext cx="3700459" cy="36576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8" name="Header 2 Placeholder">
            <a:extLst>
              <a:ext uri="{FF2B5EF4-FFF2-40B4-BE49-F238E27FC236}">
                <a16:creationId xmlns:a16="http://schemas.microsoft.com/office/drawing/2014/main" id="{BC5A4612-F020-83E1-2D4D-D6D0BB51483B}"/>
              </a:ext>
            </a:extLst>
          </p:cNvPr>
          <p:cNvSpPr>
            <a:spLocks noGrp="1" noRot="1" noMove="1" noResize="1" noEditPoints="1" noAdjustHandles="1" noChangeArrowheads="1" noChangeShapeType="1"/>
          </p:cNvSpPr>
          <p:nvPr>
            <p:ph type="body" sz="quarter" idx="3" hasCustomPrompt="1"/>
          </p:nvPr>
        </p:nvSpPr>
        <p:spPr>
          <a:xfrm>
            <a:off x="4240592" y="1308100"/>
            <a:ext cx="3710815"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7" name="Content 1 Placeholder">
            <a:extLst>
              <a:ext uri="{FF2B5EF4-FFF2-40B4-BE49-F238E27FC236}">
                <a16:creationId xmlns:a16="http://schemas.microsoft.com/office/drawing/2014/main" id="{2EA745BA-CA14-8FD0-05BA-8977508264EA}"/>
              </a:ext>
            </a:extLst>
          </p:cNvPr>
          <p:cNvSpPr>
            <a:spLocks noGrp="1" noRot="1" noMove="1" noResize="1" noEditPoints="1" noAdjustHandles="1" noChangeArrowheads="1" noChangeShapeType="1"/>
          </p:cNvSpPr>
          <p:nvPr>
            <p:ph sz="half" idx="2" hasCustomPrompt="1"/>
          </p:nvPr>
        </p:nvSpPr>
        <p:spPr>
          <a:xfrm>
            <a:off x="292101" y="2019300"/>
            <a:ext cx="3700460" cy="36576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6" name="Header 1 Placeholder">
            <a:extLst>
              <a:ext uri="{FF2B5EF4-FFF2-40B4-BE49-F238E27FC236}">
                <a16:creationId xmlns:a16="http://schemas.microsoft.com/office/drawing/2014/main" id="{97696C2F-B753-BD09-3B16-F91EAC65E0F2}"/>
              </a:ext>
            </a:extLst>
          </p:cNvPr>
          <p:cNvSpPr>
            <a:spLocks noGrp="1" noRot="1" noMove="1" noResize="1" noEditPoints="1" noAdjustHandles="1" noChangeArrowheads="1" noChangeShapeType="1"/>
          </p:cNvSpPr>
          <p:nvPr>
            <p:ph type="body" idx="1" hasCustomPrompt="1"/>
          </p:nvPr>
        </p:nvSpPr>
        <p:spPr>
          <a:xfrm>
            <a:off x="292101" y="1308100"/>
            <a:ext cx="3710815"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28" name="Subtitle Placeholder">
            <a:extLst>
              <a:ext uri="{FF2B5EF4-FFF2-40B4-BE49-F238E27FC236}">
                <a16:creationId xmlns:a16="http://schemas.microsoft.com/office/drawing/2014/main" id="{8C1BA443-5E48-08B0-7F06-D0960B134070}"/>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2" name="Title Placeholder">
            <a:extLst>
              <a:ext uri="{FF2B5EF4-FFF2-40B4-BE49-F238E27FC236}">
                <a16:creationId xmlns:a16="http://schemas.microsoft.com/office/drawing/2014/main" id="{54DD3914-9029-5BF1-3AFD-5FCA9538DDA1}"/>
              </a:ext>
            </a:extLst>
          </p:cNvPr>
          <p:cNvSpPr>
            <a:spLocks noGrp="1" noRot="1" noMove="1" noResize="1" noEditPoints="1" noAdjustHandles="1" noChangeArrowheads="1" noChangeShapeType="1"/>
          </p:cNvSpPr>
          <p:nvPr>
            <p:ph type="title" hasCustomPrompt="1"/>
          </p:nvPr>
        </p:nvSpPr>
        <p:spPr/>
        <p:txBody>
          <a:bodyPr/>
          <a:lstStyle/>
          <a:p>
            <a:r>
              <a:rPr lang="en-US"/>
              <a:t>Insert your slide title in Arial Bold 20pt</a:t>
            </a:r>
            <a:endParaRPr lang="en-GB"/>
          </a:p>
        </p:txBody>
      </p:sp>
    </p:spTree>
    <p:extLst>
      <p:ext uri="{BB962C8B-B14F-4D97-AF65-F5344CB8AC3E}">
        <p14:creationId xmlns:p14="http://schemas.microsoft.com/office/powerpoint/2010/main" val="2469673064"/>
      </p:ext>
    </p:extLst>
  </p:cSld>
  <p:clrMapOvr>
    <a:masterClrMapping/>
  </p:clrMapOvr>
  <p:extLst>
    <p:ext uri="{DCECCB84-F9BA-43D5-87BE-67443E8EF086}">
      <p15:sldGuideLst xmlns:p15="http://schemas.microsoft.com/office/powerpoint/2012/main">
        <p15:guide id="10" pos="2525">
          <p15:clr>
            <a:srgbClr val="FDE53C"/>
          </p15:clr>
        </p15:guide>
        <p15:guide id="11" pos="2669">
          <p15:clr>
            <a:srgbClr val="FDE53C"/>
          </p15:clr>
        </p15:guide>
        <p15:guide id="18" pos="5010">
          <p15:clr>
            <a:srgbClr val="FDE53C"/>
          </p15:clr>
        </p15:guide>
        <p15:guide id="19" pos="5154">
          <p15:clr>
            <a:srgbClr val="FDE53C"/>
          </p15:clr>
        </p15:guide>
        <p15:guide id="22" orient="horz" pos="2304">
          <p15:clr>
            <a:srgbClr val="A4A3A4"/>
          </p15:clr>
        </p15:guide>
        <p15:guide id="23" orient="horz" pos="2232">
          <p15:clr>
            <a:srgbClr val="A4A3A4"/>
          </p15:clr>
        </p15:guide>
        <p15:guide id="24" orient="horz" pos="2376">
          <p15:clr>
            <a:srgbClr val="A4A3A4"/>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ree Image Content">
    <p:spTree>
      <p:nvGrpSpPr>
        <p:cNvPr id="1" name=""/>
        <p:cNvGrpSpPr/>
        <p:nvPr/>
      </p:nvGrpSpPr>
      <p:grpSpPr>
        <a:xfrm>
          <a:off x="0" y="0"/>
          <a:ext cx="0" cy="0"/>
          <a:chOff x="0" y="0"/>
          <a:chExt cx="0" cy="0"/>
        </a:xfrm>
      </p:grpSpPr>
      <p:sp>
        <p:nvSpPr>
          <p:cNvPr id="8" name="Slide Number Placeholder">
            <a:extLst>
              <a:ext uri="{FF2B5EF4-FFF2-40B4-BE49-F238E27FC236}">
                <a16:creationId xmlns:a16="http://schemas.microsoft.com/office/drawing/2014/main" id="{12CCAFAE-C3C1-93DF-1738-B04D08AAA19E}"/>
              </a:ext>
            </a:extLst>
          </p:cNvPr>
          <p:cNvSpPr>
            <a:spLocks noGrp="1" noRot="1" noMove="1" noResize="1" noEditPoints="1" noAdjustHandles="1" noChangeArrowheads="1" noChangeShapeType="1"/>
          </p:cNvSpPr>
          <p:nvPr>
            <p:ph type="sldNum" sz="quarter" idx="12"/>
          </p:nvPr>
        </p:nvSpPr>
        <p:spPr>
          <a:xfrm>
            <a:off x="11495577" y="6495100"/>
            <a:ext cx="404321" cy="282957"/>
          </a:xfrm>
        </p:spPr>
        <p:txBody>
          <a:bodyPr/>
          <a:lstStyle/>
          <a:p>
            <a:fld id="{3E04DF46-C0DC-4ADC-9A6F-918CC4703A43}" type="slidenum">
              <a:rPr lang="en-GB" smtClean="0"/>
              <a:t>‹#›</a:t>
            </a:fld>
            <a:endParaRPr lang="en-GB"/>
          </a:p>
        </p:txBody>
      </p:sp>
      <p:sp>
        <p:nvSpPr>
          <p:cNvPr id="10" name="Footer Placeholder">
            <a:extLst>
              <a:ext uri="{FF2B5EF4-FFF2-40B4-BE49-F238E27FC236}">
                <a16:creationId xmlns:a16="http://schemas.microsoft.com/office/drawing/2014/main" id="{55FFC31E-E405-EE5D-84F4-271FC2E1F99D}"/>
              </a:ext>
            </a:extLst>
          </p:cNvPr>
          <p:cNvSpPr>
            <a:spLocks noGrp="1" noRot="1" noMove="1" noResize="1" noEditPoints="1" noAdjustHandles="1" noChangeArrowheads="1" noChangeShapeType="1"/>
          </p:cNvSpPr>
          <p:nvPr>
            <p:ph type="ftr" sz="quarter" idx="11"/>
          </p:nvPr>
        </p:nvSpPr>
        <p:spPr>
          <a:xfrm>
            <a:off x="3251197" y="6495102"/>
            <a:ext cx="3716341" cy="282957"/>
          </a:xfrm>
        </p:spPr>
        <p:txBody>
          <a:bodyPr/>
          <a:lstStyle/>
          <a:p>
            <a:endParaRPr lang="en-GB"/>
          </a:p>
        </p:txBody>
      </p:sp>
      <p:sp>
        <p:nvSpPr>
          <p:cNvPr id="12" name="Date Placeholder">
            <a:extLst>
              <a:ext uri="{FF2B5EF4-FFF2-40B4-BE49-F238E27FC236}">
                <a16:creationId xmlns:a16="http://schemas.microsoft.com/office/drawing/2014/main" id="{96FC01CD-E391-B88C-4294-55474F60DE8B}"/>
              </a:ext>
            </a:extLst>
          </p:cNvPr>
          <p:cNvSpPr>
            <a:spLocks noGrp="1" noRot="1" noMove="1" noResize="1" noEditPoints="1" noAdjustHandles="1" noChangeArrowheads="1" noChangeShapeType="1"/>
          </p:cNvSpPr>
          <p:nvPr>
            <p:ph type="dt" sz="half" idx="10"/>
          </p:nvPr>
        </p:nvSpPr>
        <p:spPr>
          <a:xfrm>
            <a:off x="2265363" y="6495102"/>
            <a:ext cx="757238" cy="282957"/>
          </a:xfrm>
        </p:spPr>
        <p:txBody>
          <a:bodyPr/>
          <a:lstStyle/>
          <a:p>
            <a:fld id="{1B0DF2C9-7B70-4009-B83E-42FD28295E6A}" type="datetime1">
              <a:rPr lang="en-GB" smtClean="0"/>
              <a:t>18/11/2024</a:t>
            </a:fld>
            <a:endParaRPr lang="en-GB"/>
          </a:p>
        </p:txBody>
      </p:sp>
      <p:sp>
        <p:nvSpPr>
          <p:cNvPr id="16" name="Source Placeholder">
            <a:extLst>
              <a:ext uri="{FF2B5EF4-FFF2-40B4-BE49-F238E27FC236}">
                <a16:creationId xmlns:a16="http://schemas.microsoft.com/office/drawing/2014/main" id="{DC33EFBA-9F80-C4A6-4F52-04BD9D8AD5B9}"/>
              </a:ext>
            </a:extLst>
          </p:cNvPr>
          <p:cNvSpPr>
            <a:spLocks noGrp="1" noRot="1" noMove="1" noResize="1" noEditPoints="1" noAdjustHandles="1" noChangeArrowheads="1" noChangeShapeType="1"/>
          </p:cNvSpPr>
          <p:nvPr>
            <p:ph type="body" sz="quarter" idx="16"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17" name="Content 3 Placeholder">
            <a:extLst>
              <a:ext uri="{FF2B5EF4-FFF2-40B4-BE49-F238E27FC236}">
                <a16:creationId xmlns:a16="http://schemas.microsoft.com/office/drawing/2014/main" id="{19AC42AA-357A-BBCD-7082-438C23F9891C}"/>
              </a:ext>
            </a:extLst>
          </p:cNvPr>
          <p:cNvSpPr>
            <a:spLocks noGrp="1" noRot="1" noMove="1" noResize="1" noEditPoints="1" noAdjustHandles="1" noChangeArrowheads="1" noChangeShapeType="1"/>
          </p:cNvSpPr>
          <p:nvPr>
            <p:ph sz="quarter" idx="17" hasCustomPrompt="1"/>
          </p:nvPr>
        </p:nvSpPr>
        <p:spPr>
          <a:xfrm>
            <a:off x="8199441" y="3771900"/>
            <a:ext cx="3700459" cy="19050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Image/Content 3 Placeholder">
            <a:extLst>
              <a:ext uri="{FF2B5EF4-FFF2-40B4-BE49-F238E27FC236}">
                <a16:creationId xmlns:a16="http://schemas.microsoft.com/office/drawing/2014/main" id="{F0ADA552-6794-0F4D-013E-A6DA97DBFF4E}"/>
              </a:ext>
            </a:extLst>
          </p:cNvPr>
          <p:cNvSpPr>
            <a:spLocks noGrp="1" noRot="1" noMove="1" noResize="1" noEditPoints="1" noAdjustHandles="1" noChangeArrowheads="1" noChangeShapeType="1"/>
          </p:cNvSpPr>
          <p:nvPr>
            <p:ph sz="quarter" idx="15" hasCustomPrompt="1"/>
          </p:nvPr>
        </p:nvSpPr>
        <p:spPr>
          <a:xfrm>
            <a:off x="8199441" y="1638300"/>
            <a:ext cx="3700459" cy="1905000"/>
          </a:xfrm>
          <a:solidFill>
            <a:srgbClr val="F0F0F0"/>
          </a:solidFill>
        </p:spPr>
        <p:txBody>
          <a:bodyPr vert="horz" lIns="0" tIns="0" rIns="0" bIns="0" rtlCol="0" anchor="ctr">
            <a:noAutofit/>
          </a:bodyPr>
          <a:lstStyle>
            <a:lvl1pPr>
              <a:defRPr lang="en-US" dirty="0"/>
            </a:lvl1pPr>
            <a:lvl2pPr marL="285750" indent="0">
              <a:buNone/>
              <a:defRPr lang="en-US" dirty="0"/>
            </a:lvl2pPr>
            <a:lvl3pPr>
              <a:defRPr lang="en-US" dirty="0"/>
            </a:lvl3pPr>
            <a:lvl4pPr>
              <a:defRPr lang="en-US" dirty="0"/>
            </a:lvl4pPr>
            <a:lvl5pPr>
              <a:defRPr lang="en-GB" dirty="0"/>
            </a:lvl5pPr>
          </a:lstStyle>
          <a:p>
            <a:pPr marL="0" lvl="0" indent="0" algn="ctr">
              <a:buNone/>
            </a:pPr>
            <a:r>
              <a:rPr lang="en-US"/>
              <a:t>Insert your copy here</a:t>
            </a:r>
          </a:p>
        </p:txBody>
      </p:sp>
      <p:sp>
        <p:nvSpPr>
          <p:cNvPr id="18" name="Content 2 Placeholder">
            <a:extLst>
              <a:ext uri="{FF2B5EF4-FFF2-40B4-BE49-F238E27FC236}">
                <a16:creationId xmlns:a16="http://schemas.microsoft.com/office/drawing/2014/main" id="{91174CB4-C42A-BB81-5C74-7EAE27158E3E}"/>
              </a:ext>
            </a:extLst>
          </p:cNvPr>
          <p:cNvSpPr>
            <a:spLocks noGrp="1" noRot="1" noMove="1" noResize="1" noEditPoints="1" noAdjustHandles="1" noChangeArrowheads="1" noChangeShapeType="1"/>
          </p:cNvSpPr>
          <p:nvPr>
            <p:ph sz="quarter" idx="18" hasCustomPrompt="1"/>
          </p:nvPr>
        </p:nvSpPr>
        <p:spPr>
          <a:xfrm>
            <a:off x="4245770" y="3771900"/>
            <a:ext cx="3700459" cy="19050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9" name="Image/Content 2 Placeholder">
            <a:extLst>
              <a:ext uri="{FF2B5EF4-FFF2-40B4-BE49-F238E27FC236}">
                <a16:creationId xmlns:a16="http://schemas.microsoft.com/office/drawing/2014/main" id="{EEE356A3-4F73-532E-E901-63F8001F850D}"/>
              </a:ext>
            </a:extLst>
          </p:cNvPr>
          <p:cNvSpPr>
            <a:spLocks noGrp="1" noRot="1" noMove="1" noResize="1" noEditPoints="1" noAdjustHandles="1" noChangeArrowheads="1" noChangeShapeType="1"/>
          </p:cNvSpPr>
          <p:nvPr>
            <p:ph sz="quarter" idx="4" hasCustomPrompt="1"/>
          </p:nvPr>
        </p:nvSpPr>
        <p:spPr>
          <a:xfrm>
            <a:off x="4245770" y="1638300"/>
            <a:ext cx="3700459" cy="1905000"/>
          </a:xfrm>
          <a:solidFill>
            <a:srgbClr val="F0F0F0"/>
          </a:solidFill>
        </p:spPr>
        <p:txBody>
          <a:bodyPr vert="horz" lIns="0" tIns="0" rIns="0" bIns="0" rtlCol="0" anchor="ctr">
            <a:noAutofit/>
          </a:bodyPr>
          <a:lstStyle>
            <a:lvl1pPr>
              <a:defRPr lang="en-US" dirty="0"/>
            </a:lvl1pPr>
            <a:lvl2pPr>
              <a:defRPr lang="en-US" dirty="0"/>
            </a:lvl2pPr>
            <a:lvl3pPr>
              <a:defRPr lang="en-US" dirty="0"/>
            </a:lvl3pPr>
            <a:lvl4pPr>
              <a:defRPr lang="en-US" dirty="0"/>
            </a:lvl4pPr>
            <a:lvl5pPr>
              <a:defRPr lang="en-GB" dirty="0"/>
            </a:lvl5pPr>
          </a:lstStyle>
          <a:p>
            <a:pPr marL="0" lvl="0" indent="0" algn="ctr">
              <a:buNone/>
            </a:pPr>
            <a:r>
              <a:rPr lang="en-US"/>
              <a:t>Insert your copy here</a:t>
            </a:r>
          </a:p>
        </p:txBody>
      </p:sp>
      <p:sp>
        <p:nvSpPr>
          <p:cNvPr id="19" name="Content 1 Placeholder">
            <a:extLst>
              <a:ext uri="{FF2B5EF4-FFF2-40B4-BE49-F238E27FC236}">
                <a16:creationId xmlns:a16="http://schemas.microsoft.com/office/drawing/2014/main" id="{20DCDE7D-AA2C-B7B3-8FBD-202D432B2BCF}"/>
              </a:ext>
            </a:extLst>
          </p:cNvPr>
          <p:cNvSpPr>
            <a:spLocks noGrp="1" noRot="1" noMove="1" noResize="1" noEditPoints="1" noAdjustHandles="1" noChangeArrowheads="1" noChangeShapeType="1"/>
          </p:cNvSpPr>
          <p:nvPr>
            <p:ph sz="half" idx="19" hasCustomPrompt="1"/>
          </p:nvPr>
        </p:nvSpPr>
        <p:spPr>
          <a:xfrm>
            <a:off x="292101" y="3771900"/>
            <a:ext cx="3700460" cy="19050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7" name="Image/Content 1 Placeholder">
            <a:extLst>
              <a:ext uri="{FF2B5EF4-FFF2-40B4-BE49-F238E27FC236}">
                <a16:creationId xmlns:a16="http://schemas.microsoft.com/office/drawing/2014/main" id="{2EA745BA-CA14-8FD0-05BA-8977508264EA}"/>
              </a:ext>
            </a:extLst>
          </p:cNvPr>
          <p:cNvSpPr>
            <a:spLocks noGrp="1" noRot="1" noMove="1" noResize="1" noEditPoints="1" noAdjustHandles="1" noChangeArrowheads="1" noChangeShapeType="1"/>
          </p:cNvSpPr>
          <p:nvPr>
            <p:ph sz="half" idx="2" hasCustomPrompt="1"/>
          </p:nvPr>
        </p:nvSpPr>
        <p:spPr>
          <a:xfrm>
            <a:off x="292101" y="1638300"/>
            <a:ext cx="3700460" cy="1905000"/>
          </a:xfrm>
          <a:solidFill>
            <a:srgbClr val="F0F0F0"/>
          </a:solidFill>
        </p:spPr>
        <p:txBody>
          <a:bodyPr anchor="ctr">
            <a:noAutofit/>
          </a:bodyPr>
          <a:lstStyle>
            <a:lvl1pPr marL="0" indent="0" algn="ctr">
              <a:buNone/>
              <a:defRPr/>
            </a:lvl1pPr>
          </a:lstStyle>
          <a:p>
            <a:pPr lvl="0"/>
            <a:r>
              <a:rPr lang="en-GB"/>
              <a:t>Insert content</a:t>
            </a:r>
          </a:p>
        </p:txBody>
      </p:sp>
      <p:sp>
        <p:nvSpPr>
          <p:cNvPr id="20" name="Subtitle Placeholder">
            <a:extLst>
              <a:ext uri="{FF2B5EF4-FFF2-40B4-BE49-F238E27FC236}">
                <a16:creationId xmlns:a16="http://schemas.microsoft.com/office/drawing/2014/main" id="{54C4B065-17A6-1D25-422B-92271767584C}"/>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21" name="Title Placeholder">
            <a:extLst>
              <a:ext uri="{FF2B5EF4-FFF2-40B4-BE49-F238E27FC236}">
                <a16:creationId xmlns:a16="http://schemas.microsoft.com/office/drawing/2014/main" id="{F79F3FC7-37DD-5A7A-D505-4F22DDE24874}"/>
              </a:ext>
            </a:extLst>
          </p:cNvPr>
          <p:cNvSpPr>
            <a:spLocks noGrp="1" noRot="1" noMove="1" noResize="1" noEditPoints="1" noAdjustHandles="1" noChangeArrowheads="1" noChangeShapeType="1"/>
          </p:cNvSpPr>
          <p:nvPr>
            <p:ph type="title" hasCustomPrompt="1"/>
          </p:nvPr>
        </p:nvSpPr>
        <p:spPr>
          <a:xfrm>
            <a:off x="292100" y="304800"/>
            <a:ext cx="11613314" cy="265590"/>
          </a:xfrm>
        </p:spPr>
        <p:txBody>
          <a:bodyPr/>
          <a:lstStyle/>
          <a:p>
            <a:r>
              <a:rPr lang="en-US"/>
              <a:t>Insert your slide title in Arial Bold 20pt</a:t>
            </a:r>
            <a:endParaRPr lang="en-GB"/>
          </a:p>
        </p:txBody>
      </p:sp>
    </p:spTree>
    <p:extLst>
      <p:ext uri="{BB962C8B-B14F-4D97-AF65-F5344CB8AC3E}">
        <p14:creationId xmlns:p14="http://schemas.microsoft.com/office/powerpoint/2010/main" val="2601480795"/>
      </p:ext>
    </p:extLst>
  </p:cSld>
  <p:clrMapOvr>
    <a:masterClrMapping/>
  </p:clrMapOvr>
  <p:extLst>
    <p:ext uri="{DCECCB84-F9BA-43D5-87BE-67443E8EF086}">
      <p15:sldGuideLst xmlns:p15="http://schemas.microsoft.com/office/powerpoint/2012/main">
        <p15:guide id="10" pos="2525">
          <p15:clr>
            <a:srgbClr val="FDE53C"/>
          </p15:clr>
        </p15:guide>
        <p15:guide id="11" pos="2669">
          <p15:clr>
            <a:srgbClr val="FDE53C"/>
          </p15:clr>
        </p15:guide>
        <p15:guide id="18" pos="5010">
          <p15:clr>
            <a:srgbClr val="FDE53C"/>
          </p15:clr>
        </p15:guide>
        <p15:guide id="19" pos="5154">
          <p15:clr>
            <a:srgbClr val="FDE53C"/>
          </p15:clr>
        </p15:guide>
        <p15:guide id="22" orient="horz" pos="2304">
          <p15:clr>
            <a:srgbClr val="A4A3A4"/>
          </p15:clr>
        </p15:guide>
        <p15:guide id="23" orient="horz" pos="2232">
          <p15:clr>
            <a:srgbClr val="A4A3A4"/>
          </p15:clr>
        </p15:guide>
        <p15:guide id="24" orient="horz" pos="2376">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Dark Sidebar">
    <p:bg>
      <p:bgRef idx="1001">
        <a:schemeClr val="bg1"/>
      </p:bgRef>
    </p:bg>
    <p:spTree>
      <p:nvGrpSpPr>
        <p:cNvPr id="1" name=""/>
        <p:cNvGrpSpPr/>
        <p:nvPr/>
      </p:nvGrpSpPr>
      <p:grpSpPr>
        <a:xfrm>
          <a:off x="0" y="0"/>
          <a:ext cx="0" cy="0"/>
          <a:chOff x="0" y="0"/>
          <a:chExt cx="0" cy="0"/>
        </a:xfrm>
      </p:grpSpPr>
      <p:sp>
        <p:nvSpPr>
          <p:cNvPr id="7" name="Static Light Bkgd">
            <a:extLst>
              <a:ext uri="{FF2B5EF4-FFF2-40B4-BE49-F238E27FC236}">
                <a16:creationId xmlns:a16="http://schemas.microsoft.com/office/drawing/2014/main" id="{D1093FDC-ACBE-C97A-79EC-30B506F35131}"/>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Block Bkgd">
            <a:extLst>
              <a:ext uri="{FF2B5EF4-FFF2-40B4-BE49-F238E27FC236}">
                <a16:creationId xmlns:a16="http://schemas.microsoft.com/office/drawing/2014/main" id="{61051253-1566-C6AD-277E-C41693FE3B9F}"/>
              </a:ext>
            </a:extLst>
          </p:cNvPr>
          <p:cNvSpPr>
            <a:spLocks noGrp="1" noRot="1" noMove="1" noResize="1" noEditPoints="1" noAdjustHandles="1" noChangeArrowheads="1" noChangeShapeType="1"/>
          </p:cNvSpPr>
          <p:nvPr userDrawn="1"/>
        </p:nvSpPr>
        <p:spPr>
          <a:xfrm>
            <a:off x="0" y="0"/>
            <a:ext cx="4002916"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GB" err="1"/>
          </a:p>
        </p:txBody>
      </p:sp>
      <p:cxnSp>
        <p:nvCxnSpPr>
          <p:cNvPr id="16" name="Base Rule">
            <a:extLst>
              <a:ext uri="{FF2B5EF4-FFF2-40B4-BE49-F238E27FC236}">
                <a16:creationId xmlns:a16="http://schemas.microsoft.com/office/drawing/2014/main" id="{A76E5B64-AFD0-1002-8187-608F612A25A9}"/>
              </a:ext>
            </a:extLst>
          </p:cNvPr>
          <p:cNvCxnSpPr>
            <a:cxnSpLocks noGrp="1" noRot="1" noMove="1" noResize="1" noEditPoints="1" noAdjustHandles="1" noChangeArrowheads="1" noChangeShapeType="1"/>
          </p:cNvCxnSpPr>
          <p:nvPr userDrawn="1"/>
        </p:nvCxnSpPr>
        <p:spPr>
          <a:xfrm>
            <a:off x="4237038" y="6395755"/>
            <a:ext cx="7662863" cy="0"/>
          </a:xfrm>
          <a:prstGeom prst="line">
            <a:avLst/>
          </a:prstGeom>
          <a:ln w="12700">
            <a:solidFill>
              <a:srgbClr val="555555"/>
            </a:solidFill>
          </a:ln>
        </p:spPr>
        <p:style>
          <a:lnRef idx="1">
            <a:schemeClr val="accent1"/>
          </a:lnRef>
          <a:fillRef idx="0">
            <a:schemeClr val="accent1"/>
          </a:fillRef>
          <a:effectRef idx="0">
            <a:schemeClr val="accent1"/>
          </a:effectRef>
          <a:fontRef idx="minor">
            <a:schemeClr val="tx1"/>
          </a:fontRef>
        </p:style>
      </p:cxnSp>
      <p:sp>
        <p:nvSpPr>
          <p:cNvPr id="27" name="Slide Number Placeholder">
            <a:extLst>
              <a:ext uri="{FF2B5EF4-FFF2-40B4-BE49-F238E27FC236}">
                <a16:creationId xmlns:a16="http://schemas.microsoft.com/office/drawing/2014/main" id="{6FB508FF-12E5-30CD-260F-1D79AD32367C}"/>
              </a:ext>
            </a:extLst>
          </p:cNvPr>
          <p:cNvSpPr>
            <a:spLocks noGrp="1" noRot="1" noMove="1" noResize="1" noEditPoints="1" noAdjustHandles="1" noChangeArrowheads="1" noChangeShapeType="1"/>
          </p:cNvSpPr>
          <p:nvPr>
            <p:ph type="sldNum" sz="quarter" idx="12"/>
          </p:nvPr>
        </p:nvSpPr>
        <p:spPr/>
        <p:txBody>
          <a:bodyPr/>
          <a:lstStyle/>
          <a:p>
            <a:fld id="{3E04DF46-C0DC-4ADC-9A6F-918CC4703A43}" type="slidenum">
              <a:rPr lang="en-GB" smtClean="0"/>
              <a:pPr/>
              <a:t>‹#›</a:t>
            </a:fld>
            <a:endParaRPr lang="en-GB"/>
          </a:p>
        </p:txBody>
      </p:sp>
      <p:sp>
        <p:nvSpPr>
          <p:cNvPr id="14" name="Copyright Line">
            <a:extLst>
              <a:ext uri="{FF2B5EF4-FFF2-40B4-BE49-F238E27FC236}">
                <a16:creationId xmlns:a16="http://schemas.microsoft.com/office/drawing/2014/main" id="{ABBC6E03-863D-FD63-7C57-491D7ADA71AD}"/>
              </a:ext>
            </a:extLst>
          </p:cNvPr>
          <p:cNvSpPr txBox="1">
            <a:spLocks noGrp="1" noRot="1" noMove="1" noResize="1" noEditPoints="1" noAdjustHandles="1" noChangeArrowheads="1" noChangeShapeType="1"/>
          </p:cNvSpPr>
          <p:nvPr userDrawn="1"/>
        </p:nvSpPr>
        <p:spPr>
          <a:xfrm>
            <a:off x="9167809" y="6526850"/>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a:t>
            </a:r>
            <a:fld id="{92E70860-886D-4303-B2B5-BD1295E1FD39}" type="datetimeyyyy">
              <a:rPr lang="en-US" sz="700" smtClean="0">
                <a:solidFill>
                  <a:schemeClr val="tx1">
                    <a:lumMod val="40000"/>
                    <a:lumOff val="60000"/>
                  </a:schemeClr>
                </a:solidFill>
              </a:rPr>
              <a:t>2024</a:t>
            </a:fld>
            <a:r>
              <a:rPr lang="en-US" sz="700">
                <a:solidFill>
                  <a:schemeClr val="tx1">
                    <a:lumMod val="40000"/>
                    <a:lumOff val="60000"/>
                  </a:schemeClr>
                </a:solidFill>
              </a:rPr>
              <a:t> Nielsen Consumer LLC. All Rights Reserved.</a:t>
            </a:r>
          </a:p>
        </p:txBody>
      </p:sp>
      <p:sp>
        <p:nvSpPr>
          <p:cNvPr id="4" name="Confidential disclaimer">
            <a:extLst>
              <a:ext uri="{FF2B5EF4-FFF2-40B4-BE49-F238E27FC236}">
                <a16:creationId xmlns:a16="http://schemas.microsoft.com/office/drawing/2014/main" id="{C0846810-8BC5-01F8-F631-25773D837541}"/>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26" name="Footer Placeholder">
            <a:extLst>
              <a:ext uri="{FF2B5EF4-FFF2-40B4-BE49-F238E27FC236}">
                <a16:creationId xmlns:a16="http://schemas.microsoft.com/office/drawing/2014/main" id="{E183FCE9-1380-C908-3210-D1CC81C316CD}"/>
              </a:ext>
            </a:extLst>
          </p:cNvPr>
          <p:cNvSpPr>
            <a:spLocks noGrp="1" noRot="1" noMove="1" noResize="1" noEditPoints="1" noAdjustHandles="1" noChangeArrowheads="1" noChangeShapeType="1"/>
          </p:cNvSpPr>
          <p:nvPr>
            <p:ph type="ftr" sz="quarter" idx="11"/>
          </p:nvPr>
        </p:nvSpPr>
        <p:spPr>
          <a:xfrm>
            <a:off x="4237038" y="6485399"/>
            <a:ext cx="3056524" cy="282957"/>
          </a:xfrm>
        </p:spPr>
        <p:txBody>
          <a:bodyPr/>
          <a:lstStyle/>
          <a:p>
            <a:endParaRPr lang="en-GB"/>
          </a:p>
        </p:txBody>
      </p:sp>
      <p:sp>
        <p:nvSpPr>
          <p:cNvPr id="10" name="Source Placeholder">
            <a:extLst>
              <a:ext uri="{FF2B5EF4-FFF2-40B4-BE49-F238E27FC236}">
                <a16:creationId xmlns:a16="http://schemas.microsoft.com/office/drawing/2014/main" id="{77FED749-9C39-81DD-7428-E91EAF740A97}"/>
              </a:ext>
            </a:extLst>
          </p:cNvPr>
          <p:cNvSpPr>
            <a:spLocks noGrp="1" noRot="1" noMove="1" noResize="1" noEditPoints="1" noAdjustHandles="1" noChangeArrowheads="1" noChangeShapeType="1"/>
          </p:cNvSpPr>
          <p:nvPr>
            <p:ph type="body" sz="quarter" idx="14" hasCustomPrompt="1"/>
          </p:nvPr>
        </p:nvSpPr>
        <p:spPr>
          <a:xfrm>
            <a:off x="4237036" y="6108700"/>
            <a:ext cx="7662864"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13" name="Content Placeholder">
            <a:extLst>
              <a:ext uri="{FF2B5EF4-FFF2-40B4-BE49-F238E27FC236}">
                <a16:creationId xmlns:a16="http://schemas.microsoft.com/office/drawing/2014/main" id="{4EA26CDB-5FFD-8E65-BB9F-B583607F097C}"/>
              </a:ext>
            </a:extLst>
          </p:cNvPr>
          <p:cNvSpPr>
            <a:spLocks noGrp="1" noRot="1" noMove="1" noResize="1" noEditPoints="1" noAdjustHandles="1" noChangeArrowheads="1" noChangeShapeType="1"/>
          </p:cNvSpPr>
          <p:nvPr>
            <p:ph sz="quarter" idx="15"/>
          </p:nvPr>
        </p:nvSpPr>
        <p:spPr>
          <a:xfrm>
            <a:off x="4237038" y="1219200"/>
            <a:ext cx="7662862" cy="4457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ubtitle Placeholder">
            <a:extLst>
              <a:ext uri="{FF2B5EF4-FFF2-40B4-BE49-F238E27FC236}">
                <a16:creationId xmlns:a16="http://schemas.microsoft.com/office/drawing/2014/main" id="{811C7246-8A71-F257-DB0D-3E1F23CE6970}"/>
              </a:ext>
            </a:extLst>
          </p:cNvPr>
          <p:cNvSpPr>
            <a:spLocks noGrp="1" noRot="1" noMove="1" noResize="1" noEditPoints="1" noAdjustHandles="1" noChangeArrowheads="1" noChangeShapeType="1"/>
          </p:cNvSpPr>
          <p:nvPr>
            <p:ph type="body" idx="1" hasCustomPrompt="1"/>
          </p:nvPr>
        </p:nvSpPr>
        <p:spPr>
          <a:xfrm>
            <a:off x="292100" y="3945964"/>
            <a:ext cx="3409043" cy="1500187"/>
          </a:xfrm>
        </p:spPr>
        <p:txBody>
          <a:bodyPr>
            <a:noAutofit/>
          </a:bodyPr>
          <a:lstStyle>
            <a:lvl1pPr marL="0" indent="0">
              <a:buNone/>
              <a:defRPr sz="20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add section subtitle</a:t>
            </a:r>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1219200"/>
            <a:ext cx="3409043" cy="2401887"/>
          </a:xfrm>
        </p:spPr>
        <p:txBody>
          <a:bodyPr anchor="b">
            <a:noAutofit/>
          </a:bodyPr>
          <a:lstStyle>
            <a:lvl1pPr>
              <a:defRPr sz="4400">
                <a:solidFill>
                  <a:schemeClr val="bg1"/>
                </a:solidFill>
              </a:defRPr>
            </a:lvl1pPr>
          </a:lstStyle>
          <a:p>
            <a:r>
              <a:rPr lang="en-US"/>
              <a:t>Section header</a:t>
            </a:r>
            <a:endParaRPr lang="en-GB"/>
          </a:p>
        </p:txBody>
      </p:sp>
      <p:pic>
        <p:nvPicPr>
          <p:cNvPr id="8" name="NIQ GFK Lockup" hidden="1">
            <a:extLst>
              <a:ext uri="{FF2B5EF4-FFF2-40B4-BE49-F238E27FC236}">
                <a16:creationId xmlns:a16="http://schemas.microsoft.com/office/drawing/2014/main" id="{23E903F1-B6FB-BED6-3501-293C1130DA4F}"/>
              </a:ext>
            </a:extLst>
          </p:cNvPr>
          <p:cNvPicPr>
            <a:picLocks noGrp="1" noRo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5" name="NielsenIQ logo+wordmark" descr="A blue text on a black background&#10;&#10;Description automatically generated" hidden="1">
            <a:extLst>
              <a:ext uri="{FF2B5EF4-FFF2-40B4-BE49-F238E27FC236}">
                <a16:creationId xmlns:a16="http://schemas.microsoft.com/office/drawing/2014/main" id="{E5214B10-6ABB-0EB3-4E33-9E9E477DD15A}"/>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tretch>
            <a:fillRect/>
          </a:stretch>
        </p:blipFill>
        <p:spPr>
          <a:xfrm>
            <a:off x="290130" y="6495154"/>
            <a:ext cx="781433" cy="269593"/>
          </a:xfrm>
          <a:prstGeom prst="rect">
            <a:avLst/>
          </a:prstGeom>
        </p:spPr>
      </p:pic>
      <p:pic>
        <p:nvPicPr>
          <p:cNvPr id="6" name="NIQ Logo">
            <a:extLst>
              <a:ext uri="{FF2B5EF4-FFF2-40B4-BE49-F238E27FC236}">
                <a16:creationId xmlns:a16="http://schemas.microsoft.com/office/drawing/2014/main" id="{A9B1FD76-BF8D-8EEE-6EC7-E0AC284E58CD}"/>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1052128184"/>
      </p:ext>
    </p:extLst>
  </p:cSld>
  <p:clrMapOvr>
    <a:overrideClrMapping bg1="lt1" tx1="dk1" bg2="lt2" tx2="dk2" accent1="accent1" accent2="accent2" accent3="accent3" accent4="accent4" accent5="accent5" accent6="accent6" hlink="hlink" folHlink="folHlink"/>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5" name="Slide Number Placeholder">
            <a:extLst>
              <a:ext uri="{FF2B5EF4-FFF2-40B4-BE49-F238E27FC236}">
                <a16:creationId xmlns:a16="http://schemas.microsoft.com/office/drawing/2014/main" id="{D495B8CC-E8CB-7F1A-1316-9781EDA12852}"/>
              </a:ext>
            </a:extLst>
          </p:cNvPr>
          <p:cNvSpPr>
            <a:spLocks noGrp="1" noRot="1" noMove="1" noResize="1" noEditPoints="1" noAdjustHandles="1" noChangeArrowheads="1" noChangeShapeType="1"/>
          </p:cNvSpPr>
          <p:nvPr>
            <p:ph type="sldNum" sz="quarter" idx="12"/>
          </p:nvPr>
        </p:nvSpPr>
        <p:spPr>
          <a:xfrm>
            <a:off x="11495577" y="6495100"/>
            <a:ext cx="404321" cy="282957"/>
          </a:xfrm>
        </p:spPr>
        <p:txBody>
          <a:bodyPr>
            <a:noAutofit/>
          </a:bodyPr>
          <a:lstStyle/>
          <a:p>
            <a:fld id="{3E04DF46-C0DC-4ADC-9A6F-918CC4703A43}" type="slidenum">
              <a:rPr lang="en-GB" smtClean="0"/>
              <a:t>‹#›</a:t>
            </a:fld>
            <a:endParaRPr lang="en-GB"/>
          </a:p>
        </p:txBody>
      </p:sp>
      <p:sp>
        <p:nvSpPr>
          <p:cNvPr id="16" name="Footer Placeholder">
            <a:extLst>
              <a:ext uri="{FF2B5EF4-FFF2-40B4-BE49-F238E27FC236}">
                <a16:creationId xmlns:a16="http://schemas.microsoft.com/office/drawing/2014/main" id="{755874C6-354E-0479-18AF-0B5B6F2D8DBE}"/>
              </a:ext>
            </a:extLst>
          </p:cNvPr>
          <p:cNvSpPr>
            <a:spLocks noGrp="1" noRot="1" noMove="1" noResize="1" noEditPoints="1" noAdjustHandles="1" noChangeArrowheads="1" noChangeShapeType="1"/>
          </p:cNvSpPr>
          <p:nvPr>
            <p:ph type="ftr" sz="quarter" idx="11"/>
          </p:nvPr>
        </p:nvSpPr>
        <p:spPr>
          <a:xfrm>
            <a:off x="3251197" y="6495102"/>
            <a:ext cx="3716341" cy="282957"/>
          </a:xfrm>
        </p:spPr>
        <p:txBody>
          <a:bodyPr>
            <a:noAutofit/>
          </a:bodyPr>
          <a:lstStyle/>
          <a:p>
            <a:endParaRPr lang="en-GB"/>
          </a:p>
        </p:txBody>
      </p:sp>
      <p:sp>
        <p:nvSpPr>
          <p:cNvPr id="17" name="Date Placeholder">
            <a:extLst>
              <a:ext uri="{FF2B5EF4-FFF2-40B4-BE49-F238E27FC236}">
                <a16:creationId xmlns:a16="http://schemas.microsoft.com/office/drawing/2014/main" id="{7C2D774A-7DFB-C505-8D80-D8FC261E9546}"/>
              </a:ext>
            </a:extLst>
          </p:cNvPr>
          <p:cNvSpPr>
            <a:spLocks noGrp="1" noRot="1" noMove="1" noResize="1" noEditPoints="1" noAdjustHandles="1" noChangeArrowheads="1" noChangeShapeType="1"/>
          </p:cNvSpPr>
          <p:nvPr>
            <p:ph type="dt" sz="half" idx="10"/>
          </p:nvPr>
        </p:nvSpPr>
        <p:spPr>
          <a:xfrm>
            <a:off x="2265363" y="6495102"/>
            <a:ext cx="757238" cy="282957"/>
          </a:xfrm>
        </p:spPr>
        <p:txBody>
          <a:bodyPr>
            <a:noAutofit/>
          </a:bodyPr>
          <a:lstStyle/>
          <a:p>
            <a:fld id="{1B0DF2C9-7B70-4009-B83E-42FD28295E6A}" type="datetime1">
              <a:rPr lang="en-GB" smtClean="0"/>
              <a:t>18/11/2024</a:t>
            </a:fld>
            <a:endParaRPr lang="en-GB"/>
          </a:p>
        </p:txBody>
      </p:sp>
      <p:sp>
        <p:nvSpPr>
          <p:cNvPr id="18" name="Source Placeholder">
            <a:extLst>
              <a:ext uri="{FF2B5EF4-FFF2-40B4-BE49-F238E27FC236}">
                <a16:creationId xmlns:a16="http://schemas.microsoft.com/office/drawing/2014/main" id="{1D1442CA-AA80-3CCA-30CB-BC1CBF625A18}"/>
              </a:ext>
            </a:extLst>
          </p:cNvPr>
          <p:cNvSpPr>
            <a:spLocks noGrp="1" noRot="1" noMove="1" noResize="1" noEditPoints="1" noAdjustHandles="1" noChangeArrowheads="1" noChangeShapeType="1"/>
          </p:cNvSpPr>
          <p:nvPr>
            <p:ph type="body" sz="quarter" idx="16"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27" name="Content 4 Placeholder">
            <a:extLst>
              <a:ext uri="{FF2B5EF4-FFF2-40B4-BE49-F238E27FC236}">
                <a16:creationId xmlns:a16="http://schemas.microsoft.com/office/drawing/2014/main" id="{7C2B5AD6-A6E3-3B28-9679-4CAA49FFC4B5}"/>
              </a:ext>
            </a:extLst>
          </p:cNvPr>
          <p:cNvSpPr>
            <a:spLocks noGrp="1" noRot="1" noMove="1" noResize="1" noEditPoints="1" noAdjustHandles="1" noChangeArrowheads="1" noChangeShapeType="1"/>
          </p:cNvSpPr>
          <p:nvPr>
            <p:ph sz="quarter" idx="17" hasCustomPrompt="1"/>
          </p:nvPr>
        </p:nvSpPr>
        <p:spPr>
          <a:xfrm>
            <a:off x="9169401" y="2019300"/>
            <a:ext cx="2725320" cy="36576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Header 4 Placeholder">
            <a:extLst>
              <a:ext uri="{FF2B5EF4-FFF2-40B4-BE49-F238E27FC236}">
                <a16:creationId xmlns:a16="http://schemas.microsoft.com/office/drawing/2014/main" id="{46CE2237-C386-E5C2-9850-234FCD6F5569}"/>
              </a:ext>
            </a:extLst>
          </p:cNvPr>
          <p:cNvSpPr>
            <a:spLocks noGrp="1" noRot="1" noMove="1" noResize="1" noEditPoints="1" noAdjustHandles="1" noChangeArrowheads="1" noChangeShapeType="1"/>
          </p:cNvSpPr>
          <p:nvPr>
            <p:ph type="body" sz="quarter" idx="18" hasCustomPrompt="1"/>
          </p:nvPr>
        </p:nvSpPr>
        <p:spPr>
          <a:xfrm>
            <a:off x="9169401" y="1308100"/>
            <a:ext cx="2730499"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19" name="Content 3 Placeholder">
            <a:extLst>
              <a:ext uri="{FF2B5EF4-FFF2-40B4-BE49-F238E27FC236}">
                <a16:creationId xmlns:a16="http://schemas.microsoft.com/office/drawing/2014/main" id="{9D282216-D102-1092-A42F-C09C78C616B5}"/>
              </a:ext>
            </a:extLst>
          </p:cNvPr>
          <p:cNvSpPr>
            <a:spLocks noGrp="1" noRot="1" noMove="1" noResize="1" noEditPoints="1" noAdjustHandles="1" noChangeArrowheads="1" noChangeShapeType="1"/>
          </p:cNvSpPr>
          <p:nvPr>
            <p:ph sz="quarter" idx="15" hasCustomPrompt="1"/>
          </p:nvPr>
        </p:nvSpPr>
        <p:spPr>
          <a:xfrm>
            <a:off x="6215481" y="2019300"/>
            <a:ext cx="2725320" cy="36576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Header 3 Placeholder">
            <a:extLst>
              <a:ext uri="{FF2B5EF4-FFF2-40B4-BE49-F238E27FC236}">
                <a16:creationId xmlns:a16="http://schemas.microsoft.com/office/drawing/2014/main" id="{DF86DE8F-0F64-3718-C7A3-3C0DA008E36D}"/>
              </a:ext>
            </a:extLst>
          </p:cNvPr>
          <p:cNvSpPr>
            <a:spLocks noGrp="1" noRot="1" noMove="1" noResize="1" noEditPoints="1" noAdjustHandles="1" noChangeArrowheads="1" noChangeShapeType="1"/>
          </p:cNvSpPr>
          <p:nvPr>
            <p:ph type="body" sz="quarter" idx="14" hasCustomPrompt="1"/>
          </p:nvPr>
        </p:nvSpPr>
        <p:spPr>
          <a:xfrm>
            <a:off x="6215481" y="1308100"/>
            <a:ext cx="2730499"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21" name="Content 2 Placeholder">
            <a:extLst>
              <a:ext uri="{FF2B5EF4-FFF2-40B4-BE49-F238E27FC236}">
                <a16:creationId xmlns:a16="http://schemas.microsoft.com/office/drawing/2014/main" id="{0C107B28-6253-BBE5-A677-D106A288FC6C}"/>
              </a:ext>
            </a:extLst>
          </p:cNvPr>
          <p:cNvSpPr>
            <a:spLocks noGrp="1" noRot="1" noMove="1" noResize="1" noEditPoints="1" noAdjustHandles="1" noChangeArrowheads="1" noChangeShapeType="1"/>
          </p:cNvSpPr>
          <p:nvPr>
            <p:ph sz="quarter" idx="4" hasCustomPrompt="1"/>
          </p:nvPr>
        </p:nvSpPr>
        <p:spPr>
          <a:xfrm>
            <a:off x="3251201" y="2019300"/>
            <a:ext cx="2725320" cy="36576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Header 2 Placeholder">
            <a:extLst>
              <a:ext uri="{FF2B5EF4-FFF2-40B4-BE49-F238E27FC236}">
                <a16:creationId xmlns:a16="http://schemas.microsoft.com/office/drawing/2014/main" id="{F576DA41-4177-FBCB-15CA-5D5CFC03D6E9}"/>
              </a:ext>
            </a:extLst>
          </p:cNvPr>
          <p:cNvSpPr>
            <a:spLocks noGrp="1" noRot="1" noMove="1" noResize="1" noEditPoints="1" noAdjustHandles="1" noChangeArrowheads="1" noChangeShapeType="1"/>
          </p:cNvSpPr>
          <p:nvPr>
            <p:ph type="body" sz="quarter" idx="3" hasCustomPrompt="1"/>
          </p:nvPr>
        </p:nvSpPr>
        <p:spPr>
          <a:xfrm>
            <a:off x="3251201" y="1308100"/>
            <a:ext cx="2730499"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23" name="Content 1 Placeholder">
            <a:extLst>
              <a:ext uri="{FF2B5EF4-FFF2-40B4-BE49-F238E27FC236}">
                <a16:creationId xmlns:a16="http://schemas.microsoft.com/office/drawing/2014/main" id="{798BF9BC-09E8-98E1-3853-58189E5CB995}"/>
              </a:ext>
            </a:extLst>
          </p:cNvPr>
          <p:cNvSpPr>
            <a:spLocks noGrp="1" noRot="1" noMove="1" noResize="1" noEditPoints="1" noAdjustHandles="1" noChangeArrowheads="1" noChangeShapeType="1"/>
          </p:cNvSpPr>
          <p:nvPr>
            <p:ph sz="half" idx="2" hasCustomPrompt="1"/>
          </p:nvPr>
        </p:nvSpPr>
        <p:spPr>
          <a:xfrm>
            <a:off x="292101" y="2019300"/>
            <a:ext cx="2725321" cy="36576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Header 1 Placeholder">
            <a:extLst>
              <a:ext uri="{FF2B5EF4-FFF2-40B4-BE49-F238E27FC236}">
                <a16:creationId xmlns:a16="http://schemas.microsoft.com/office/drawing/2014/main" id="{3DBA9534-E843-A204-0F9A-0F01FA425735}"/>
              </a:ext>
            </a:extLst>
          </p:cNvPr>
          <p:cNvSpPr>
            <a:spLocks noGrp="1" noRot="1" noMove="1" noResize="1" noEditPoints="1" noAdjustHandles="1" noChangeArrowheads="1" noChangeShapeType="1"/>
          </p:cNvSpPr>
          <p:nvPr>
            <p:ph type="body" idx="1" hasCustomPrompt="1"/>
          </p:nvPr>
        </p:nvSpPr>
        <p:spPr>
          <a:xfrm>
            <a:off x="292101" y="1308100"/>
            <a:ext cx="2730499"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25" name="Subtitle Placeholder">
            <a:extLst>
              <a:ext uri="{FF2B5EF4-FFF2-40B4-BE49-F238E27FC236}">
                <a16:creationId xmlns:a16="http://schemas.microsoft.com/office/drawing/2014/main" id="{F84E48B2-4370-582F-FBFE-E1DA1A8B91CE}"/>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26" name="Title Placeholder">
            <a:extLst>
              <a:ext uri="{FF2B5EF4-FFF2-40B4-BE49-F238E27FC236}">
                <a16:creationId xmlns:a16="http://schemas.microsoft.com/office/drawing/2014/main" id="{3E0B6312-F182-139F-C3A4-F69C900CC487}"/>
              </a:ext>
            </a:extLst>
          </p:cNvPr>
          <p:cNvSpPr>
            <a:spLocks noGrp="1" noRot="1" noMove="1" noResize="1" noEditPoints="1" noAdjustHandles="1" noChangeArrowheads="1" noChangeShapeType="1"/>
          </p:cNvSpPr>
          <p:nvPr>
            <p:ph type="title" hasCustomPrompt="1"/>
          </p:nvPr>
        </p:nvSpPr>
        <p:spPr>
          <a:xfrm>
            <a:off x="292100" y="304800"/>
            <a:ext cx="11613314" cy="265590"/>
          </a:xfrm>
        </p:spPr>
        <p:txBody>
          <a:bodyPr>
            <a:noAutofit/>
          </a:bodyPr>
          <a:lstStyle/>
          <a:p>
            <a:r>
              <a:rPr lang="en-US"/>
              <a:t>Insert your slide title in Arial Bold 20pt</a:t>
            </a:r>
            <a:endParaRPr lang="en-GB"/>
          </a:p>
        </p:txBody>
      </p:sp>
    </p:spTree>
    <p:extLst>
      <p:ext uri="{BB962C8B-B14F-4D97-AF65-F5344CB8AC3E}">
        <p14:creationId xmlns:p14="http://schemas.microsoft.com/office/powerpoint/2010/main" val="149297789"/>
      </p:ext>
    </p:extLst>
  </p:cSld>
  <p:clrMapOvr>
    <a:masterClrMapping/>
  </p:clrMapOvr>
  <p:extLst>
    <p:ext uri="{DCECCB84-F9BA-43D5-87BE-67443E8EF086}">
      <p15:sldGuideLst xmlns:p15="http://schemas.microsoft.com/office/powerpoint/2012/main">
        <p15:guide id="8" pos="1904">
          <p15:clr>
            <a:srgbClr val="5ACBF0"/>
          </p15:clr>
        </p15:guide>
        <p15:guide id="9" pos="2048">
          <p15:clr>
            <a:srgbClr val="5ACBF0"/>
          </p15:clr>
        </p15:guide>
        <p15:guide id="14" pos="3768">
          <p15:clr>
            <a:srgbClr val="A4A3A4"/>
          </p15:clr>
        </p15:guide>
        <p15:guide id="15" pos="3912">
          <p15:clr>
            <a:srgbClr val="A4A3A4"/>
          </p15:clr>
        </p15:guide>
        <p15:guide id="20" pos="5631">
          <p15:clr>
            <a:srgbClr val="5ACBF0"/>
          </p15:clr>
        </p15:guide>
        <p15:guide id="21" pos="5775">
          <p15:clr>
            <a:srgbClr val="5ACBF0"/>
          </p15:clr>
        </p15:guide>
        <p15:guide id="22" orient="horz" pos="2304">
          <p15:clr>
            <a:srgbClr val="A4A3A4"/>
          </p15:clr>
        </p15:guide>
        <p15:guide id="23" orient="horz" pos="2232">
          <p15:clr>
            <a:srgbClr val="A4A3A4"/>
          </p15:clr>
        </p15:guide>
        <p15:guide id="24" orient="horz" pos="2376">
          <p15:clr>
            <a:srgbClr val="A4A3A4"/>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8" name="Slide Number Placeholder">
            <a:extLst>
              <a:ext uri="{FF2B5EF4-FFF2-40B4-BE49-F238E27FC236}">
                <a16:creationId xmlns:a16="http://schemas.microsoft.com/office/drawing/2014/main" id="{63BBECEB-ADAD-567C-0E7F-32D5DD73D228}"/>
              </a:ext>
            </a:extLst>
          </p:cNvPr>
          <p:cNvSpPr>
            <a:spLocks noGrp="1" noRot="1" noMove="1" noResize="1" noEditPoints="1" noAdjustHandles="1" noChangeArrowheads="1" noChangeShapeType="1"/>
          </p:cNvSpPr>
          <p:nvPr>
            <p:ph type="sldNum" sz="quarter" idx="12"/>
          </p:nvPr>
        </p:nvSpPr>
        <p:spPr>
          <a:xfrm>
            <a:off x="11495577" y="6495100"/>
            <a:ext cx="404321" cy="282957"/>
          </a:xfrm>
        </p:spPr>
        <p:txBody>
          <a:bodyPr>
            <a:noAutofit/>
          </a:bodyPr>
          <a:lstStyle/>
          <a:p>
            <a:fld id="{3E04DF46-C0DC-4ADC-9A6F-918CC4703A43}" type="slidenum">
              <a:rPr lang="en-GB" smtClean="0"/>
              <a:t>‹#›</a:t>
            </a:fld>
            <a:endParaRPr lang="en-GB"/>
          </a:p>
        </p:txBody>
      </p:sp>
      <p:sp>
        <p:nvSpPr>
          <p:cNvPr id="10" name="Footer Placeholder">
            <a:extLst>
              <a:ext uri="{FF2B5EF4-FFF2-40B4-BE49-F238E27FC236}">
                <a16:creationId xmlns:a16="http://schemas.microsoft.com/office/drawing/2014/main" id="{4CE5B1DD-3293-4063-F7F1-B70B9765EBB6}"/>
              </a:ext>
            </a:extLst>
          </p:cNvPr>
          <p:cNvSpPr>
            <a:spLocks noGrp="1" noRot="1" noMove="1" noResize="1" noEditPoints="1" noAdjustHandles="1" noChangeArrowheads="1" noChangeShapeType="1"/>
          </p:cNvSpPr>
          <p:nvPr>
            <p:ph type="ftr" sz="quarter" idx="11"/>
          </p:nvPr>
        </p:nvSpPr>
        <p:spPr>
          <a:xfrm>
            <a:off x="3251197" y="6495102"/>
            <a:ext cx="3716341" cy="282957"/>
          </a:xfrm>
        </p:spPr>
        <p:txBody>
          <a:bodyPr>
            <a:noAutofit/>
          </a:bodyPr>
          <a:lstStyle/>
          <a:p>
            <a:endParaRPr lang="en-GB"/>
          </a:p>
        </p:txBody>
      </p:sp>
      <p:sp>
        <p:nvSpPr>
          <p:cNvPr id="12" name="Date Placeholder">
            <a:extLst>
              <a:ext uri="{FF2B5EF4-FFF2-40B4-BE49-F238E27FC236}">
                <a16:creationId xmlns:a16="http://schemas.microsoft.com/office/drawing/2014/main" id="{2B42008E-A492-279B-2ED3-A175F4B44689}"/>
              </a:ext>
            </a:extLst>
          </p:cNvPr>
          <p:cNvSpPr>
            <a:spLocks noGrp="1" noRot="1" noMove="1" noResize="1" noEditPoints="1" noAdjustHandles="1" noChangeArrowheads="1" noChangeShapeType="1"/>
          </p:cNvSpPr>
          <p:nvPr>
            <p:ph type="dt" sz="half" idx="10"/>
          </p:nvPr>
        </p:nvSpPr>
        <p:spPr>
          <a:xfrm>
            <a:off x="2265363" y="6495102"/>
            <a:ext cx="757238" cy="282957"/>
          </a:xfrm>
        </p:spPr>
        <p:txBody>
          <a:bodyPr>
            <a:noAutofit/>
          </a:bodyPr>
          <a:lstStyle/>
          <a:p>
            <a:fld id="{1B0DF2C9-7B70-4009-B83E-42FD28295E6A}" type="datetime1">
              <a:rPr lang="en-GB" smtClean="0"/>
              <a:t>18/11/2024</a:t>
            </a:fld>
            <a:endParaRPr lang="en-GB"/>
          </a:p>
        </p:txBody>
      </p:sp>
      <p:sp>
        <p:nvSpPr>
          <p:cNvPr id="18" name="Source Placeholder">
            <a:extLst>
              <a:ext uri="{FF2B5EF4-FFF2-40B4-BE49-F238E27FC236}">
                <a16:creationId xmlns:a16="http://schemas.microsoft.com/office/drawing/2014/main" id="{B58D918B-E5ED-CEFD-AC78-E2B63F48FCBF}"/>
              </a:ext>
            </a:extLst>
          </p:cNvPr>
          <p:cNvSpPr>
            <a:spLocks noGrp="1" noRot="1" noMove="1" noResize="1" noEditPoints="1" noAdjustHandles="1" noChangeArrowheads="1" noChangeShapeType="1"/>
          </p:cNvSpPr>
          <p:nvPr>
            <p:ph type="body" sz="quarter" idx="16"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27" name="Content 4 Placeholder">
            <a:extLst>
              <a:ext uri="{FF2B5EF4-FFF2-40B4-BE49-F238E27FC236}">
                <a16:creationId xmlns:a16="http://schemas.microsoft.com/office/drawing/2014/main" id="{144A1808-BD26-954C-7A7D-83EEA82BA694}"/>
              </a:ext>
            </a:extLst>
          </p:cNvPr>
          <p:cNvSpPr>
            <a:spLocks noGrp="1" noRot="1" noMove="1" noResize="1" noEditPoints="1" noAdjustHandles="1" noChangeArrowheads="1" noChangeShapeType="1"/>
          </p:cNvSpPr>
          <p:nvPr>
            <p:ph sz="quarter" idx="20" hasCustomPrompt="1"/>
          </p:nvPr>
        </p:nvSpPr>
        <p:spPr>
          <a:xfrm>
            <a:off x="9169398" y="3771900"/>
            <a:ext cx="2730499" cy="19050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Image/Content 4 Placeholder">
            <a:extLst>
              <a:ext uri="{FF2B5EF4-FFF2-40B4-BE49-F238E27FC236}">
                <a16:creationId xmlns:a16="http://schemas.microsoft.com/office/drawing/2014/main" id="{8FC58B79-91D4-E705-AA46-09881D8F6B63}"/>
              </a:ext>
            </a:extLst>
          </p:cNvPr>
          <p:cNvSpPr>
            <a:spLocks noGrp="1" noRot="1" noMove="1" noResize="1" noEditPoints="1" noAdjustHandles="1" noChangeArrowheads="1" noChangeShapeType="1"/>
          </p:cNvSpPr>
          <p:nvPr>
            <p:ph sz="quarter" idx="21" hasCustomPrompt="1"/>
          </p:nvPr>
        </p:nvSpPr>
        <p:spPr>
          <a:xfrm>
            <a:off x="9169398" y="1638300"/>
            <a:ext cx="2730499" cy="1905000"/>
          </a:xfrm>
          <a:solidFill>
            <a:srgbClr val="F0F0F0"/>
          </a:solidFill>
        </p:spPr>
        <p:txBody>
          <a:bodyPr vert="horz" lIns="0" tIns="0" rIns="0" bIns="0" rtlCol="0" anchor="ctr">
            <a:noAutofit/>
          </a:bodyPr>
          <a:lstStyle>
            <a:lvl1pPr>
              <a:defRPr lang="en-US" dirty="0"/>
            </a:lvl1pPr>
            <a:lvl2pPr marL="285750" indent="0">
              <a:buNone/>
              <a:defRPr lang="en-US" dirty="0"/>
            </a:lvl2pPr>
            <a:lvl3pPr>
              <a:defRPr lang="en-US" dirty="0"/>
            </a:lvl3pPr>
            <a:lvl4pPr>
              <a:defRPr lang="en-US" dirty="0"/>
            </a:lvl4pPr>
            <a:lvl5pPr>
              <a:defRPr lang="en-GB" dirty="0"/>
            </a:lvl5pPr>
          </a:lstStyle>
          <a:p>
            <a:pPr marL="0" lvl="0" indent="0" algn="ctr">
              <a:buNone/>
            </a:pPr>
            <a:r>
              <a:rPr lang="en-US"/>
              <a:t>Insert your copy here</a:t>
            </a:r>
          </a:p>
        </p:txBody>
      </p:sp>
      <p:sp>
        <p:nvSpPr>
          <p:cNvPr id="19" name="Content 3 Placeholder">
            <a:extLst>
              <a:ext uri="{FF2B5EF4-FFF2-40B4-BE49-F238E27FC236}">
                <a16:creationId xmlns:a16="http://schemas.microsoft.com/office/drawing/2014/main" id="{1C68F5D6-927B-1890-8237-531EC33D8216}"/>
              </a:ext>
            </a:extLst>
          </p:cNvPr>
          <p:cNvSpPr>
            <a:spLocks noGrp="1" noRot="1" noMove="1" noResize="1" noEditPoints="1" noAdjustHandles="1" noChangeArrowheads="1" noChangeShapeType="1"/>
          </p:cNvSpPr>
          <p:nvPr>
            <p:ph sz="quarter" idx="17" hasCustomPrompt="1"/>
          </p:nvPr>
        </p:nvSpPr>
        <p:spPr>
          <a:xfrm>
            <a:off x="6210300" y="3771900"/>
            <a:ext cx="2730499" cy="19050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Image/Content 3 Placeholder">
            <a:extLst>
              <a:ext uri="{FF2B5EF4-FFF2-40B4-BE49-F238E27FC236}">
                <a16:creationId xmlns:a16="http://schemas.microsoft.com/office/drawing/2014/main" id="{6A6CF041-3B02-7A63-A899-5A7D01696A1C}"/>
              </a:ext>
            </a:extLst>
          </p:cNvPr>
          <p:cNvSpPr>
            <a:spLocks noGrp="1" noRot="1" noMove="1" noResize="1" noEditPoints="1" noAdjustHandles="1" noChangeArrowheads="1" noChangeShapeType="1"/>
          </p:cNvSpPr>
          <p:nvPr>
            <p:ph sz="quarter" idx="15" hasCustomPrompt="1"/>
          </p:nvPr>
        </p:nvSpPr>
        <p:spPr>
          <a:xfrm>
            <a:off x="6210300" y="1638300"/>
            <a:ext cx="2730499" cy="1905000"/>
          </a:xfrm>
          <a:solidFill>
            <a:srgbClr val="F0F0F0"/>
          </a:solidFill>
        </p:spPr>
        <p:txBody>
          <a:bodyPr vert="horz" lIns="0" tIns="0" rIns="0" bIns="0" rtlCol="0" anchor="ctr">
            <a:noAutofit/>
          </a:bodyPr>
          <a:lstStyle>
            <a:lvl1pPr>
              <a:defRPr lang="en-US" dirty="0"/>
            </a:lvl1pPr>
            <a:lvl2pPr marL="285750" indent="0">
              <a:buNone/>
              <a:defRPr lang="en-US" dirty="0"/>
            </a:lvl2pPr>
            <a:lvl3pPr>
              <a:defRPr lang="en-US" dirty="0"/>
            </a:lvl3pPr>
            <a:lvl4pPr>
              <a:defRPr lang="en-US" dirty="0"/>
            </a:lvl4pPr>
            <a:lvl5pPr>
              <a:defRPr lang="en-GB" dirty="0"/>
            </a:lvl5pPr>
          </a:lstStyle>
          <a:p>
            <a:pPr marL="0" lvl="0" indent="0" algn="ctr">
              <a:buNone/>
            </a:pPr>
            <a:r>
              <a:rPr lang="en-US"/>
              <a:t>Insert your copy here</a:t>
            </a:r>
          </a:p>
        </p:txBody>
      </p:sp>
      <p:sp>
        <p:nvSpPr>
          <p:cNvPr id="21" name="Content 2 Placeholder">
            <a:extLst>
              <a:ext uri="{FF2B5EF4-FFF2-40B4-BE49-F238E27FC236}">
                <a16:creationId xmlns:a16="http://schemas.microsoft.com/office/drawing/2014/main" id="{D738D949-C558-6B16-B96A-624CAABF5C50}"/>
              </a:ext>
            </a:extLst>
          </p:cNvPr>
          <p:cNvSpPr>
            <a:spLocks noGrp="1" noRot="1" noMove="1" noResize="1" noEditPoints="1" noAdjustHandles="1" noChangeArrowheads="1" noChangeShapeType="1"/>
          </p:cNvSpPr>
          <p:nvPr>
            <p:ph sz="quarter" idx="18" hasCustomPrompt="1"/>
          </p:nvPr>
        </p:nvSpPr>
        <p:spPr>
          <a:xfrm>
            <a:off x="3251202" y="3771900"/>
            <a:ext cx="2730499" cy="19050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Image/Content 2 Placeholder">
            <a:extLst>
              <a:ext uri="{FF2B5EF4-FFF2-40B4-BE49-F238E27FC236}">
                <a16:creationId xmlns:a16="http://schemas.microsoft.com/office/drawing/2014/main" id="{5F2A25EF-6714-B247-2DB2-B0DC035CA2AD}"/>
              </a:ext>
            </a:extLst>
          </p:cNvPr>
          <p:cNvSpPr>
            <a:spLocks noGrp="1" noRot="1" noMove="1" noResize="1" noEditPoints="1" noAdjustHandles="1" noChangeArrowheads="1" noChangeShapeType="1"/>
          </p:cNvSpPr>
          <p:nvPr>
            <p:ph sz="quarter" idx="4" hasCustomPrompt="1"/>
          </p:nvPr>
        </p:nvSpPr>
        <p:spPr>
          <a:xfrm>
            <a:off x="3251202" y="1638300"/>
            <a:ext cx="2730499" cy="1905000"/>
          </a:xfrm>
          <a:solidFill>
            <a:srgbClr val="F0F0F0"/>
          </a:solidFill>
        </p:spPr>
        <p:txBody>
          <a:bodyPr vert="horz" lIns="0" tIns="0" rIns="0" bIns="0" rtlCol="0" anchor="ctr">
            <a:noAutofit/>
          </a:bodyPr>
          <a:lstStyle>
            <a:lvl1pPr>
              <a:defRPr lang="en-US" dirty="0"/>
            </a:lvl1pPr>
            <a:lvl2pPr>
              <a:defRPr lang="en-US" dirty="0"/>
            </a:lvl2pPr>
            <a:lvl3pPr>
              <a:defRPr lang="en-US" dirty="0"/>
            </a:lvl3pPr>
            <a:lvl4pPr>
              <a:defRPr lang="en-US" dirty="0"/>
            </a:lvl4pPr>
            <a:lvl5pPr>
              <a:defRPr lang="en-GB" dirty="0"/>
            </a:lvl5pPr>
          </a:lstStyle>
          <a:p>
            <a:pPr marL="0" lvl="0" indent="0" algn="ctr">
              <a:buNone/>
            </a:pPr>
            <a:r>
              <a:rPr lang="en-US"/>
              <a:t>Insert your copy here</a:t>
            </a:r>
          </a:p>
        </p:txBody>
      </p:sp>
      <p:sp>
        <p:nvSpPr>
          <p:cNvPr id="23" name="Content 1 Placeholder">
            <a:extLst>
              <a:ext uri="{FF2B5EF4-FFF2-40B4-BE49-F238E27FC236}">
                <a16:creationId xmlns:a16="http://schemas.microsoft.com/office/drawing/2014/main" id="{9B7A0767-D64A-2252-7ED8-79BDD2A28568}"/>
              </a:ext>
            </a:extLst>
          </p:cNvPr>
          <p:cNvSpPr>
            <a:spLocks noGrp="1" noRot="1" noMove="1" noResize="1" noEditPoints="1" noAdjustHandles="1" noChangeArrowheads="1" noChangeShapeType="1"/>
          </p:cNvSpPr>
          <p:nvPr>
            <p:ph sz="half" idx="19" hasCustomPrompt="1"/>
          </p:nvPr>
        </p:nvSpPr>
        <p:spPr>
          <a:xfrm>
            <a:off x="292101" y="3771900"/>
            <a:ext cx="2730500" cy="19050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Image/Content 1 Placeholder">
            <a:extLst>
              <a:ext uri="{FF2B5EF4-FFF2-40B4-BE49-F238E27FC236}">
                <a16:creationId xmlns:a16="http://schemas.microsoft.com/office/drawing/2014/main" id="{ACCC2EE9-2558-5373-EC90-280A39D1898C}"/>
              </a:ext>
            </a:extLst>
          </p:cNvPr>
          <p:cNvSpPr>
            <a:spLocks noGrp="1" noRot="1" noMove="1" noResize="1" noEditPoints="1" noAdjustHandles="1" noChangeArrowheads="1" noChangeShapeType="1"/>
          </p:cNvSpPr>
          <p:nvPr>
            <p:ph sz="half" idx="2" hasCustomPrompt="1"/>
          </p:nvPr>
        </p:nvSpPr>
        <p:spPr>
          <a:xfrm>
            <a:off x="292101" y="1638300"/>
            <a:ext cx="2730500" cy="1905000"/>
          </a:xfrm>
          <a:solidFill>
            <a:srgbClr val="F0F0F0"/>
          </a:solidFill>
        </p:spPr>
        <p:txBody>
          <a:bodyPr anchor="ctr">
            <a:noAutofit/>
          </a:bodyPr>
          <a:lstStyle>
            <a:lvl1pPr marL="0" indent="0" algn="ctr">
              <a:buNone/>
              <a:defRPr/>
            </a:lvl1pPr>
          </a:lstStyle>
          <a:p>
            <a:pPr lvl="0"/>
            <a:r>
              <a:rPr lang="en-GB"/>
              <a:t>Insert content</a:t>
            </a:r>
          </a:p>
        </p:txBody>
      </p:sp>
      <p:sp>
        <p:nvSpPr>
          <p:cNvPr id="25" name="Subtitle Placeholder">
            <a:extLst>
              <a:ext uri="{FF2B5EF4-FFF2-40B4-BE49-F238E27FC236}">
                <a16:creationId xmlns:a16="http://schemas.microsoft.com/office/drawing/2014/main" id="{377C48EF-B0F0-FB83-53E1-3E98D8DF9286}"/>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26" name="Title Placeholder">
            <a:extLst>
              <a:ext uri="{FF2B5EF4-FFF2-40B4-BE49-F238E27FC236}">
                <a16:creationId xmlns:a16="http://schemas.microsoft.com/office/drawing/2014/main" id="{11AA0F79-4C10-AAB7-4E1A-A1143BCD44DC}"/>
              </a:ext>
            </a:extLst>
          </p:cNvPr>
          <p:cNvSpPr>
            <a:spLocks noGrp="1" noRot="1" noMove="1" noResize="1" noEditPoints="1" noAdjustHandles="1" noChangeArrowheads="1" noChangeShapeType="1"/>
          </p:cNvSpPr>
          <p:nvPr>
            <p:ph type="title" hasCustomPrompt="1"/>
          </p:nvPr>
        </p:nvSpPr>
        <p:spPr>
          <a:xfrm>
            <a:off x="292100" y="304800"/>
            <a:ext cx="11613314" cy="265590"/>
          </a:xfrm>
        </p:spPr>
        <p:txBody>
          <a:bodyPr>
            <a:noAutofit/>
          </a:bodyPr>
          <a:lstStyle/>
          <a:p>
            <a:r>
              <a:rPr lang="en-US"/>
              <a:t>Insert your slide title in Arial Bold 20pt</a:t>
            </a:r>
            <a:endParaRPr lang="en-GB"/>
          </a:p>
        </p:txBody>
      </p:sp>
    </p:spTree>
    <p:extLst>
      <p:ext uri="{BB962C8B-B14F-4D97-AF65-F5344CB8AC3E}">
        <p14:creationId xmlns:p14="http://schemas.microsoft.com/office/powerpoint/2010/main" val="454543590"/>
      </p:ext>
    </p:extLst>
  </p:cSld>
  <p:clrMapOvr>
    <a:masterClrMapping/>
  </p:clrMapOvr>
  <p:extLst>
    <p:ext uri="{DCECCB84-F9BA-43D5-87BE-67443E8EF086}">
      <p15:sldGuideLst xmlns:p15="http://schemas.microsoft.com/office/powerpoint/2012/main">
        <p15:guide id="8" pos="1904">
          <p15:clr>
            <a:srgbClr val="5ACBF0"/>
          </p15:clr>
        </p15:guide>
        <p15:guide id="9" pos="2048">
          <p15:clr>
            <a:srgbClr val="5ACBF0"/>
          </p15:clr>
        </p15:guide>
        <p15:guide id="14" pos="3768">
          <p15:clr>
            <a:srgbClr val="A4A3A4"/>
          </p15:clr>
        </p15:guide>
        <p15:guide id="15" pos="3912">
          <p15:clr>
            <a:srgbClr val="A4A3A4"/>
          </p15:clr>
        </p15:guide>
        <p15:guide id="20" pos="5631">
          <p15:clr>
            <a:srgbClr val="5ACBF0"/>
          </p15:clr>
        </p15:guide>
        <p15:guide id="21" pos="5775">
          <p15:clr>
            <a:srgbClr val="5ACBF0"/>
          </p15:clr>
        </p15:guide>
        <p15:guide id="22" orient="horz" pos="2304">
          <p15:clr>
            <a:srgbClr val="A4A3A4"/>
          </p15:clr>
        </p15:guide>
        <p15:guide id="23" orient="horz" pos="2232">
          <p15:clr>
            <a:srgbClr val="A4A3A4"/>
          </p15:clr>
        </p15:guide>
        <p15:guide id="24" orient="horz" pos="2376">
          <p15:clr>
            <a:srgbClr val="A4A3A4"/>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Laptop">
    <p:spTree>
      <p:nvGrpSpPr>
        <p:cNvPr id="1" name=""/>
        <p:cNvGrpSpPr/>
        <p:nvPr/>
      </p:nvGrpSpPr>
      <p:grpSpPr>
        <a:xfrm>
          <a:off x="0" y="0"/>
          <a:ext cx="0" cy="0"/>
          <a:chOff x="0" y="0"/>
          <a:chExt cx="0" cy="0"/>
        </a:xfrm>
      </p:grpSpPr>
      <p:grpSp>
        <p:nvGrpSpPr>
          <p:cNvPr id="12" name="Laptop Frame">
            <a:extLst>
              <a:ext uri="{FF2B5EF4-FFF2-40B4-BE49-F238E27FC236}">
                <a16:creationId xmlns:a16="http://schemas.microsoft.com/office/drawing/2014/main" id="{28CA7E52-1DEF-001D-23AD-F3A1C94F9472}"/>
              </a:ext>
            </a:extLst>
          </p:cNvPr>
          <p:cNvGrpSpPr>
            <a:grpSpLocks noGrp="1" noUngrp="1" noRot="1" noMove="1" noResize="1"/>
          </p:cNvGrpSpPr>
          <p:nvPr userDrawn="1"/>
        </p:nvGrpSpPr>
        <p:grpSpPr>
          <a:xfrm>
            <a:off x="4124687" y="1638300"/>
            <a:ext cx="7893777" cy="4138018"/>
            <a:chOff x="3936001" y="1448418"/>
            <a:chExt cx="8256000" cy="4327900"/>
          </a:xfrm>
        </p:grpSpPr>
        <p:pic>
          <p:nvPicPr>
            <p:cNvPr id="13" name="Shape">
              <a:extLst>
                <a:ext uri="{FF2B5EF4-FFF2-40B4-BE49-F238E27FC236}">
                  <a16:creationId xmlns:a16="http://schemas.microsoft.com/office/drawing/2014/main" id="{2AB0D041-303A-5AF4-862E-A74ACD791CB8}"/>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14" name="Redact">
              <a:extLst>
                <a:ext uri="{FF2B5EF4-FFF2-40B4-BE49-F238E27FC236}">
                  <a16:creationId xmlns:a16="http://schemas.microsoft.com/office/drawing/2014/main" id="{A4E3EFDE-C5ED-BDD5-F21C-80D4CA71AD88}"/>
                </a:ext>
              </a:extLst>
            </p:cNvPr>
            <p:cNvSpPr>
              <a:spLocks noGrp="1" noRot="1" noMove="1" noResize="1" noEditPoints="1" noAdjustHandles="1" noChangeArrowheads="1" noChangeShapeType="1"/>
            </p:cNvSpPr>
            <p:nvPr userDrawn="1"/>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sp>
        <p:nvSpPr>
          <p:cNvPr id="15" name="Picture Placeholder">
            <a:extLst>
              <a:ext uri="{FF2B5EF4-FFF2-40B4-BE49-F238E27FC236}">
                <a16:creationId xmlns:a16="http://schemas.microsoft.com/office/drawing/2014/main" id="{74F0AE2B-B9B7-3100-37FB-FCDFB48EDE79}"/>
              </a:ext>
            </a:extLst>
          </p:cNvPr>
          <p:cNvSpPr>
            <a:spLocks noGrp="1" noRot="1" noMove="1" noResize="1" noEditPoints="1" noAdjustHandles="1" noChangeArrowheads="1" noChangeShapeType="1"/>
          </p:cNvSpPr>
          <p:nvPr>
            <p:ph type="pic" sz="quarter" idx="17" hasCustomPrompt="1"/>
          </p:nvPr>
        </p:nvSpPr>
        <p:spPr bwMode="gray">
          <a:xfrm>
            <a:off x="5290128" y="1739900"/>
            <a:ext cx="5566620" cy="3619500"/>
          </a:xfrm>
          <a:prstGeom prst="roundRect">
            <a:avLst>
              <a:gd name="adj" fmla="val 1482"/>
            </a:avLst>
          </a:prstGeom>
          <a:solidFill>
            <a:schemeClr val="tx1"/>
          </a:solidFill>
        </p:spPr>
        <p:txBody>
          <a:bodyPr anchor="ctr" anchorCtr="0">
            <a:noAutofit/>
          </a:bodyPr>
          <a:lstStyle>
            <a:lvl1pPr marL="0" indent="0" algn="ctr">
              <a:buNone/>
              <a:defRPr>
                <a:solidFill>
                  <a:schemeClr val="bg1"/>
                </a:solidFill>
              </a:defRPr>
            </a:lvl1pPr>
          </a:lstStyle>
          <a:p>
            <a:r>
              <a:rPr lang="en-GB"/>
              <a:t> Click picture icon to add photo</a:t>
            </a:r>
          </a:p>
        </p:txBody>
      </p:sp>
      <p:sp>
        <p:nvSpPr>
          <p:cNvPr id="9" name="Slide Number Placeholder">
            <a:extLst>
              <a:ext uri="{FF2B5EF4-FFF2-40B4-BE49-F238E27FC236}">
                <a16:creationId xmlns:a16="http://schemas.microsoft.com/office/drawing/2014/main" id="{F40ED59A-96CE-38E9-B955-808CAC1BBE93}"/>
              </a:ext>
            </a:extLst>
          </p:cNvPr>
          <p:cNvSpPr>
            <a:spLocks noGrp="1" noRot="1" noMove="1" noResize="1" noEditPoints="1" noAdjustHandles="1" noChangeArrowheads="1" noChangeShapeType="1"/>
          </p:cNvSpPr>
          <p:nvPr>
            <p:ph type="sldNum" sz="quarter" idx="12"/>
          </p:nvPr>
        </p:nvSpPr>
        <p:spPr>
          <a:xfrm>
            <a:off x="11495577" y="6495100"/>
            <a:ext cx="404321" cy="282957"/>
          </a:xfrm>
        </p:spPr>
        <p:txBody>
          <a:bodyPr>
            <a:noAutofit/>
          </a:bodyPr>
          <a:lstStyle/>
          <a:p>
            <a:fld id="{3E04DF46-C0DC-4ADC-9A6F-918CC4703A43}" type="slidenum">
              <a:rPr lang="en-GB" smtClean="0"/>
              <a:t>‹#›</a:t>
            </a:fld>
            <a:endParaRPr lang="en-GB"/>
          </a:p>
        </p:txBody>
      </p:sp>
      <p:sp>
        <p:nvSpPr>
          <p:cNvPr id="10" name="Footer Placeholder">
            <a:extLst>
              <a:ext uri="{FF2B5EF4-FFF2-40B4-BE49-F238E27FC236}">
                <a16:creationId xmlns:a16="http://schemas.microsoft.com/office/drawing/2014/main" id="{12ABF694-3377-ED1E-A0A9-F03E499ECE50}"/>
              </a:ext>
            </a:extLst>
          </p:cNvPr>
          <p:cNvSpPr>
            <a:spLocks noGrp="1" noRot="1" noMove="1" noResize="1" noEditPoints="1" noAdjustHandles="1" noChangeArrowheads="1" noChangeShapeType="1"/>
          </p:cNvSpPr>
          <p:nvPr>
            <p:ph type="ftr" sz="quarter" idx="11"/>
          </p:nvPr>
        </p:nvSpPr>
        <p:spPr>
          <a:xfrm>
            <a:off x="3251197" y="6495102"/>
            <a:ext cx="3716341" cy="282957"/>
          </a:xfrm>
        </p:spPr>
        <p:txBody>
          <a:bodyPr>
            <a:noAutofit/>
          </a:bodyPr>
          <a:lstStyle/>
          <a:p>
            <a:endParaRPr lang="en-GB"/>
          </a:p>
        </p:txBody>
      </p:sp>
      <p:sp>
        <p:nvSpPr>
          <p:cNvPr id="11" name="Date Placeholder">
            <a:extLst>
              <a:ext uri="{FF2B5EF4-FFF2-40B4-BE49-F238E27FC236}">
                <a16:creationId xmlns:a16="http://schemas.microsoft.com/office/drawing/2014/main" id="{6C70B518-71FA-524B-8A6C-76B2F1192A03}"/>
              </a:ext>
            </a:extLst>
          </p:cNvPr>
          <p:cNvSpPr>
            <a:spLocks noGrp="1" noRot="1" noMove="1" noResize="1" noEditPoints="1" noAdjustHandles="1" noChangeArrowheads="1" noChangeShapeType="1"/>
          </p:cNvSpPr>
          <p:nvPr>
            <p:ph type="dt" sz="half" idx="10"/>
          </p:nvPr>
        </p:nvSpPr>
        <p:spPr>
          <a:xfrm>
            <a:off x="2265363" y="6495102"/>
            <a:ext cx="757238" cy="282957"/>
          </a:xfrm>
        </p:spPr>
        <p:txBody>
          <a:bodyPr>
            <a:noAutofit/>
          </a:bodyPr>
          <a:lstStyle/>
          <a:p>
            <a:fld id="{A95ACABD-257F-48AB-94D3-B913B9097175}" type="datetime1">
              <a:rPr lang="en-GB" smtClean="0"/>
              <a:t>18/11/2024</a:t>
            </a:fld>
            <a:endParaRPr lang="en-GB"/>
          </a:p>
        </p:txBody>
      </p:sp>
      <p:sp>
        <p:nvSpPr>
          <p:cNvPr id="16" name="Source Placeholder">
            <a:extLst>
              <a:ext uri="{FF2B5EF4-FFF2-40B4-BE49-F238E27FC236}">
                <a16:creationId xmlns:a16="http://schemas.microsoft.com/office/drawing/2014/main" id="{92349AC3-43C9-A349-AF2E-C029A34491C0}"/>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7" name="Content Placeholder">
            <a:extLst>
              <a:ext uri="{FF2B5EF4-FFF2-40B4-BE49-F238E27FC236}">
                <a16:creationId xmlns:a16="http://schemas.microsoft.com/office/drawing/2014/main" id="{2EA745BA-CA14-8FD0-05BA-8977508264EA}"/>
              </a:ext>
            </a:extLst>
          </p:cNvPr>
          <p:cNvSpPr>
            <a:spLocks noGrp="1" noRot="1" noMove="1" noResize="1" noEditPoints="1" noAdjustHandles="1" noChangeArrowheads="1" noChangeShapeType="1"/>
          </p:cNvSpPr>
          <p:nvPr>
            <p:ph sz="half" idx="2" hasCustomPrompt="1"/>
          </p:nvPr>
        </p:nvSpPr>
        <p:spPr>
          <a:xfrm>
            <a:off x="292101" y="2019300"/>
            <a:ext cx="3700460" cy="36576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6" name="Header Placeholder">
            <a:extLst>
              <a:ext uri="{FF2B5EF4-FFF2-40B4-BE49-F238E27FC236}">
                <a16:creationId xmlns:a16="http://schemas.microsoft.com/office/drawing/2014/main" id="{97696C2F-B753-BD09-3B16-F91EAC65E0F2}"/>
              </a:ext>
            </a:extLst>
          </p:cNvPr>
          <p:cNvSpPr>
            <a:spLocks noGrp="1" noRot="1" noMove="1" noResize="1" noEditPoints="1" noAdjustHandles="1" noChangeArrowheads="1" noChangeShapeType="1"/>
          </p:cNvSpPr>
          <p:nvPr>
            <p:ph type="body" idx="1" hasCustomPrompt="1"/>
          </p:nvPr>
        </p:nvSpPr>
        <p:spPr>
          <a:xfrm>
            <a:off x="292101" y="1308100"/>
            <a:ext cx="3710815"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17" name="Subtitle Placeholder">
            <a:extLst>
              <a:ext uri="{FF2B5EF4-FFF2-40B4-BE49-F238E27FC236}">
                <a16:creationId xmlns:a16="http://schemas.microsoft.com/office/drawing/2014/main" id="{73234507-5FFE-AB0B-1739-6DC3FB8BBDB8}"/>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18" name="Title Placeholder">
            <a:extLst>
              <a:ext uri="{FF2B5EF4-FFF2-40B4-BE49-F238E27FC236}">
                <a16:creationId xmlns:a16="http://schemas.microsoft.com/office/drawing/2014/main" id="{173559CA-3B9C-F323-35EC-DBADE1584BE4}"/>
              </a:ext>
            </a:extLst>
          </p:cNvPr>
          <p:cNvSpPr>
            <a:spLocks noGrp="1" noRot="1" noMove="1" noResize="1" noEditPoints="1" noAdjustHandles="1" noChangeArrowheads="1" noChangeShapeType="1"/>
          </p:cNvSpPr>
          <p:nvPr>
            <p:ph type="title" hasCustomPrompt="1"/>
          </p:nvPr>
        </p:nvSpPr>
        <p:spPr>
          <a:xfrm>
            <a:off x="292100" y="304800"/>
            <a:ext cx="11613314" cy="265590"/>
          </a:xfrm>
        </p:spPr>
        <p:txBody>
          <a:bodyPr>
            <a:noAutofit/>
          </a:bodyPr>
          <a:lstStyle/>
          <a:p>
            <a:r>
              <a:rPr lang="en-US"/>
              <a:t>Insert your slide title in Arial Bold 20pt</a:t>
            </a:r>
            <a:endParaRPr lang="en-GB"/>
          </a:p>
        </p:txBody>
      </p:sp>
    </p:spTree>
    <p:extLst>
      <p:ext uri="{BB962C8B-B14F-4D97-AF65-F5344CB8AC3E}">
        <p14:creationId xmlns:p14="http://schemas.microsoft.com/office/powerpoint/2010/main" val="1262798961"/>
      </p:ext>
    </p:extLst>
  </p:cSld>
  <p:clrMapOvr>
    <a:masterClrMapping/>
  </p:clrMapOvr>
  <p:extLst>
    <p:ext uri="{DCECCB84-F9BA-43D5-87BE-67443E8EF086}">
      <p15:sldGuideLst xmlns:p15="http://schemas.microsoft.com/office/powerpoint/2012/main">
        <p15:guide id="10" pos="2525">
          <p15:clr>
            <a:srgbClr val="FDE53C"/>
          </p15:clr>
        </p15:guide>
        <p15:guide id="11" pos="2669">
          <p15:clr>
            <a:srgbClr val="FDE53C"/>
          </p15:clr>
        </p15:guide>
        <p15:guide id="18" pos="5010">
          <p15:clr>
            <a:srgbClr val="FDE53C"/>
          </p15:clr>
        </p15:guide>
        <p15:guide id="19" pos="5154">
          <p15:clr>
            <a:srgbClr val="FDE53C"/>
          </p15:clr>
        </p15:guide>
        <p15:guide id="22" orient="horz" pos="2304">
          <p15:clr>
            <a:srgbClr val="A4A3A4"/>
          </p15:clr>
        </p15:guide>
        <p15:guide id="23" orient="horz" pos="2232">
          <p15:clr>
            <a:srgbClr val="A4A3A4"/>
          </p15:clr>
        </p15:guide>
        <p15:guide id="24" orient="horz" pos="2376">
          <p15:clr>
            <a:srgbClr val="A4A3A4"/>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ablet">
    <p:spTree>
      <p:nvGrpSpPr>
        <p:cNvPr id="1" name=""/>
        <p:cNvGrpSpPr/>
        <p:nvPr/>
      </p:nvGrpSpPr>
      <p:grpSpPr>
        <a:xfrm>
          <a:off x="0" y="0"/>
          <a:ext cx="0" cy="0"/>
          <a:chOff x="0" y="0"/>
          <a:chExt cx="0" cy="0"/>
        </a:xfrm>
      </p:grpSpPr>
      <p:sp>
        <p:nvSpPr>
          <p:cNvPr id="12" name="Slide Number Placeholder">
            <a:extLst>
              <a:ext uri="{FF2B5EF4-FFF2-40B4-BE49-F238E27FC236}">
                <a16:creationId xmlns:a16="http://schemas.microsoft.com/office/drawing/2014/main" id="{D855F1A0-B3DE-8CBB-753A-EBAB8DE25C24}"/>
              </a:ext>
            </a:extLst>
          </p:cNvPr>
          <p:cNvSpPr>
            <a:spLocks noGrp="1" noRot="1" noMove="1" noResize="1" noEditPoints="1" noAdjustHandles="1" noChangeArrowheads="1" noChangeShapeType="1"/>
          </p:cNvSpPr>
          <p:nvPr>
            <p:ph type="sldNum" sz="quarter" idx="12"/>
          </p:nvPr>
        </p:nvSpPr>
        <p:spPr>
          <a:xfrm>
            <a:off x="11495577" y="6495100"/>
            <a:ext cx="404321" cy="282957"/>
          </a:xfrm>
        </p:spPr>
        <p:txBody>
          <a:bodyPr>
            <a:noAutofit/>
          </a:bodyPr>
          <a:lstStyle/>
          <a:p>
            <a:fld id="{3E04DF46-C0DC-4ADC-9A6F-918CC4703A43}" type="slidenum">
              <a:rPr lang="en-GB" smtClean="0"/>
              <a:t>‹#›</a:t>
            </a:fld>
            <a:endParaRPr lang="en-GB"/>
          </a:p>
        </p:txBody>
      </p:sp>
      <p:sp>
        <p:nvSpPr>
          <p:cNvPr id="13" name="Footer Placeholder">
            <a:extLst>
              <a:ext uri="{FF2B5EF4-FFF2-40B4-BE49-F238E27FC236}">
                <a16:creationId xmlns:a16="http://schemas.microsoft.com/office/drawing/2014/main" id="{ED39D506-68E8-D832-DF39-5B6BE1450874}"/>
              </a:ext>
            </a:extLst>
          </p:cNvPr>
          <p:cNvSpPr>
            <a:spLocks noGrp="1" noRot="1" noMove="1" noResize="1" noEditPoints="1" noAdjustHandles="1" noChangeArrowheads="1" noChangeShapeType="1"/>
          </p:cNvSpPr>
          <p:nvPr>
            <p:ph type="ftr" sz="quarter" idx="11"/>
          </p:nvPr>
        </p:nvSpPr>
        <p:spPr>
          <a:xfrm>
            <a:off x="3251197" y="6495102"/>
            <a:ext cx="3716341" cy="282957"/>
          </a:xfrm>
        </p:spPr>
        <p:txBody>
          <a:bodyPr>
            <a:noAutofit/>
          </a:bodyPr>
          <a:lstStyle/>
          <a:p>
            <a:endParaRPr lang="en-GB"/>
          </a:p>
        </p:txBody>
      </p:sp>
      <p:sp>
        <p:nvSpPr>
          <p:cNvPr id="14" name="Date Placeholder">
            <a:extLst>
              <a:ext uri="{FF2B5EF4-FFF2-40B4-BE49-F238E27FC236}">
                <a16:creationId xmlns:a16="http://schemas.microsoft.com/office/drawing/2014/main" id="{462487FC-31D3-3400-936D-53E132CBF697}"/>
              </a:ext>
            </a:extLst>
          </p:cNvPr>
          <p:cNvSpPr>
            <a:spLocks noGrp="1" noRot="1" noMove="1" noResize="1" noEditPoints="1" noAdjustHandles="1" noChangeArrowheads="1" noChangeShapeType="1"/>
          </p:cNvSpPr>
          <p:nvPr>
            <p:ph type="dt" sz="half" idx="10"/>
          </p:nvPr>
        </p:nvSpPr>
        <p:spPr>
          <a:xfrm>
            <a:off x="2265363" y="6495102"/>
            <a:ext cx="757238" cy="282957"/>
          </a:xfrm>
        </p:spPr>
        <p:txBody>
          <a:bodyPr>
            <a:noAutofit/>
          </a:bodyPr>
          <a:lstStyle/>
          <a:p>
            <a:fld id="{A95ACABD-257F-48AB-94D3-B913B9097175}" type="datetime1">
              <a:rPr lang="en-GB" smtClean="0"/>
              <a:t>18/11/2024</a:t>
            </a:fld>
            <a:endParaRPr lang="en-GB"/>
          </a:p>
        </p:txBody>
      </p:sp>
      <p:sp>
        <p:nvSpPr>
          <p:cNvPr id="15" name="Source Placeholder">
            <a:extLst>
              <a:ext uri="{FF2B5EF4-FFF2-40B4-BE49-F238E27FC236}">
                <a16:creationId xmlns:a16="http://schemas.microsoft.com/office/drawing/2014/main" id="{99790FFB-129C-6DB8-7083-44E68EB4BF76}"/>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pic>
        <p:nvPicPr>
          <p:cNvPr id="9" name="Tablet Frame">
            <a:extLst>
              <a:ext uri="{FF2B5EF4-FFF2-40B4-BE49-F238E27FC236}">
                <a16:creationId xmlns:a16="http://schemas.microsoft.com/office/drawing/2014/main" id="{9489571B-A37B-8754-6A0A-0144963120A8}"/>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rotWithShape="1">
          <a:blip r:embed="rId2" cstate="print">
            <a:extLst>
              <a:ext uri="{28A0092B-C50C-407E-A947-70E740481C1C}">
                <a14:useLocalDpi xmlns:a14="http://schemas.microsoft.com/office/drawing/2010/main" val="0"/>
              </a:ext>
            </a:extLst>
          </a:blip>
          <a:srcRect r="3767"/>
          <a:stretch/>
        </p:blipFill>
        <p:spPr bwMode="gray">
          <a:xfrm>
            <a:off x="3784635" y="1606014"/>
            <a:ext cx="8139891" cy="4434024"/>
          </a:xfrm>
          <a:prstGeom prst="rect">
            <a:avLst/>
          </a:prstGeom>
        </p:spPr>
      </p:pic>
      <p:sp>
        <p:nvSpPr>
          <p:cNvPr id="10" name="Picture Placeholder">
            <a:extLst>
              <a:ext uri="{FF2B5EF4-FFF2-40B4-BE49-F238E27FC236}">
                <a16:creationId xmlns:a16="http://schemas.microsoft.com/office/drawing/2014/main" id="{2B100C95-A8AE-9316-439D-4F2A091DD08D}"/>
              </a:ext>
            </a:extLst>
          </p:cNvPr>
          <p:cNvSpPr>
            <a:spLocks noGrp="1" noRot="1" noMove="1" noResize="1" noEditPoints="1" noAdjustHandles="1" noChangeArrowheads="1" noChangeShapeType="1"/>
          </p:cNvSpPr>
          <p:nvPr>
            <p:ph type="pic" sz="quarter" idx="17" hasCustomPrompt="1"/>
          </p:nvPr>
        </p:nvSpPr>
        <p:spPr bwMode="gray">
          <a:xfrm>
            <a:off x="5149851" y="1765300"/>
            <a:ext cx="5753100" cy="3797300"/>
          </a:xfrm>
          <a:prstGeom prst="roundRect">
            <a:avLst>
              <a:gd name="adj" fmla="val 5312"/>
            </a:avLst>
          </a:prstGeom>
          <a:solidFill>
            <a:schemeClr val="tx1"/>
          </a:solidFill>
        </p:spPr>
        <p:txBody>
          <a:bodyPr vert="horz" lIns="0" tIns="0" rIns="0" bIns="0" rtlCol="0" anchor="ctr" anchorCtr="0">
            <a:noAutofit/>
          </a:bodyPr>
          <a:lstStyle>
            <a:lvl1pPr>
              <a:defRPr lang="en-GB" dirty="0">
                <a:solidFill>
                  <a:schemeClr val="bg1"/>
                </a:solidFill>
              </a:defRPr>
            </a:lvl1pPr>
          </a:lstStyle>
          <a:p>
            <a:pPr marL="0" lvl="0" indent="0" algn="ctr">
              <a:buNone/>
            </a:pPr>
            <a:r>
              <a:rPr lang="en-GB"/>
              <a:t> Click to add photo</a:t>
            </a:r>
          </a:p>
        </p:txBody>
      </p:sp>
      <p:sp>
        <p:nvSpPr>
          <p:cNvPr id="7" name="Content Placeholder">
            <a:extLst>
              <a:ext uri="{FF2B5EF4-FFF2-40B4-BE49-F238E27FC236}">
                <a16:creationId xmlns:a16="http://schemas.microsoft.com/office/drawing/2014/main" id="{2EA745BA-CA14-8FD0-05BA-8977508264EA}"/>
              </a:ext>
            </a:extLst>
          </p:cNvPr>
          <p:cNvSpPr>
            <a:spLocks noGrp="1" noRot="1" noMove="1" noResize="1" noEditPoints="1" noAdjustHandles="1" noChangeArrowheads="1" noChangeShapeType="1"/>
          </p:cNvSpPr>
          <p:nvPr>
            <p:ph sz="half" idx="2" hasCustomPrompt="1"/>
          </p:nvPr>
        </p:nvSpPr>
        <p:spPr>
          <a:xfrm>
            <a:off x="292101" y="2019300"/>
            <a:ext cx="3700460" cy="36576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6" name="Header Placeholder">
            <a:extLst>
              <a:ext uri="{FF2B5EF4-FFF2-40B4-BE49-F238E27FC236}">
                <a16:creationId xmlns:a16="http://schemas.microsoft.com/office/drawing/2014/main" id="{97696C2F-B753-BD09-3B16-F91EAC65E0F2}"/>
              </a:ext>
            </a:extLst>
          </p:cNvPr>
          <p:cNvSpPr>
            <a:spLocks noGrp="1" noRot="1" noMove="1" noResize="1" noEditPoints="1" noAdjustHandles="1" noChangeArrowheads="1" noChangeShapeType="1"/>
          </p:cNvSpPr>
          <p:nvPr>
            <p:ph type="body" idx="1" hasCustomPrompt="1"/>
          </p:nvPr>
        </p:nvSpPr>
        <p:spPr>
          <a:xfrm>
            <a:off x="292101" y="1308100"/>
            <a:ext cx="3710815"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16" name="Subtitle Placeholder">
            <a:extLst>
              <a:ext uri="{FF2B5EF4-FFF2-40B4-BE49-F238E27FC236}">
                <a16:creationId xmlns:a16="http://schemas.microsoft.com/office/drawing/2014/main" id="{54C4987E-C48B-8EC9-E43A-A8293855B44B}"/>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17" name="Title Placeholder">
            <a:extLst>
              <a:ext uri="{FF2B5EF4-FFF2-40B4-BE49-F238E27FC236}">
                <a16:creationId xmlns:a16="http://schemas.microsoft.com/office/drawing/2014/main" id="{36465407-29C7-E82D-8FA8-8F0F4FCCD265}"/>
              </a:ext>
            </a:extLst>
          </p:cNvPr>
          <p:cNvSpPr>
            <a:spLocks noGrp="1" noRot="1" noMove="1" noResize="1" noEditPoints="1" noAdjustHandles="1" noChangeArrowheads="1" noChangeShapeType="1"/>
          </p:cNvSpPr>
          <p:nvPr>
            <p:ph type="title" hasCustomPrompt="1"/>
          </p:nvPr>
        </p:nvSpPr>
        <p:spPr>
          <a:xfrm>
            <a:off x="292100" y="304800"/>
            <a:ext cx="11613314" cy="265590"/>
          </a:xfrm>
        </p:spPr>
        <p:txBody>
          <a:bodyPr>
            <a:noAutofit/>
          </a:bodyPr>
          <a:lstStyle/>
          <a:p>
            <a:r>
              <a:rPr lang="en-US"/>
              <a:t>Insert your slide title in Arial Bold 20pt</a:t>
            </a:r>
            <a:endParaRPr lang="en-GB"/>
          </a:p>
        </p:txBody>
      </p:sp>
    </p:spTree>
    <p:extLst>
      <p:ext uri="{BB962C8B-B14F-4D97-AF65-F5344CB8AC3E}">
        <p14:creationId xmlns:p14="http://schemas.microsoft.com/office/powerpoint/2010/main" val="1278308575"/>
      </p:ext>
    </p:extLst>
  </p:cSld>
  <p:clrMapOvr>
    <a:masterClrMapping/>
  </p:clrMapOvr>
  <p:extLst>
    <p:ext uri="{DCECCB84-F9BA-43D5-87BE-67443E8EF086}">
      <p15:sldGuideLst xmlns:p15="http://schemas.microsoft.com/office/powerpoint/2012/main">
        <p15:guide id="10" pos="2525">
          <p15:clr>
            <a:srgbClr val="FDE53C"/>
          </p15:clr>
        </p15:guide>
        <p15:guide id="11" pos="2669">
          <p15:clr>
            <a:srgbClr val="FDE53C"/>
          </p15:clr>
        </p15:guide>
        <p15:guide id="18" pos="5010">
          <p15:clr>
            <a:srgbClr val="FDE53C"/>
          </p15:clr>
        </p15:guide>
        <p15:guide id="19" pos="5154">
          <p15:clr>
            <a:srgbClr val="FDE53C"/>
          </p15:clr>
        </p15:guide>
        <p15:guide id="22" orient="horz" pos="2304">
          <p15:clr>
            <a:srgbClr val="A4A3A4"/>
          </p15:clr>
        </p15:guide>
        <p15:guide id="23" orient="horz" pos="2232">
          <p15:clr>
            <a:srgbClr val="A4A3A4"/>
          </p15:clr>
        </p15:guide>
        <p15:guide id="24" orient="horz" pos="2376">
          <p15:clr>
            <a:srgbClr val="A4A3A4"/>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Two Column">
    <p:spTree>
      <p:nvGrpSpPr>
        <p:cNvPr id="1" name=""/>
        <p:cNvGrpSpPr/>
        <p:nvPr/>
      </p:nvGrpSpPr>
      <p:grpSpPr>
        <a:xfrm>
          <a:off x="0" y="0"/>
          <a:ext cx="0" cy="0"/>
          <a:chOff x="0" y="0"/>
          <a:chExt cx="0" cy="0"/>
        </a:xfrm>
      </p:grpSpPr>
      <p:sp>
        <p:nvSpPr>
          <p:cNvPr id="5" name="Slide Number Placeholder">
            <a:extLst>
              <a:ext uri="{FF2B5EF4-FFF2-40B4-BE49-F238E27FC236}">
                <a16:creationId xmlns:a16="http://schemas.microsoft.com/office/drawing/2014/main" id="{0D075AAD-92E8-E876-C437-4DA760B06AEA}"/>
              </a:ext>
            </a:extLst>
          </p:cNvPr>
          <p:cNvSpPr>
            <a:spLocks noGrp="1" noRot="1" noMove="1" noResize="1" noEditPoints="1" noAdjustHandles="1" noChangeArrowheads="1" noChangeShapeType="1"/>
          </p:cNvSpPr>
          <p:nvPr>
            <p:ph type="sldNum" sz="quarter" idx="12"/>
          </p:nvPr>
        </p:nvSpPr>
        <p:spPr>
          <a:xfrm>
            <a:off x="11495577" y="6495100"/>
            <a:ext cx="404321" cy="282957"/>
          </a:xfrm>
        </p:spPr>
        <p:txBody>
          <a:bodyPr>
            <a:noAutofit/>
          </a:bodyPr>
          <a:lstStyle/>
          <a:p>
            <a:fld id="{3E04DF46-C0DC-4ADC-9A6F-918CC4703A43}" type="slidenum">
              <a:rPr lang="en-GB" smtClean="0"/>
              <a:t>‹#›</a:t>
            </a:fld>
            <a:endParaRPr lang="en-GB"/>
          </a:p>
        </p:txBody>
      </p:sp>
      <p:sp>
        <p:nvSpPr>
          <p:cNvPr id="6" name="Footer Placeholder">
            <a:extLst>
              <a:ext uri="{FF2B5EF4-FFF2-40B4-BE49-F238E27FC236}">
                <a16:creationId xmlns:a16="http://schemas.microsoft.com/office/drawing/2014/main" id="{37F6973E-B506-459C-8409-EDC0F9FEB641}"/>
              </a:ext>
            </a:extLst>
          </p:cNvPr>
          <p:cNvSpPr>
            <a:spLocks noGrp="1" noRot="1" noMove="1" noResize="1" noEditPoints="1" noAdjustHandles="1" noChangeArrowheads="1" noChangeShapeType="1"/>
          </p:cNvSpPr>
          <p:nvPr>
            <p:ph type="ftr" sz="quarter" idx="11"/>
          </p:nvPr>
        </p:nvSpPr>
        <p:spPr>
          <a:xfrm>
            <a:off x="3251197" y="6495102"/>
            <a:ext cx="3716341" cy="282957"/>
          </a:xfrm>
        </p:spPr>
        <p:txBody>
          <a:bodyPr>
            <a:noAutofit/>
          </a:bodyPr>
          <a:lstStyle/>
          <a:p>
            <a:endParaRPr lang="en-GB"/>
          </a:p>
        </p:txBody>
      </p:sp>
      <p:sp>
        <p:nvSpPr>
          <p:cNvPr id="11" name="Date Placeholder">
            <a:extLst>
              <a:ext uri="{FF2B5EF4-FFF2-40B4-BE49-F238E27FC236}">
                <a16:creationId xmlns:a16="http://schemas.microsoft.com/office/drawing/2014/main" id="{D92AE263-867A-3BFE-D77F-172427CCFD5C}"/>
              </a:ext>
            </a:extLst>
          </p:cNvPr>
          <p:cNvSpPr>
            <a:spLocks noGrp="1" noRot="1" noMove="1" noResize="1" noEditPoints="1" noAdjustHandles="1" noChangeArrowheads="1" noChangeShapeType="1"/>
          </p:cNvSpPr>
          <p:nvPr>
            <p:ph type="dt" sz="half" idx="10"/>
          </p:nvPr>
        </p:nvSpPr>
        <p:spPr>
          <a:xfrm>
            <a:off x="2265363" y="6495102"/>
            <a:ext cx="757238" cy="282957"/>
          </a:xfrm>
        </p:spPr>
        <p:txBody>
          <a:bodyPr>
            <a:noAutofit/>
          </a:bodyPr>
          <a:lstStyle/>
          <a:p>
            <a:fld id="{A95ACABD-257F-48AB-94D3-B913B9097175}" type="datetime1">
              <a:rPr lang="en-GB" smtClean="0"/>
              <a:t>18/11/2024</a:t>
            </a:fld>
            <a:endParaRPr lang="en-GB"/>
          </a:p>
        </p:txBody>
      </p:sp>
      <p:sp>
        <p:nvSpPr>
          <p:cNvPr id="15" name="Source Placeholder">
            <a:extLst>
              <a:ext uri="{FF2B5EF4-FFF2-40B4-BE49-F238E27FC236}">
                <a16:creationId xmlns:a16="http://schemas.microsoft.com/office/drawing/2014/main" id="{4CF2C7F5-1F44-0A19-3182-4B375AB6F896}"/>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pic>
        <p:nvPicPr>
          <p:cNvPr id="2" name="Smartphone Frame">
            <a:extLst>
              <a:ext uri="{FF2B5EF4-FFF2-40B4-BE49-F238E27FC236}">
                <a16:creationId xmlns:a16="http://schemas.microsoft.com/office/drawing/2014/main" id="{8FEE0E6E-6D89-CD10-D4A2-0D249DEDC1E0}"/>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500502" y="1197507"/>
            <a:ext cx="3096000" cy="4787820"/>
          </a:xfrm>
          <a:prstGeom prst="rect">
            <a:avLst/>
          </a:prstGeom>
        </p:spPr>
      </p:pic>
      <p:sp>
        <p:nvSpPr>
          <p:cNvPr id="10" name="Picture Placeholder">
            <a:extLst>
              <a:ext uri="{FF2B5EF4-FFF2-40B4-BE49-F238E27FC236}">
                <a16:creationId xmlns:a16="http://schemas.microsoft.com/office/drawing/2014/main" id="{7F98CD2C-62E2-FC8B-548B-D3ADCC2F9CD2}"/>
              </a:ext>
            </a:extLst>
          </p:cNvPr>
          <p:cNvSpPr>
            <a:spLocks noGrp="1" noRot="1" noMove="1" noResize="1" noEditPoints="1" noAdjustHandles="1" noChangeArrowheads="1" noChangeShapeType="1"/>
          </p:cNvSpPr>
          <p:nvPr>
            <p:ph type="pic" sz="quarter" idx="17" hasCustomPrompt="1"/>
          </p:nvPr>
        </p:nvSpPr>
        <p:spPr bwMode="gray">
          <a:xfrm>
            <a:off x="8018062" y="1288629"/>
            <a:ext cx="2057400" cy="4450080"/>
          </a:xfrm>
          <a:prstGeom prst="roundRect">
            <a:avLst>
              <a:gd name="adj" fmla="val 12964"/>
            </a:avLst>
          </a:prstGeom>
          <a:solidFill>
            <a:schemeClr val="tx1"/>
          </a:solidFill>
        </p:spPr>
        <p:txBody>
          <a:bodyPr anchor="ctr" anchorCtr="0">
            <a:noAutofit/>
          </a:bodyPr>
          <a:lstStyle>
            <a:lvl1pPr marL="0" indent="0" algn="ctr">
              <a:buNone/>
              <a:defRPr>
                <a:solidFill>
                  <a:schemeClr val="bg1"/>
                </a:solidFill>
              </a:defRPr>
            </a:lvl1pPr>
          </a:lstStyle>
          <a:p>
            <a:r>
              <a:rPr lang="en-GB"/>
              <a:t> Click picture icon to add photo</a:t>
            </a:r>
          </a:p>
        </p:txBody>
      </p:sp>
      <p:sp>
        <p:nvSpPr>
          <p:cNvPr id="4" name="Content Placeholder">
            <a:extLst>
              <a:ext uri="{FF2B5EF4-FFF2-40B4-BE49-F238E27FC236}">
                <a16:creationId xmlns:a16="http://schemas.microsoft.com/office/drawing/2014/main" id="{984C70C1-C2F6-EFE6-3AEB-EEEE97D8D829}"/>
              </a:ext>
            </a:extLst>
          </p:cNvPr>
          <p:cNvSpPr>
            <a:spLocks noGrp="1" noRot="1" noMove="1" noResize="1" noEditPoints="1" noAdjustHandles="1" noChangeArrowheads="1" noChangeShapeType="1"/>
          </p:cNvSpPr>
          <p:nvPr>
            <p:ph sz="half" idx="2" hasCustomPrompt="1"/>
          </p:nvPr>
        </p:nvSpPr>
        <p:spPr>
          <a:xfrm>
            <a:off x="292101" y="2019300"/>
            <a:ext cx="5673721" cy="36576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3" name="Header Placeholder">
            <a:extLst>
              <a:ext uri="{FF2B5EF4-FFF2-40B4-BE49-F238E27FC236}">
                <a16:creationId xmlns:a16="http://schemas.microsoft.com/office/drawing/2014/main" id="{E16F9965-5453-60FF-D1EB-3A608CF7F7BF}"/>
              </a:ext>
            </a:extLst>
          </p:cNvPr>
          <p:cNvSpPr>
            <a:spLocks noGrp="1" noRot="1" noMove="1" noResize="1" noEditPoints="1" noAdjustHandles="1" noChangeArrowheads="1" noChangeShapeType="1"/>
          </p:cNvSpPr>
          <p:nvPr>
            <p:ph type="body" idx="1" hasCustomPrompt="1"/>
          </p:nvPr>
        </p:nvSpPr>
        <p:spPr>
          <a:xfrm>
            <a:off x="292101" y="1308100"/>
            <a:ext cx="5689598"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16" name="Subtitle Placeholder">
            <a:extLst>
              <a:ext uri="{FF2B5EF4-FFF2-40B4-BE49-F238E27FC236}">
                <a16:creationId xmlns:a16="http://schemas.microsoft.com/office/drawing/2014/main" id="{1177695A-5838-D1AD-85A0-C2DC4AE61924}"/>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17" name="Title Placeholder">
            <a:extLst>
              <a:ext uri="{FF2B5EF4-FFF2-40B4-BE49-F238E27FC236}">
                <a16:creationId xmlns:a16="http://schemas.microsoft.com/office/drawing/2014/main" id="{6438D16E-D0B0-429C-0E43-66D0F19014E8}"/>
              </a:ext>
            </a:extLst>
          </p:cNvPr>
          <p:cNvSpPr>
            <a:spLocks noGrp="1" noRot="1" noMove="1" noResize="1" noEditPoints="1" noAdjustHandles="1" noChangeArrowheads="1" noChangeShapeType="1"/>
          </p:cNvSpPr>
          <p:nvPr>
            <p:ph type="title" hasCustomPrompt="1"/>
          </p:nvPr>
        </p:nvSpPr>
        <p:spPr>
          <a:xfrm>
            <a:off x="292100" y="304800"/>
            <a:ext cx="11613314" cy="265590"/>
          </a:xfrm>
        </p:spPr>
        <p:txBody>
          <a:bodyPr>
            <a:noAutofit/>
          </a:bodyPr>
          <a:lstStyle/>
          <a:p>
            <a:r>
              <a:rPr lang="en-US"/>
              <a:t>Insert your slide title in Arial Bold 20pt</a:t>
            </a:r>
            <a:endParaRPr lang="en-GB"/>
          </a:p>
        </p:txBody>
      </p:sp>
    </p:spTree>
    <p:extLst>
      <p:ext uri="{BB962C8B-B14F-4D97-AF65-F5344CB8AC3E}">
        <p14:creationId xmlns:p14="http://schemas.microsoft.com/office/powerpoint/2010/main" val="3744357863"/>
      </p:ext>
    </p:extLst>
  </p:cSld>
  <p:clrMapOvr>
    <a:masterClrMapping/>
  </p:clrMapOvr>
  <p:extLst>
    <p:ext uri="{DCECCB84-F9BA-43D5-87BE-67443E8EF086}">
      <p15:sldGuideLst xmlns:p15="http://schemas.microsoft.com/office/powerpoint/2012/main">
        <p15:guide id="4" pos="3768">
          <p15:clr>
            <a:srgbClr val="A4A3A4"/>
          </p15:clr>
        </p15:guide>
        <p15:guide id="5" pos="3912">
          <p15:clr>
            <a:srgbClr val="A4A3A4"/>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Feature with Description">
    <p:spTree>
      <p:nvGrpSpPr>
        <p:cNvPr id="1" name=""/>
        <p:cNvGrpSpPr/>
        <p:nvPr/>
      </p:nvGrpSpPr>
      <p:grpSpPr>
        <a:xfrm>
          <a:off x="0" y="0"/>
          <a:ext cx="0" cy="0"/>
          <a:chOff x="0" y="0"/>
          <a:chExt cx="0" cy="0"/>
        </a:xfrm>
      </p:grpSpPr>
      <p:sp>
        <p:nvSpPr>
          <p:cNvPr id="8" name="Slide Number Placeholder">
            <a:extLst>
              <a:ext uri="{FF2B5EF4-FFF2-40B4-BE49-F238E27FC236}">
                <a16:creationId xmlns:a16="http://schemas.microsoft.com/office/drawing/2014/main" id="{7880336B-6551-8B18-CD4D-52CF1537E460}"/>
              </a:ext>
            </a:extLst>
          </p:cNvPr>
          <p:cNvSpPr>
            <a:spLocks noGrp="1" noRot="1" noMove="1" noResize="1" noEditPoints="1" noAdjustHandles="1" noChangeArrowheads="1" noChangeShapeType="1"/>
          </p:cNvSpPr>
          <p:nvPr>
            <p:ph type="sldNum" sz="quarter" idx="12"/>
          </p:nvPr>
        </p:nvSpPr>
        <p:spPr>
          <a:xfrm>
            <a:off x="11495577" y="6495100"/>
            <a:ext cx="404321" cy="282957"/>
          </a:xfrm>
        </p:spPr>
        <p:txBody>
          <a:bodyPr>
            <a:noAutofit/>
          </a:bodyPr>
          <a:lstStyle/>
          <a:p>
            <a:fld id="{3E04DF46-C0DC-4ADC-9A6F-918CC4703A43}" type="slidenum">
              <a:rPr lang="en-GB" smtClean="0"/>
              <a:t>‹#›</a:t>
            </a:fld>
            <a:endParaRPr lang="en-GB"/>
          </a:p>
        </p:txBody>
      </p:sp>
      <p:sp>
        <p:nvSpPr>
          <p:cNvPr id="11" name="Footer Placeholder">
            <a:extLst>
              <a:ext uri="{FF2B5EF4-FFF2-40B4-BE49-F238E27FC236}">
                <a16:creationId xmlns:a16="http://schemas.microsoft.com/office/drawing/2014/main" id="{D5E23E6B-A969-B922-443C-DB4B673F14C0}"/>
              </a:ext>
            </a:extLst>
          </p:cNvPr>
          <p:cNvSpPr>
            <a:spLocks noGrp="1" noRot="1" noMove="1" noResize="1" noEditPoints="1" noAdjustHandles="1" noChangeArrowheads="1" noChangeShapeType="1"/>
          </p:cNvSpPr>
          <p:nvPr>
            <p:ph type="ftr" sz="quarter" idx="11"/>
          </p:nvPr>
        </p:nvSpPr>
        <p:spPr>
          <a:xfrm>
            <a:off x="3251197" y="6495102"/>
            <a:ext cx="3716341" cy="282957"/>
          </a:xfrm>
        </p:spPr>
        <p:txBody>
          <a:bodyPr>
            <a:noAutofit/>
          </a:bodyPr>
          <a:lstStyle/>
          <a:p>
            <a:endParaRPr lang="en-GB"/>
          </a:p>
        </p:txBody>
      </p:sp>
      <p:sp>
        <p:nvSpPr>
          <p:cNvPr id="12" name="Date Placeholder">
            <a:extLst>
              <a:ext uri="{FF2B5EF4-FFF2-40B4-BE49-F238E27FC236}">
                <a16:creationId xmlns:a16="http://schemas.microsoft.com/office/drawing/2014/main" id="{3E682D3C-E320-394E-C615-424A83B576A7}"/>
              </a:ext>
            </a:extLst>
          </p:cNvPr>
          <p:cNvSpPr>
            <a:spLocks noGrp="1" noRot="1" noMove="1" noResize="1" noEditPoints="1" noAdjustHandles="1" noChangeArrowheads="1" noChangeShapeType="1"/>
          </p:cNvSpPr>
          <p:nvPr>
            <p:ph type="dt" sz="half" idx="10"/>
          </p:nvPr>
        </p:nvSpPr>
        <p:spPr>
          <a:xfrm>
            <a:off x="2265363" y="6495102"/>
            <a:ext cx="757238" cy="282957"/>
          </a:xfrm>
        </p:spPr>
        <p:txBody>
          <a:bodyPr>
            <a:noAutofit/>
          </a:bodyPr>
          <a:lstStyle/>
          <a:p>
            <a:fld id="{A95ACABD-257F-48AB-94D3-B913B9097175}" type="datetime1">
              <a:rPr lang="en-GB" smtClean="0"/>
              <a:t>18/11/2024</a:t>
            </a:fld>
            <a:endParaRPr lang="en-GB"/>
          </a:p>
        </p:txBody>
      </p:sp>
      <p:sp>
        <p:nvSpPr>
          <p:cNvPr id="13" name="Source Placeholder">
            <a:extLst>
              <a:ext uri="{FF2B5EF4-FFF2-40B4-BE49-F238E27FC236}">
                <a16:creationId xmlns:a16="http://schemas.microsoft.com/office/drawing/2014/main" id="{F5E18C3F-FDED-E3BC-CB25-E414E35DA89B}"/>
              </a:ext>
            </a:extLst>
          </p:cNvPr>
          <p:cNvSpPr>
            <a:spLocks noGrp="1" noRot="1" noMove="1" noResize="1" noEditPoints="1" noAdjustHandles="1" noChangeArrowheads="1" noChangeShapeType="1"/>
          </p:cNvSpPr>
          <p:nvPr>
            <p:ph type="body" sz="quarter" idx="15"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7" name="Content Placeholder">
            <a:extLst>
              <a:ext uri="{FF2B5EF4-FFF2-40B4-BE49-F238E27FC236}">
                <a16:creationId xmlns:a16="http://schemas.microsoft.com/office/drawing/2014/main" id="{2EA745BA-CA14-8FD0-05BA-8977508264EA}"/>
              </a:ext>
            </a:extLst>
          </p:cNvPr>
          <p:cNvSpPr>
            <a:spLocks noGrp="1" noRot="1" noMove="1" noResize="1" noEditPoints="1" noAdjustHandles="1" noChangeArrowheads="1" noChangeShapeType="1"/>
          </p:cNvSpPr>
          <p:nvPr>
            <p:ph sz="half" idx="2" hasCustomPrompt="1"/>
          </p:nvPr>
        </p:nvSpPr>
        <p:spPr>
          <a:xfrm>
            <a:off x="8168315" y="2019300"/>
            <a:ext cx="3700460" cy="36576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6" name="Header Placeholder">
            <a:extLst>
              <a:ext uri="{FF2B5EF4-FFF2-40B4-BE49-F238E27FC236}">
                <a16:creationId xmlns:a16="http://schemas.microsoft.com/office/drawing/2014/main" id="{97696C2F-B753-BD09-3B16-F91EAC65E0F2}"/>
              </a:ext>
            </a:extLst>
          </p:cNvPr>
          <p:cNvSpPr>
            <a:spLocks noGrp="1" noRot="1" noMove="1" noResize="1" noEditPoints="1" noAdjustHandles="1" noChangeArrowheads="1" noChangeShapeType="1"/>
          </p:cNvSpPr>
          <p:nvPr>
            <p:ph type="body" idx="1" hasCustomPrompt="1"/>
          </p:nvPr>
        </p:nvSpPr>
        <p:spPr>
          <a:xfrm>
            <a:off x="8168315" y="1308100"/>
            <a:ext cx="3710815"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9" name="Image/Content Placeholder">
            <a:extLst>
              <a:ext uri="{FF2B5EF4-FFF2-40B4-BE49-F238E27FC236}">
                <a16:creationId xmlns:a16="http://schemas.microsoft.com/office/drawing/2014/main" id="{E7FED7F9-B9AF-8E1D-D4E4-E0925BDC1C40}"/>
              </a:ext>
            </a:extLst>
          </p:cNvPr>
          <p:cNvSpPr>
            <a:spLocks noGrp="1" noRot="1" noMove="1" noResize="1" noEditPoints="1" noAdjustHandles="1" noChangeArrowheads="1" noChangeShapeType="1"/>
          </p:cNvSpPr>
          <p:nvPr>
            <p:ph sz="quarter" idx="14" hasCustomPrompt="1"/>
          </p:nvPr>
        </p:nvSpPr>
        <p:spPr>
          <a:xfrm>
            <a:off x="292100" y="1638300"/>
            <a:ext cx="7661275" cy="4038600"/>
          </a:xfrm>
          <a:solidFill>
            <a:srgbClr val="F0F0F0"/>
          </a:solidFill>
        </p:spPr>
        <p:txBody>
          <a:bodyPr vert="horz" lIns="0" tIns="0" rIns="0" bIns="0" rtlCol="0" anchor="ctr">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lgn="ctr">
              <a:buNone/>
            </a:pPr>
            <a:r>
              <a:rPr lang="en-US"/>
              <a:t>Insert content</a:t>
            </a:r>
          </a:p>
        </p:txBody>
      </p:sp>
      <p:sp>
        <p:nvSpPr>
          <p:cNvPr id="14" name="Subtitle Placeholder">
            <a:extLst>
              <a:ext uri="{FF2B5EF4-FFF2-40B4-BE49-F238E27FC236}">
                <a16:creationId xmlns:a16="http://schemas.microsoft.com/office/drawing/2014/main" id="{F55BBEAC-F3EB-AF73-371A-E2F90A4E7CDB}"/>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15" name="Title Placeholder">
            <a:extLst>
              <a:ext uri="{FF2B5EF4-FFF2-40B4-BE49-F238E27FC236}">
                <a16:creationId xmlns:a16="http://schemas.microsoft.com/office/drawing/2014/main" id="{A568B237-249F-A08F-E259-9BD8E2766717}"/>
              </a:ext>
            </a:extLst>
          </p:cNvPr>
          <p:cNvSpPr>
            <a:spLocks noGrp="1" noRot="1" noMove="1" noResize="1" noEditPoints="1" noAdjustHandles="1" noChangeArrowheads="1" noChangeShapeType="1"/>
          </p:cNvSpPr>
          <p:nvPr>
            <p:ph type="title" hasCustomPrompt="1"/>
          </p:nvPr>
        </p:nvSpPr>
        <p:spPr>
          <a:xfrm>
            <a:off x="292100" y="304800"/>
            <a:ext cx="11613314" cy="265590"/>
          </a:xfrm>
        </p:spPr>
        <p:txBody>
          <a:bodyPr>
            <a:noAutofit/>
          </a:bodyPr>
          <a:lstStyle/>
          <a:p>
            <a:r>
              <a:rPr lang="en-US"/>
              <a:t>Insert your slide title in Arial Bold 20pt</a:t>
            </a:r>
            <a:endParaRPr lang="en-GB"/>
          </a:p>
        </p:txBody>
      </p:sp>
    </p:spTree>
    <p:extLst>
      <p:ext uri="{BB962C8B-B14F-4D97-AF65-F5344CB8AC3E}">
        <p14:creationId xmlns:p14="http://schemas.microsoft.com/office/powerpoint/2010/main" val="3905729427"/>
      </p:ext>
    </p:extLst>
  </p:cSld>
  <p:clrMapOvr>
    <a:masterClrMapping/>
  </p:clrMapOvr>
  <p:extLst>
    <p:ext uri="{DCECCB84-F9BA-43D5-87BE-67443E8EF086}">
      <p15:sldGuideLst xmlns:p15="http://schemas.microsoft.com/office/powerpoint/2012/main">
        <p15:guide id="10" pos="2525">
          <p15:clr>
            <a:srgbClr val="FDE53C"/>
          </p15:clr>
        </p15:guide>
        <p15:guide id="11" pos="2669">
          <p15:clr>
            <a:srgbClr val="FDE53C"/>
          </p15:clr>
        </p15:guide>
        <p15:guide id="18" pos="5010">
          <p15:clr>
            <a:srgbClr val="FDE53C"/>
          </p15:clr>
        </p15:guide>
        <p15:guide id="19" pos="5154">
          <p15:clr>
            <a:srgbClr val="FDE53C"/>
          </p15:clr>
        </p15:guide>
        <p15:guide id="22" orient="horz" pos="2304">
          <p15:clr>
            <a:srgbClr val="A4A3A4"/>
          </p15:clr>
        </p15:guide>
        <p15:guide id="23" orient="horz" pos="2232">
          <p15:clr>
            <a:srgbClr val="A4A3A4"/>
          </p15:clr>
        </p15:guide>
        <p15:guide id="24" orient="horz" pos="2376">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Slide Number Placeholder">
            <a:extLst>
              <a:ext uri="{FF2B5EF4-FFF2-40B4-BE49-F238E27FC236}">
                <a16:creationId xmlns:a16="http://schemas.microsoft.com/office/drawing/2014/main" id="{80A15201-F299-04EA-E6CE-E722641959C0}"/>
              </a:ext>
            </a:extLst>
          </p:cNvPr>
          <p:cNvSpPr>
            <a:spLocks noGrp="1" noRot="1" noMove="1" noResize="1" noEditPoints="1" noAdjustHandles="1" noChangeArrowheads="1" noChangeShapeType="1"/>
          </p:cNvSpPr>
          <p:nvPr>
            <p:ph type="sldNum" sz="quarter" idx="12"/>
          </p:nvPr>
        </p:nvSpPr>
        <p:spPr>
          <a:xfrm>
            <a:off x="11495577" y="6495100"/>
            <a:ext cx="404321" cy="282957"/>
          </a:xfrm>
        </p:spPr>
        <p:txBody>
          <a:bodyPr>
            <a:noAutofit/>
          </a:bodyPr>
          <a:lstStyle/>
          <a:p>
            <a:fld id="{3E04DF46-C0DC-4ADC-9A6F-918CC4703A43}" type="slidenum">
              <a:rPr lang="en-GB" smtClean="0"/>
              <a:t>‹#›</a:t>
            </a:fld>
            <a:endParaRPr lang="en-GB"/>
          </a:p>
        </p:txBody>
      </p:sp>
      <p:sp>
        <p:nvSpPr>
          <p:cNvPr id="7" name="Footer Placeholder">
            <a:extLst>
              <a:ext uri="{FF2B5EF4-FFF2-40B4-BE49-F238E27FC236}">
                <a16:creationId xmlns:a16="http://schemas.microsoft.com/office/drawing/2014/main" id="{8C02E2E7-130F-8E98-F5E2-0E052FB5C9BB}"/>
              </a:ext>
            </a:extLst>
          </p:cNvPr>
          <p:cNvSpPr>
            <a:spLocks noGrp="1" noRot="1" noMove="1" noResize="1" noEditPoints="1" noAdjustHandles="1" noChangeArrowheads="1" noChangeShapeType="1"/>
          </p:cNvSpPr>
          <p:nvPr>
            <p:ph type="ftr" sz="quarter" idx="11"/>
          </p:nvPr>
        </p:nvSpPr>
        <p:spPr>
          <a:xfrm>
            <a:off x="3251197" y="6495102"/>
            <a:ext cx="3716341" cy="282957"/>
          </a:xfrm>
        </p:spPr>
        <p:txBody>
          <a:bodyPr>
            <a:noAutofit/>
          </a:bodyPr>
          <a:lstStyle/>
          <a:p>
            <a:endParaRPr lang="en-GB"/>
          </a:p>
        </p:txBody>
      </p:sp>
      <p:sp>
        <p:nvSpPr>
          <p:cNvPr id="8" name="Date Placeholder">
            <a:extLst>
              <a:ext uri="{FF2B5EF4-FFF2-40B4-BE49-F238E27FC236}">
                <a16:creationId xmlns:a16="http://schemas.microsoft.com/office/drawing/2014/main" id="{688318DD-F239-9F43-D086-9EBEC3E54025}"/>
              </a:ext>
            </a:extLst>
          </p:cNvPr>
          <p:cNvSpPr>
            <a:spLocks noGrp="1" noRot="1" noMove="1" noResize="1" noEditPoints="1" noAdjustHandles="1" noChangeArrowheads="1" noChangeShapeType="1"/>
          </p:cNvSpPr>
          <p:nvPr>
            <p:ph type="dt" sz="half" idx="10"/>
          </p:nvPr>
        </p:nvSpPr>
        <p:spPr>
          <a:xfrm>
            <a:off x="2265363" y="6495102"/>
            <a:ext cx="757238" cy="282957"/>
          </a:xfrm>
        </p:spPr>
        <p:txBody>
          <a:bodyPr>
            <a:noAutofit/>
          </a:bodyPr>
          <a:lstStyle/>
          <a:p>
            <a:fld id="{A95ACABD-257F-48AB-94D3-B913B9097175}" type="datetime1">
              <a:rPr lang="en-GB" smtClean="0"/>
              <a:t>18/11/2024</a:t>
            </a:fld>
            <a:endParaRPr lang="en-GB"/>
          </a:p>
        </p:txBody>
      </p:sp>
      <p:sp>
        <p:nvSpPr>
          <p:cNvPr id="9" name="Source Placeholder">
            <a:extLst>
              <a:ext uri="{FF2B5EF4-FFF2-40B4-BE49-F238E27FC236}">
                <a16:creationId xmlns:a16="http://schemas.microsoft.com/office/drawing/2014/main" id="{C6CEF957-D49F-C931-2F5D-3BEC205BBE41}"/>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10" name="Subtitle Placeholder">
            <a:extLst>
              <a:ext uri="{FF2B5EF4-FFF2-40B4-BE49-F238E27FC236}">
                <a16:creationId xmlns:a16="http://schemas.microsoft.com/office/drawing/2014/main" id="{6C1C9672-42DD-57E9-416C-57C076682C6B}"/>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11" name="Title Placeholder">
            <a:extLst>
              <a:ext uri="{FF2B5EF4-FFF2-40B4-BE49-F238E27FC236}">
                <a16:creationId xmlns:a16="http://schemas.microsoft.com/office/drawing/2014/main" id="{85B153CC-4B6C-85AB-FFEB-0F2CD0DA990D}"/>
              </a:ext>
            </a:extLst>
          </p:cNvPr>
          <p:cNvSpPr>
            <a:spLocks noGrp="1" noRot="1" noMove="1" noResize="1" noEditPoints="1" noAdjustHandles="1" noChangeArrowheads="1" noChangeShapeType="1"/>
          </p:cNvSpPr>
          <p:nvPr>
            <p:ph type="title" hasCustomPrompt="1"/>
          </p:nvPr>
        </p:nvSpPr>
        <p:spPr>
          <a:xfrm>
            <a:off x="292100" y="304800"/>
            <a:ext cx="11613314" cy="265590"/>
          </a:xfrm>
        </p:spPr>
        <p:txBody>
          <a:bodyPr>
            <a:noAutofit/>
          </a:bodyPr>
          <a:lstStyle/>
          <a:p>
            <a:r>
              <a:rPr lang="en-US"/>
              <a:t>Insert your slide title in Arial Bold 20pt</a:t>
            </a:r>
            <a:endParaRPr lang="en-GB"/>
          </a:p>
        </p:txBody>
      </p:sp>
    </p:spTree>
    <p:extLst>
      <p:ext uri="{BB962C8B-B14F-4D97-AF65-F5344CB8AC3E}">
        <p14:creationId xmlns:p14="http://schemas.microsoft.com/office/powerpoint/2010/main" val="3198164008"/>
      </p:ext>
    </p:extLst>
  </p:cSld>
  <p:clrMapOvr>
    <a:masterClrMapping/>
  </p:clrMapOvr>
  <p:extLst>
    <p:ext uri="{DCECCB84-F9BA-43D5-87BE-67443E8EF086}">
      <p15:sldGuideLst xmlns:p15="http://schemas.microsoft.com/office/powerpoint/2012/main">
        <p15:guide id="8" pos="1904">
          <p15:clr>
            <a:srgbClr val="5ACBF0"/>
          </p15:clr>
        </p15:guide>
        <p15:guide id="9" pos="2048">
          <p15:clr>
            <a:srgbClr val="5ACBF0"/>
          </p15:clr>
        </p15:guide>
        <p15:guide id="10" pos="2525">
          <p15:clr>
            <a:srgbClr val="FDE53C"/>
          </p15:clr>
        </p15:guide>
        <p15:guide id="11" pos="2669">
          <p15:clr>
            <a:srgbClr val="FDE53C"/>
          </p15:clr>
        </p15:guide>
        <p15:guide id="14" pos="3768">
          <p15:clr>
            <a:srgbClr val="A4A3A4"/>
          </p15:clr>
        </p15:guide>
        <p15:guide id="15" pos="3912">
          <p15:clr>
            <a:srgbClr val="A4A3A4"/>
          </p15:clr>
        </p15:guide>
        <p15:guide id="18" pos="5010">
          <p15:clr>
            <a:srgbClr val="FDE53C"/>
          </p15:clr>
        </p15:guide>
        <p15:guide id="19" pos="5154">
          <p15:clr>
            <a:srgbClr val="FDE53C"/>
          </p15:clr>
        </p15:guide>
        <p15:guide id="20" pos="5631">
          <p15:clr>
            <a:srgbClr val="5ACBF0"/>
          </p15:clr>
        </p15:guide>
        <p15:guide id="21" pos="5775">
          <p15:clr>
            <a:srgbClr val="5ACBF0"/>
          </p15:clr>
        </p15:guide>
        <p15:guide id="22" orient="horz" pos="2304">
          <p15:clr>
            <a:srgbClr val="A4A3A4"/>
          </p15:clr>
        </p15:guide>
        <p15:guide id="23" orient="horz" pos="2232">
          <p15:clr>
            <a:srgbClr val="A4A3A4"/>
          </p15:clr>
        </p15:guide>
        <p15:guide id="24" orient="horz" pos="2376">
          <p15:clr>
            <a:srgbClr val="A4A3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Slide Number Placeholder">
            <a:extLst>
              <a:ext uri="{FF2B5EF4-FFF2-40B4-BE49-F238E27FC236}">
                <a16:creationId xmlns:a16="http://schemas.microsoft.com/office/drawing/2014/main" id="{FF1CCD16-E874-4575-C807-467DA234694F}"/>
              </a:ext>
            </a:extLst>
          </p:cNvPr>
          <p:cNvSpPr>
            <a:spLocks noGrp="1" noRot="1" noMove="1" noResize="1" noEditPoints="1" noAdjustHandles="1" noChangeArrowheads="1" noChangeShapeType="1"/>
          </p:cNvSpPr>
          <p:nvPr>
            <p:ph type="sldNum" sz="quarter" idx="12"/>
          </p:nvPr>
        </p:nvSpPr>
        <p:spPr>
          <a:xfrm>
            <a:off x="11495577" y="6495100"/>
            <a:ext cx="404321" cy="282957"/>
          </a:xfrm>
        </p:spPr>
        <p:txBody>
          <a:bodyPr>
            <a:noAutofit/>
          </a:bodyPr>
          <a:lstStyle/>
          <a:p>
            <a:fld id="{3E04DF46-C0DC-4ADC-9A6F-918CC4703A43}" type="slidenum">
              <a:rPr lang="en-GB" smtClean="0"/>
              <a:t>‹#›</a:t>
            </a:fld>
            <a:endParaRPr lang="en-GB"/>
          </a:p>
        </p:txBody>
      </p:sp>
      <p:sp>
        <p:nvSpPr>
          <p:cNvPr id="7" name="Footer Placeholder">
            <a:extLst>
              <a:ext uri="{FF2B5EF4-FFF2-40B4-BE49-F238E27FC236}">
                <a16:creationId xmlns:a16="http://schemas.microsoft.com/office/drawing/2014/main" id="{B4915FF7-2EBE-0DA1-DDC3-CE3F3E028DF0}"/>
              </a:ext>
            </a:extLst>
          </p:cNvPr>
          <p:cNvSpPr>
            <a:spLocks noGrp="1" noRot="1" noMove="1" noResize="1" noEditPoints="1" noAdjustHandles="1" noChangeArrowheads="1" noChangeShapeType="1"/>
          </p:cNvSpPr>
          <p:nvPr>
            <p:ph type="ftr" sz="quarter" idx="11"/>
          </p:nvPr>
        </p:nvSpPr>
        <p:spPr>
          <a:xfrm>
            <a:off x="3251197" y="6495102"/>
            <a:ext cx="3716341" cy="282957"/>
          </a:xfrm>
        </p:spPr>
        <p:txBody>
          <a:bodyPr>
            <a:noAutofit/>
          </a:bodyPr>
          <a:lstStyle/>
          <a:p>
            <a:endParaRPr lang="en-GB"/>
          </a:p>
        </p:txBody>
      </p:sp>
      <p:sp>
        <p:nvSpPr>
          <p:cNvPr id="8" name="Date Placeholder">
            <a:extLst>
              <a:ext uri="{FF2B5EF4-FFF2-40B4-BE49-F238E27FC236}">
                <a16:creationId xmlns:a16="http://schemas.microsoft.com/office/drawing/2014/main" id="{BC0175EF-749F-C86F-818F-8A61B8621534}"/>
              </a:ext>
            </a:extLst>
          </p:cNvPr>
          <p:cNvSpPr>
            <a:spLocks noGrp="1" noRot="1" noMove="1" noResize="1" noEditPoints="1" noAdjustHandles="1" noChangeArrowheads="1" noChangeShapeType="1"/>
          </p:cNvSpPr>
          <p:nvPr>
            <p:ph type="dt" sz="half" idx="10"/>
          </p:nvPr>
        </p:nvSpPr>
        <p:spPr>
          <a:xfrm>
            <a:off x="2265363" y="6495102"/>
            <a:ext cx="757238" cy="282957"/>
          </a:xfrm>
        </p:spPr>
        <p:txBody>
          <a:bodyPr>
            <a:noAutofit/>
          </a:bodyPr>
          <a:lstStyle/>
          <a:p>
            <a:fld id="{A95ACABD-257F-48AB-94D3-B913B9097175}" type="datetime1">
              <a:rPr lang="en-GB" smtClean="0"/>
              <a:t>18/11/2024</a:t>
            </a:fld>
            <a:endParaRPr lang="en-GB"/>
          </a:p>
        </p:txBody>
      </p:sp>
      <p:sp>
        <p:nvSpPr>
          <p:cNvPr id="9" name="Source Placeholder">
            <a:extLst>
              <a:ext uri="{FF2B5EF4-FFF2-40B4-BE49-F238E27FC236}">
                <a16:creationId xmlns:a16="http://schemas.microsoft.com/office/drawing/2014/main" id="{3D2B748D-0569-6BAA-D751-0BE3B75C09E8}"/>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Tree>
    <p:extLst>
      <p:ext uri="{BB962C8B-B14F-4D97-AF65-F5344CB8AC3E}">
        <p14:creationId xmlns:p14="http://schemas.microsoft.com/office/powerpoint/2010/main" val="1115260515"/>
      </p:ext>
    </p:extLst>
  </p:cSld>
  <p:clrMapOvr>
    <a:masterClrMapping/>
  </p:clrMapOvr>
  <p:extLst>
    <p:ext uri="{DCECCB84-F9BA-43D5-87BE-67443E8EF086}">
      <p15:sldGuideLst xmlns:p15="http://schemas.microsoft.com/office/powerpoint/2012/main">
        <p15:guide id="8" pos="1904">
          <p15:clr>
            <a:srgbClr val="5ACBF0"/>
          </p15:clr>
        </p15:guide>
        <p15:guide id="9" pos="2048">
          <p15:clr>
            <a:srgbClr val="5ACBF0"/>
          </p15:clr>
        </p15:guide>
        <p15:guide id="10" pos="2525">
          <p15:clr>
            <a:srgbClr val="FDE53C"/>
          </p15:clr>
        </p15:guide>
        <p15:guide id="11" pos="2669">
          <p15:clr>
            <a:srgbClr val="FDE53C"/>
          </p15:clr>
        </p15:guide>
        <p15:guide id="14" pos="3768">
          <p15:clr>
            <a:srgbClr val="A4A3A4"/>
          </p15:clr>
        </p15:guide>
        <p15:guide id="15" pos="3912">
          <p15:clr>
            <a:srgbClr val="A4A3A4"/>
          </p15:clr>
        </p15:guide>
        <p15:guide id="18" pos="5010">
          <p15:clr>
            <a:srgbClr val="FDE53C"/>
          </p15:clr>
        </p15:guide>
        <p15:guide id="19" pos="5154">
          <p15:clr>
            <a:srgbClr val="FDE53C"/>
          </p15:clr>
        </p15:guide>
        <p15:guide id="20" pos="5631">
          <p15:clr>
            <a:srgbClr val="5ACBF0"/>
          </p15:clr>
        </p15:guide>
        <p15:guide id="21" pos="5775">
          <p15:clr>
            <a:srgbClr val="5ACBF0"/>
          </p15:clr>
        </p15:guide>
        <p15:guide id="22" orient="horz" pos="2016">
          <p15:clr>
            <a:srgbClr val="A4A3A4"/>
          </p15:clr>
        </p15:guide>
        <p15:guide id="23" orient="horz" pos="2088">
          <p15:clr>
            <a:srgbClr val="A4A3A4"/>
          </p15:clr>
        </p15:guide>
        <p15:guide id="24" orient="horz" pos="1944">
          <p15:clr>
            <a:srgbClr val="A4A3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Full-bleed Image Background">
    <p:spTree>
      <p:nvGrpSpPr>
        <p:cNvPr id="1" name=""/>
        <p:cNvGrpSpPr/>
        <p:nvPr/>
      </p:nvGrpSpPr>
      <p:grpSpPr>
        <a:xfrm>
          <a:off x="0" y="0"/>
          <a:ext cx="0" cy="0"/>
          <a:chOff x="0" y="0"/>
          <a:chExt cx="0" cy="0"/>
        </a:xfrm>
      </p:grpSpPr>
      <p:sp>
        <p:nvSpPr>
          <p:cNvPr id="19" name="Off-slide Instructions">
            <a:extLst>
              <a:ext uri="{FF2B5EF4-FFF2-40B4-BE49-F238E27FC236}">
                <a16:creationId xmlns:a16="http://schemas.microsoft.com/office/drawing/2014/main" id="{DA271C09-A92C-0B4B-7460-3B1AE1A0D38E}"/>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12338614" y="0"/>
            <a:ext cx="2812486" cy="2373888"/>
          </a:xfrm>
          <a:prstGeom prst="bracketPair">
            <a:avLst>
              <a:gd name="adj" fmla="val 4083"/>
            </a:avLst>
          </a:prstGeom>
          <a:solidFill>
            <a:srgbClr val="FFFF00">
              <a:alpha val="80000"/>
            </a:srgbClr>
          </a:solidFill>
          <a:ln w="38100">
            <a:solidFill>
              <a:srgbClr val="FFC000"/>
            </a:solidFill>
          </a:ln>
        </p:spPr>
        <p:style>
          <a:lnRef idx="1">
            <a:schemeClr val="accent1"/>
          </a:lnRef>
          <a:fillRef idx="0">
            <a:schemeClr val="accent1"/>
          </a:fillRef>
          <a:effectRef idx="0">
            <a:schemeClr val="accent1"/>
          </a:effectRef>
          <a:fontRef idx="minor">
            <a:schemeClr val="tx1"/>
          </a:fontRef>
        </p:style>
        <p:txBody>
          <a:bodyPr wrap="square" rtlCol="0" anchor="ctr">
            <a:spAutoFit/>
          </a:bodyPr>
          <a:lstStyle/>
          <a:p>
            <a:pPr marL="0" indent="0" algn="l" defTabSz="914400" rtl="0" eaLnBrk="1" latinLnBrk="0" hangingPunct="1">
              <a:spcAft>
                <a:spcPts val="400"/>
              </a:spcAft>
              <a:buFont typeface="+mj-lt"/>
              <a:buNone/>
            </a:pPr>
            <a:r>
              <a:rPr lang="en-US" sz="1200" b="1" kern="1200">
                <a:solidFill>
                  <a:srgbClr val="000000"/>
                </a:solidFill>
                <a:latin typeface="+mn-lt"/>
                <a:ea typeface="+mn-ea"/>
                <a:cs typeface="+mn-cs"/>
              </a:rPr>
              <a:t>If logo, copyright line, footer, etc. are missing:</a:t>
            </a:r>
          </a:p>
          <a:p>
            <a:pPr marL="177800" lvl="0" indent="-177800">
              <a:spcAft>
                <a:spcPts val="400"/>
              </a:spcAft>
              <a:buFont typeface="+mj-lt"/>
              <a:buAutoNum type="arabicPeriod"/>
            </a:pPr>
            <a:r>
              <a:rPr lang="en-US" sz="800">
                <a:solidFill>
                  <a:srgbClr val="000000"/>
                </a:solidFill>
              </a:rPr>
              <a:t>Go to </a:t>
            </a:r>
            <a:r>
              <a:rPr lang="en-US" sz="800" b="1">
                <a:solidFill>
                  <a:srgbClr val="000000"/>
                </a:solidFill>
              </a:rPr>
              <a:t>View &gt; Slide Master</a:t>
            </a:r>
          </a:p>
          <a:p>
            <a:pPr marL="177800" lvl="0" indent="-177800">
              <a:spcAft>
                <a:spcPts val="400"/>
              </a:spcAft>
              <a:buFont typeface="+mj-lt"/>
              <a:buAutoNum type="arabicPeriod"/>
            </a:pPr>
            <a:r>
              <a:rPr lang="en-US" sz="800">
                <a:solidFill>
                  <a:srgbClr val="000000"/>
                </a:solidFill>
              </a:rPr>
              <a:t>Copy logo and footer elements from Layout Master</a:t>
            </a:r>
          </a:p>
          <a:p>
            <a:pPr marL="177800" lvl="0" indent="-177800">
              <a:spcAft>
                <a:spcPts val="400"/>
              </a:spcAft>
              <a:buFont typeface="+mj-lt"/>
              <a:buAutoNum type="arabicPeriod"/>
            </a:pPr>
            <a:r>
              <a:rPr lang="en-US" sz="800">
                <a:solidFill>
                  <a:srgbClr val="000000"/>
                </a:solidFill>
              </a:rPr>
              <a:t>Close Master View</a:t>
            </a:r>
          </a:p>
          <a:p>
            <a:pPr marL="177800" lvl="0" indent="-177800">
              <a:spcAft>
                <a:spcPts val="400"/>
              </a:spcAft>
              <a:buFont typeface="+mj-lt"/>
              <a:buAutoNum type="arabicPeriod"/>
            </a:pPr>
            <a:r>
              <a:rPr lang="en-US" sz="800">
                <a:solidFill>
                  <a:srgbClr val="000000"/>
                </a:solidFill>
              </a:rPr>
              <a:t>Paste on slide</a:t>
            </a:r>
            <a:endParaRPr lang="en-US" sz="1200" b="1">
              <a:solidFill>
                <a:srgbClr val="000000"/>
              </a:solidFill>
            </a:endParaRPr>
          </a:p>
          <a:p>
            <a:pPr>
              <a:spcAft>
                <a:spcPts val="400"/>
              </a:spcAft>
            </a:pPr>
            <a:endParaRPr lang="en-US" sz="1200" b="1">
              <a:solidFill>
                <a:srgbClr val="000000"/>
              </a:solidFill>
            </a:endParaRPr>
          </a:p>
          <a:p>
            <a:pPr>
              <a:spcAft>
                <a:spcPts val="400"/>
              </a:spcAft>
            </a:pPr>
            <a:r>
              <a:rPr lang="en-US" sz="1200" b="1">
                <a:solidFill>
                  <a:srgbClr val="000000"/>
                </a:solidFill>
              </a:rPr>
              <a:t>To replace existing image:</a:t>
            </a:r>
          </a:p>
          <a:p>
            <a:pPr marL="174625" indent="-174625">
              <a:spcAft>
                <a:spcPts val="400"/>
              </a:spcAft>
              <a:buFont typeface="+mj-lt"/>
              <a:buAutoNum type="arabicPeriod"/>
            </a:pPr>
            <a:r>
              <a:rPr lang="en-US" sz="800">
                <a:solidFill>
                  <a:srgbClr val="000000"/>
                </a:solidFill>
              </a:rPr>
              <a:t>Right-click image placeholder</a:t>
            </a:r>
          </a:p>
          <a:p>
            <a:pPr marL="174625" indent="-174625">
              <a:spcAft>
                <a:spcPts val="400"/>
              </a:spcAft>
              <a:buFont typeface="+mj-lt"/>
              <a:buAutoNum type="arabicPeriod"/>
            </a:pPr>
            <a:r>
              <a:rPr lang="en-US" sz="800">
                <a:solidFill>
                  <a:srgbClr val="000000"/>
                </a:solidFill>
              </a:rPr>
              <a:t>Select </a:t>
            </a:r>
            <a:r>
              <a:rPr lang="en-US" sz="800" b="1">
                <a:solidFill>
                  <a:srgbClr val="000000"/>
                </a:solidFill>
              </a:rPr>
              <a:t>Change Picture</a:t>
            </a:r>
          </a:p>
          <a:p>
            <a:pPr marL="174625" indent="-174625">
              <a:spcAft>
                <a:spcPts val="400"/>
              </a:spcAft>
              <a:buFont typeface="+mj-lt"/>
              <a:buAutoNum type="arabicPeriod"/>
            </a:pPr>
            <a:r>
              <a:rPr lang="en-US" sz="800">
                <a:solidFill>
                  <a:srgbClr val="000000"/>
                </a:solidFill>
              </a:rPr>
              <a:t>Select</a:t>
            </a:r>
            <a:r>
              <a:rPr lang="en-US" sz="800" b="1">
                <a:solidFill>
                  <a:srgbClr val="000000"/>
                </a:solidFill>
              </a:rPr>
              <a:t> desired </a:t>
            </a:r>
            <a:r>
              <a:rPr lang="en-US" sz="800">
                <a:solidFill>
                  <a:srgbClr val="000000"/>
                </a:solidFill>
              </a:rPr>
              <a:t>image file (.jpg, .</a:t>
            </a:r>
            <a:r>
              <a:rPr lang="en-US" sz="800" err="1">
                <a:solidFill>
                  <a:srgbClr val="000000"/>
                </a:solidFill>
              </a:rPr>
              <a:t>png</a:t>
            </a:r>
            <a:r>
              <a:rPr lang="en-US" sz="800">
                <a:solidFill>
                  <a:srgbClr val="000000"/>
                </a:solidFill>
              </a:rPr>
              <a:t>, .gif)</a:t>
            </a:r>
          </a:p>
          <a:p>
            <a:pPr marL="174625" indent="-174625">
              <a:spcAft>
                <a:spcPts val="400"/>
              </a:spcAft>
              <a:buFont typeface="+mj-lt"/>
              <a:buAutoNum type="arabicPeriod"/>
            </a:pPr>
            <a:endParaRPr lang="en-US" sz="800">
              <a:solidFill>
                <a:srgbClr val="000000"/>
              </a:solidFill>
            </a:endParaRPr>
          </a:p>
        </p:txBody>
      </p:sp>
      <p:sp>
        <p:nvSpPr>
          <p:cNvPr id="7" name="Picture Placeholder">
            <a:extLst>
              <a:ext uri="{FF2B5EF4-FFF2-40B4-BE49-F238E27FC236}">
                <a16:creationId xmlns:a16="http://schemas.microsoft.com/office/drawing/2014/main" id="{4B940176-20BD-885B-C7DC-D045A7B5B0D1}"/>
              </a:ext>
            </a:extLst>
          </p:cNvPr>
          <p:cNvSpPr>
            <a:spLocks noGrp="1" noRot="1" noMove="1" noResize="1" noEditPoints="1" noAdjustHandles="1" noChangeArrowheads="1" noChangeShapeType="1"/>
          </p:cNvSpPr>
          <p:nvPr>
            <p:ph type="pic" sz="quarter" idx="13" hasCustomPrompt="1"/>
          </p:nvPr>
        </p:nvSpPr>
        <p:spPr>
          <a:xfrm>
            <a:off x="0" y="0"/>
            <a:ext cx="12192000" cy="6858000"/>
          </a:xfrm>
          <a:solidFill>
            <a:schemeClr val="tx1">
              <a:lumMod val="60000"/>
              <a:lumOff val="40000"/>
            </a:schemeClr>
          </a:solidFill>
        </p:spPr>
        <p:txBody>
          <a:bodyPr vert="horz" lIns="9144000" tIns="91440" rIns="182880" bIns="0" rtlCol="0" anchor="t">
            <a:noAutofit/>
          </a:bodyPr>
          <a:lstStyle>
            <a:lvl1pPr marL="231775" indent="-231775">
              <a:buNone/>
              <a:defRPr lang="en-GB" sz="1400" b="1">
                <a:solidFill>
                  <a:srgbClr val="FFFF00"/>
                </a:solidFill>
              </a:defRPr>
            </a:lvl1pPr>
          </a:lstStyle>
          <a:p>
            <a:pPr marL="171450" marR="0" lvl="0" indent="-171450" algn="l" defTabSz="914400" rtl="0" eaLnBrk="1" fontAlgn="auto" latinLnBrk="0" hangingPunct="1">
              <a:lnSpc>
                <a:spcPct val="100000"/>
              </a:lnSpc>
              <a:spcBef>
                <a:spcPts val="1200"/>
              </a:spcBef>
              <a:spcAft>
                <a:spcPts val="0"/>
              </a:spcAft>
              <a:buClrTx/>
              <a:buSzTx/>
              <a:tabLst/>
              <a:defRPr/>
            </a:pPr>
            <a:r>
              <a:rPr lang="en-US"/>
              <a:t>To add image: </a:t>
            </a:r>
            <a:br>
              <a:rPr lang="en-US"/>
            </a:br>
            <a:r>
              <a:rPr lang="en-US"/>
              <a:t>1. Select image placeholder</a:t>
            </a:r>
            <a:br>
              <a:rPr lang="en-US"/>
            </a:br>
            <a:r>
              <a:rPr lang="en-US"/>
              <a:t>2. Drag/drop file or copy/paste image into slide (.jpg, .gif, .</a:t>
            </a:r>
            <a:r>
              <a:rPr lang="en-US" err="1"/>
              <a:t>png</a:t>
            </a:r>
            <a:r>
              <a:rPr lang="en-US"/>
              <a:t>)</a:t>
            </a:r>
            <a:br>
              <a:rPr lang="en-US"/>
            </a:br>
            <a:r>
              <a:rPr lang="en-US"/>
              <a:t>3. Right-click image and “Send to back”</a:t>
            </a:r>
          </a:p>
          <a:p>
            <a:pPr marL="171450" lvl="0" indent="-171450"/>
            <a:endParaRPr lang="en-GB"/>
          </a:p>
        </p:txBody>
      </p:sp>
      <p:sp>
        <p:nvSpPr>
          <p:cNvPr id="5" name="Slide Number Placeholder">
            <a:extLst>
              <a:ext uri="{FF2B5EF4-FFF2-40B4-BE49-F238E27FC236}">
                <a16:creationId xmlns:a16="http://schemas.microsoft.com/office/drawing/2014/main" id="{29AE0AC1-71EF-CCFC-AB5C-8DFA568CA5FE}"/>
              </a:ext>
            </a:extLst>
          </p:cNvPr>
          <p:cNvSpPr>
            <a:spLocks noGrp="1" noRot="1" noMove="1" noResize="1" noEditPoints="1" noAdjustHandles="1" noChangeArrowheads="1" noChangeShapeType="1"/>
          </p:cNvSpPr>
          <p:nvPr>
            <p:ph type="sldNum" sz="quarter" idx="12"/>
          </p:nvPr>
        </p:nvSpPr>
        <p:spPr>
          <a:xfrm>
            <a:off x="11495577" y="6485399"/>
            <a:ext cx="404321" cy="282957"/>
          </a:xfrm>
        </p:spPr>
        <p:txBody>
          <a:bodyPr>
            <a:noAutofit/>
          </a:bodyPr>
          <a:lstStyle>
            <a:lvl1pPr>
              <a:defRPr>
                <a:solidFill>
                  <a:schemeClr val="bg1"/>
                </a:solidFill>
              </a:defRPr>
            </a:lvl1pPr>
          </a:lstStyle>
          <a:p>
            <a:fld id="{3E04DF46-C0DC-4ADC-9A6F-918CC4703A43}" type="slidenum">
              <a:rPr lang="en-GB" smtClean="0"/>
              <a:pPr/>
              <a:t>‹#›</a:t>
            </a:fld>
            <a:endParaRPr lang="en-GB"/>
          </a:p>
        </p:txBody>
      </p:sp>
      <p:sp>
        <p:nvSpPr>
          <p:cNvPr id="15" name="Copyright Line">
            <a:extLst>
              <a:ext uri="{FF2B5EF4-FFF2-40B4-BE49-F238E27FC236}">
                <a16:creationId xmlns:a16="http://schemas.microsoft.com/office/drawing/2014/main" id="{B707803F-60FA-342A-DB2A-415C371CB04E}"/>
              </a:ext>
            </a:extLst>
          </p:cNvPr>
          <p:cNvSpPr txBox="1">
            <a:spLocks noGrp="1" noRot="1" noMove="1" noResize="1" noEditPoints="1" noAdjustHandles="1" noChangeArrowheads="1" noChangeShapeType="1"/>
          </p:cNvSpPr>
          <p:nvPr userDrawn="1"/>
        </p:nvSpPr>
        <p:spPr>
          <a:xfrm>
            <a:off x="9167809" y="6536551"/>
            <a:ext cx="2268453" cy="200055"/>
          </a:xfrm>
          <a:prstGeom prst="rect">
            <a:avLst/>
          </a:prstGeom>
          <a:noFill/>
        </p:spPr>
        <p:txBody>
          <a:bodyPr wrap="square" lIns="0" r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bg1"/>
                </a:solidFill>
              </a:rPr>
              <a:t>© </a:t>
            </a:r>
            <a:fld id="{92E70860-886D-4303-B2B5-BD1295E1FD39}" type="datetimeyyyy">
              <a:rPr lang="en-US" sz="700" smtClean="0">
                <a:solidFill>
                  <a:schemeClr val="bg1"/>
                </a:solidFill>
              </a:rPr>
              <a:t>2024</a:t>
            </a:fld>
            <a:r>
              <a:rPr lang="en-US" sz="700">
                <a:solidFill>
                  <a:schemeClr val="bg1"/>
                </a:solidFill>
              </a:rPr>
              <a:t> Nielsen Consumer LLC. All Rights Reserved.</a:t>
            </a:r>
          </a:p>
        </p:txBody>
      </p:sp>
      <p:sp>
        <p:nvSpPr>
          <p:cNvPr id="6" name="Confidential disclaimer">
            <a:extLst>
              <a:ext uri="{FF2B5EF4-FFF2-40B4-BE49-F238E27FC236}">
                <a16:creationId xmlns:a16="http://schemas.microsoft.com/office/drawing/2014/main" id="{FCE25AF0-0C89-001E-06C2-AD51F5FC7DE2}"/>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bg1"/>
                </a:solidFill>
                <a:latin typeface="+mn-lt"/>
                <a:ea typeface="+mn-ea"/>
                <a:cs typeface="+mn-cs"/>
              </a:rPr>
              <a:t>Confidential and proprietary</a:t>
            </a:r>
          </a:p>
        </p:txBody>
      </p:sp>
      <p:sp>
        <p:nvSpPr>
          <p:cNvPr id="3" name="Footer Placeholder">
            <a:extLst>
              <a:ext uri="{FF2B5EF4-FFF2-40B4-BE49-F238E27FC236}">
                <a16:creationId xmlns:a16="http://schemas.microsoft.com/office/drawing/2014/main" id="{02D2B3EE-E70A-1DEB-939C-DC6B0065BF60}"/>
              </a:ext>
            </a:extLst>
          </p:cNvPr>
          <p:cNvSpPr>
            <a:spLocks noGrp="1" noRot="1" noMove="1" noResize="1" noEditPoints="1" noAdjustHandles="1" noChangeArrowheads="1" noChangeShapeType="1"/>
          </p:cNvSpPr>
          <p:nvPr>
            <p:ph type="ftr" sz="quarter" idx="10"/>
          </p:nvPr>
        </p:nvSpPr>
        <p:spPr>
          <a:xfrm>
            <a:off x="3251197" y="6485399"/>
            <a:ext cx="3716341" cy="282957"/>
          </a:xfrm>
        </p:spPr>
        <p:txBody>
          <a:bodyPr>
            <a:noAutofit/>
          </a:bodyPr>
          <a:lstStyle>
            <a:lvl1pPr>
              <a:defRPr>
                <a:solidFill>
                  <a:schemeClr val="bg1"/>
                </a:solidFill>
              </a:defRPr>
            </a:lvl1pPr>
          </a:lstStyle>
          <a:p>
            <a:endParaRPr lang="en-GB"/>
          </a:p>
        </p:txBody>
      </p:sp>
      <p:sp>
        <p:nvSpPr>
          <p:cNvPr id="4" name="Date Placeholder">
            <a:extLst>
              <a:ext uri="{FF2B5EF4-FFF2-40B4-BE49-F238E27FC236}">
                <a16:creationId xmlns:a16="http://schemas.microsoft.com/office/drawing/2014/main" id="{F13BEA8B-0F53-AC66-58D8-93A2E2ABD13A}"/>
              </a:ext>
            </a:extLst>
          </p:cNvPr>
          <p:cNvSpPr>
            <a:spLocks noGrp="1" noRot="1" noMove="1" noResize="1" noEditPoints="1" noAdjustHandles="1" noChangeArrowheads="1" noChangeShapeType="1"/>
          </p:cNvSpPr>
          <p:nvPr>
            <p:ph type="dt" sz="half" idx="11"/>
          </p:nvPr>
        </p:nvSpPr>
        <p:spPr>
          <a:xfrm>
            <a:off x="2265363" y="6485399"/>
            <a:ext cx="757238" cy="282957"/>
          </a:xfrm>
        </p:spPr>
        <p:txBody>
          <a:bodyPr>
            <a:noAutofit/>
          </a:bodyPr>
          <a:lstStyle>
            <a:lvl1pPr>
              <a:defRPr>
                <a:solidFill>
                  <a:schemeClr val="bg1"/>
                </a:solidFill>
              </a:defRPr>
            </a:lvl1pPr>
          </a:lstStyle>
          <a:p>
            <a:fld id="{F42DF71F-30BE-44BA-A536-D8EF81D0364C}" type="datetime1">
              <a:rPr lang="en-GB" smtClean="0"/>
              <a:pPr/>
              <a:t>18/11/2024</a:t>
            </a:fld>
            <a:endParaRPr lang="en-GB"/>
          </a:p>
        </p:txBody>
      </p:sp>
      <p:cxnSp>
        <p:nvCxnSpPr>
          <p:cNvPr id="16" name="Base Rule">
            <a:extLst>
              <a:ext uri="{FF2B5EF4-FFF2-40B4-BE49-F238E27FC236}">
                <a16:creationId xmlns:a16="http://schemas.microsoft.com/office/drawing/2014/main" id="{A2E4D762-EABE-F9E8-A416-7B524EE5A5F3}"/>
              </a:ext>
            </a:extLst>
          </p:cNvPr>
          <p:cNvCxnSpPr>
            <a:cxnSpLocks noGrp="1" noRot="1" noMove="1" noResize="1" noEditPoints="1" noAdjustHandles="1" noChangeArrowheads="1" noChangeShapeType="1"/>
          </p:cNvCxnSpPr>
          <p:nvPr userDrawn="1"/>
        </p:nvCxnSpPr>
        <p:spPr>
          <a:xfrm>
            <a:off x="292100" y="6395755"/>
            <a:ext cx="1160780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ource Placeholder">
            <a:extLst>
              <a:ext uri="{FF2B5EF4-FFF2-40B4-BE49-F238E27FC236}">
                <a16:creationId xmlns:a16="http://schemas.microsoft.com/office/drawing/2014/main" id="{ED1AEB33-C846-8D27-B334-B80B72329C8E}"/>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chemeClr val="bg1"/>
                </a:solidFill>
              </a:defRPr>
            </a:lvl1pPr>
          </a:lstStyle>
          <a:p>
            <a:pPr marL="171450" lvl="0" indent="-171450">
              <a:spcBef>
                <a:spcPts val="0"/>
              </a:spcBef>
              <a:spcAft>
                <a:spcPts val="0"/>
              </a:spcAft>
            </a:pPr>
            <a:r>
              <a:rPr lang="en-GB"/>
              <a:t>Source, footnote</a:t>
            </a:r>
          </a:p>
        </p:txBody>
      </p:sp>
      <p:pic>
        <p:nvPicPr>
          <p:cNvPr id="8" name="NIQ GFK Lockup" hidden="1">
            <a:extLst>
              <a:ext uri="{FF2B5EF4-FFF2-40B4-BE49-F238E27FC236}">
                <a16:creationId xmlns:a16="http://schemas.microsoft.com/office/drawing/2014/main" id="{5D3C3BE7-0356-CB3B-CA9F-9B23ECA7BDF9}"/>
              </a:ext>
            </a:extLst>
          </p:cNvPr>
          <p:cNvPicPr>
            <a:picLocks noGrp="1" noRo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2" name="NielsenIQ logo+wordmark" descr="A blue text on a black background&#10;&#10;Description automatically generated" hidden="1">
            <a:extLst>
              <a:ext uri="{FF2B5EF4-FFF2-40B4-BE49-F238E27FC236}">
                <a16:creationId xmlns:a16="http://schemas.microsoft.com/office/drawing/2014/main" id="{3D2C78A3-1318-F9F9-A0FA-2E6F97A0A4AD}"/>
              </a:ext>
            </a:extLst>
          </p:cNvPr>
          <p:cNvPicPr>
            <a:picLocks noGrp="1" noRo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tretch>
            <a:fillRect/>
          </a:stretch>
        </p:blipFill>
        <p:spPr>
          <a:xfrm>
            <a:off x="290130" y="6495154"/>
            <a:ext cx="781433" cy="269593"/>
          </a:xfrm>
          <a:prstGeom prst="rect">
            <a:avLst/>
          </a:prstGeom>
        </p:spPr>
      </p:pic>
      <p:pic>
        <p:nvPicPr>
          <p:cNvPr id="18" name="NIQ Logo">
            <a:extLst>
              <a:ext uri="{FF2B5EF4-FFF2-40B4-BE49-F238E27FC236}">
                <a16:creationId xmlns:a16="http://schemas.microsoft.com/office/drawing/2014/main" id="{74EC100F-70B4-0E01-8BC9-6F09D73757D7}"/>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304746591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39" name="Abstracted logo">
            <a:extLst>
              <a:ext uri="{FF2B5EF4-FFF2-40B4-BE49-F238E27FC236}">
                <a16:creationId xmlns:a16="http://schemas.microsoft.com/office/drawing/2014/main" id="{37C4672C-8363-CE87-84A0-A85A94F793F9}"/>
              </a:ext>
            </a:extLst>
          </p:cNvPr>
          <p:cNvSpPr>
            <a:spLocks noGrp="1" noRot="1" noMove="1" noResize="1" noEditPoints="1" noAdjustHandles="1" noChangeArrowheads="1" noChangeShapeType="1"/>
          </p:cNvSpPr>
          <p:nvPr/>
        </p:nvSpPr>
        <p:spPr>
          <a:xfrm>
            <a:off x="0" y="1"/>
            <a:ext cx="11495577" cy="6496681"/>
          </a:xfrm>
          <a:custGeom>
            <a:avLst/>
            <a:gdLst>
              <a:gd name="connsiteX0" fmla="*/ 0 w 11495577"/>
              <a:gd name="connsiteY0" fmla="*/ 0 h 6496681"/>
              <a:gd name="connsiteX1" fmla="*/ 704099 w 11495577"/>
              <a:gd name="connsiteY1" fmla="*/ 0 h 6496681"/>
              <a:gd name="connsiteX2" fmla="*/ 741689 w 11495577"/>
              <a:gd name="connsiteY2" fmla="*/ 102812 h 6496681"/>
              <a:gd name="connsiteX3" fmla="*/ 3783129 w 11495577"/>
              <a:gd name="connsiteY3" fmla="*/ 2118000 h 6496681"/>
              <a:gd name="connsiteX4" fmla="*/ 6824569 w 11495577"/>
              <a:gd name="connsiteY4" fmla="*/ 102812 h 6496681"/>
              <a:gd name="connsiteX5" fmla="*/ 6862160 w 11495577"/>
              <a:gd name="connsiteY5" fmla="*/ 0 h 6496681"/>
              <a:gd name="connsiteX6" fmla="*/ 10037149 w 11495577"/>
              <a:gd name="connsiteY6" fmla="*/ 0 h 6496681"/>
              <a:gd name="connsiteX7" fmla="*/ 10016547 w 11495577"/>
              <a:gd name="connsiteY7" fmla="*/ 118329 h 6496681"/>
              <a:gd name="connsiteX8" fmla="*/ 9239892 w 11495577"/>
              <a:gd name="connsiteY8" fmla="*/ 2084828 h 6496681"/>
              <a:gd name="connsiteX9" fmla="*/ 11495577 w 11495577"/>
              <a:gd name="connsiteY9" fmla="*/ 4340512 h 6496681"/>
              <a:gd name="connsiteX10" fmla="*/ 9339409 w 11495577"/>
              <a:gd name="connsiteY10" fmla="*/ 6496681 h 6496681"/>
              <a:gd name="connsiteX11" fmla="*/ 7083724 w 11495577"/>
              <a:gd name="connsiteY11" fmla="*/ 4224410 h 6496681"/>
              <a:gd name="connsiteX12" fmla="*/ 3799716 w 11495577"/>
              <a:gd name="connsiteY12" fmla="*/ 5153221 h 6496681"/>
              <a:gd name="connsiteX13" fmla="*/ 2713 w 11495577"/>
              <a:gd name="connsiteY13" fmla="*/ 3888664 h 6496681"/>
              <a:gd name="connsiteX14" fmla="*/ 0 w 11495577"/>
              <a:gd name="connsiteY14" fmla="*/ 3886530 h 649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95577" h="6496681">
                <a:moveTo>
                  <a:pt x="0" y="0"/>
                </a:moveTo>
                <a:lnTo>
                  <a:pt x="704099" y="0"/>
                </a:lnTo>
                <a:lnTo>
                  <a:pt x="741689" y="102812"/>
                </a:lnTo>
                <a:cubicBezTo>
                  <a:pt x="1242376" y="1287668"/>
                  <a:pt x="2414792" y="2118000"/>
                  <a:pt x="3783129" y="2118000"/>
                </a:cubicBezTo>
                <a:cubicBezTo>
                  <a:pt x="5151467" y="2118000"/>
                  <a:pt x="6323883" y="1287668"/>
                  <a:pt x="6824569" y="102812"/>
                </a:cubicBezTo>
                <a:lnTo>
                  <a:pt x="6862160" y="0"/>
                </a:lnTo>
                <a:lnTo>
                  <a:pt x="10037149" y="0"/>
                </a:lnTo>
                <a:lnTo>
                  <a:pt x="10016547" y="118329"/>
                </a:lnTo>
                <a:cubicBezTo>
                  <a:pt x="9868343" y="824040"/>
                  <a:pt x="9602709" y="1483589"/>
                  <a:pt x="9239892" y="2084828"/>
                </a:cubicBezTo>
                <a:lnTo>
                  <a:pt x="11495577" y="4340512"/>
                </a:lnTo>
                <a:lnTo>
                  <a:pt x="9339409" y="6496681"/>
                </a:lnTo>
                <a:lnTo>
                  <a:pt x="7083724" y="4224410"/>
                </a:lnTo>
                <a:cubicBezTo>
                  <a:pt x="6138328" y="4821503"/>
                  <a:pt x="5010486" y="5153221"/>
                  <a:pt x="3799716" y="5153221"/>
                </a:cubicBezTo>
                <a:cubicBezTo>
                  <a:pt x="2377992" y="5153221"/>
                  <a:pt x="1063024" y="4682402"/>
                  <a:pt x="2713" y="3888664"/>
                </a:cubicBezTo>
                <a:lnTo>
                  <a:pt x="0" y="3886530"/>
                </a:lnTo>
                <a:close/>
              </a:path>
            </a:pathLst>
          </a:custGeom>
          <a:solidFill>
            <a:schemeClr val="bg2">
              <a:lumMod val="95000"/>
            </a:schemeClr>
          </a:solidFill>
          <a:ln w="165830" cap="flat">
            <a:noFill/>
            <a:prstDash val="solid"/>
            <a:miter/>
          </a:ln>
        </p:spPr>
        <p:txBody>
          <a:bodyPr rtlCol="0" anchor="ctr">
            <a:noAutofit/>
          </a:bodyPr>
          <a:lstStyle/>
          <a:p>
            <a:endParaRPr lang="en-US"/>
          </a:p>
        </p:txBody>
      </p:sp>
      <p:sp>
        <p:nvSpPr>
          <p:cNvPr id="7" name="Confidential disclaimer">
            <a:extLst>
              <a:ext uri="{FF2B5EF4-FFF2-40B4-BE49-F238E27FC236}">
                <a16:creationId xmlns:a16="http://schemas.microsoft.com/office/drawing/2014/main" id="{8C7D221E-197F-4D9A-2DBE-264A762EB7A1}"/>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26" name="Footer Placeholder">
            <a:extLst>
              <a:ext uri="{FF2B5EF4-FFF2-40B4-BE49-F238E27FC236}">
                <a16:creationId xmlns:a16="http://schemas.microsoft.com/office/drawing/2014/main" id="{6DAF4C10-B884-4C63-31AE-C07181CF51A9}"/>
              </a:ext>
            </a:extLst>
          </p:cNvPr>
          <p:cNvSpPr>
            <a:spLocks noGrp="1" noRot="1" noMove="1" noResize="1" noEditPoints="1" noAdjustHandles="1" noChangeArrowheads="1" noChangeShapeType="1"/>
          </p:cNvSpPr>
          <p:nvPr>
            <p:ph type="ftr" sz="quarter" idx="16"/>
          </p:nvPr>
        </p:nvSpPr>
        <p:spPr>
          <a:xfrm>
            <a:off x="3251197" y="6485399"/>
            <a:ext cx="3716341" cy="282957"/>
          </a:xfrm>
          <a:noFill/>
        </p:spPr>
        <p:txBody>
          <a:bodyPr>
            <a:noAutofit/>
          </a:bodyPr>
          <a:lstStyle>
            <a:lvl1pPr algn="l">
              <a:defRPr/>
            </a:lvl1pPr>
          </a:lstStyle>
          <a:p>
            <a:endParaRPr lang="en-GB"/>
          </a:p>
        </p:txBody>
      </p:sp>
      <p:sp>
        <p:nvSpPr>
          <p:cNvPr id="16" name="Copyright Line">
            <a:extLst>
              <a:ext uri="{FF2B5EF4-FFF2-40B4-BE49-F238E27FC236}">
                <a16:creationId xmlns:a16="http://schemas.microsoft.com/office/drawing/2014/main" id="{8D552AA0-2719-EBF2-2C9E-A8D7C82BEB55}"/>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13" name="Contact Info Placeholder">
            <a:extLst>
              <a:ext uri="{FF2B5EF4-FFF2-40B4-BE49-F238E27FC236}">
                <a16:creationId xmlns:a16="http://schemas.microsoft.com/office/drawing/2014/main" id="{C53A8FC6-F70F-155C-7171-C3706040B829}"/>
              </a:ext>
            </a:extLst>
          </p:cNvPr>
          <p:cNvSpPr>
            <a:spLocks noGrp="1" noRot="1" noMove="1" noResize="1" noEditPoints="1" noAdjustHandles="1" noChangeArrowheads="1" noChangeShapeType="1"/>
          </p:cNvSpPr>
          <p:nvPr>
            <p:ph type="body" sz="quarter" idx="14"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Contact information</a:t>
            </a:r>
          </a:p>
        </p:txBody>
      </p:sp>
      <p:sp>
        <p:nvSpPr>
          <p:cNvPr id="12" name="Presenter Name Placeholder">
            <a:extLst>
              <a:ext uri="{FF2B5EF4-FFF2-40B4-BE49-F238E27FC236}">
                <a16:creationId xmlns:a16="http://schemas.microsoft.com/office/drawing/2014/main" id="{FDEBEBA6-435D-29FE-A7B2-7A24861035E7}"/>
              </a:ext>
            </a:extLst>
          </p:cNvPr>
          <p:cNvSpPr>
            <a:spLocks noGrp="1" noRot="1" noMove="1" noResize="1" noEditPoints="1" noAdjustHandles="1" noChangeArrowheads="1" noChangeShapeType="1"/>
          </p:cNvSpPr>
          <p:nvPr>
            <p:ph type="body" sz="quarter" idx="13"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Subtitle Placeholder">
            <a:extLst>
              <a:ext uri="{FF2B5EF4-FFF2-40B4-BE49-F238E27FC236}">
                <a16:creationId xmlns:a16="http://schemas.microsoft.com/office/drawing/2014/main" id="{811C7246-8A71-F257-DB0D-3E1F23CE6970}"/>
              </a:ext>
            </a:extLst>
          </p:cNvPr>
          <p:cNvSpPr>
            <a:spLocks noGrp="1" noRot="1" noMove="1" noResize="1" noEditPoints="1" noAdjustHandles="1" noChangeArrowheads="1" noChangeShapeType="1"/>
          </p:cNvSpPr>
          <p:nvPr>
            <p:ph type="body" idx="1" hasCustomPrompt="1"/>
          </p:nvPr>
        </p:nvSpPr>
        <p:spPr>
          <a:xfrm>
            <a:off x="292100" y="3136050"/>
            <a:ext cx="7121979" cy="829817"/>
          </a:xfrm>
        </p:spPr>
        <p:txBody>
          <a:bodyPr>
            <a:noAutofit/>
          </a:bodyPr>
          <a:lstStyle>
            <a:lvl1pPr marL="0" indent="0">
              <a:buNone/>
              <a:defRPr sz="2400">
                <a:solidFill>
                  <a:schemeClr val="tx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all to action]</a:t>
            </a:r>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953699"/>
            <a:ext cx="7121979" cy="1938435"/>
          </a:xfrm>
        </p:spPr>
        <p:txBody>
          <a:bodyPr anchor="b">
            <a:noAutofit/>
          </a:bodyPr>
          <a:lstStyle>
            <a:lvl1pPr>
              <a:defRPr sz="3600">
                <a:solidFill>
                  <a:schemeClr val="tx1"/>
                </a:solidFill>
              </a:defRPr>
            </a:lvl1pPr>
          </a:lstStyle>
          <a:p>
            <a:r>
              <a:rPr lang="en-US"/>
              <a:t>[Thank you]</a:t>
            </a:r>
            <a:endParaRPr lang="en-GB"/>
          </a:p>
        </p:txBody>
      </p:sp>
      <p:pic>
        <p:nvPicPr>
          <p:cNvPr id="4" name="NielsenIQ GFK lockup" hidden="1">
            <a:extLst>
              <a:ext uri="{FF2B5EF4-FFF2-40B4-BE49-F238E27FC236}">
                <a16:creationId xmlns:a16="http://schemas.microsoft.com/office/drawing/2014/main" id="{DCA6E8BC-B77A-54A1-C369-91956B34FEC5}"/>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6122" y="5539740"/>
            <a:ext cx="3377876" cy="753596"/>
          </a:xfrm>
          <a:prstGeom prst="rect">
            <a:avLst/>
          </a:prstGeom>
        </p:spPr>
      </p:pic>
      <p:pic>
        <p:nvPicPr>
          <p:cNvPr id="22" name="NielsenIQ logo+wordmark" descr="A blue text on a black background&#10;&#10;Description automatically generated" hidden="1">
            <a:extLst>
              <a:ext uri="{FF2B5EF4-FFF2-40B4-BE49-F238E27FC236}">
                <a16:creationId xmlns:a16="http://schemas.microsoft.com/office/drawing/2014/main" id="{B75E8267-9411-9919-62E4-BB9AB43721F4}"/>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tretch>
            <a:fillRect/>
          </a:stretch>
        </p:blipFill>
        <p:spPr>
          <a:xfrm>
            <a:off x="288558" y="5563212"/>
            <a:ext cx="2155411" cy="743616"/>
          </a:xfrm>
          <a:prstGeom prst="rect">
            <a:avLst/>
          </a:prstGeom>
        </p:spPr>
      </p:pic>
      <p:sp>
        <p:nvSpPr>
          <p:cNvPr id="5" name="Nielsen wordmark">
            <a:extLst>
              <a:ext uri="{FF2B5EF4-FFF2-40B4-BE49-F238E27FC236}">
                <a16:creationId xmlns:a16="http://schemas.microsoft.com/office/drawing/2014/main" id="{0A2688EF-BBA7-DD42-EAFC-01D7D42070AF}"/>
              </a:ext>
            </a:extLst>
          </p:cNvPr>
          <p:cNvSpPr>
            <a:spLocks noGrp="1" noRot="1" noMove="1" noResize="1" noEditPoints="1" noAdjustHandles="1" noChangeArrowheads="1" noChangeShapeType="1"/>
          </p:cNvSpPr>
          <p:nvPr userDrawn="1"/>
        </p:nvSpPr>
        <p:spPr>
          <a:xfrm>
            <a:off x="295274" y="5686380"/>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accent1"/>
          </a:solidFill>
          <a:ln w="774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242800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6" name="Static Dark Bkgd">
            <a:extLst>
              <a:ext uri="{FF2B5EF4-FFF2-40B4-BE49-F238E27FC236}">
                <a16:creationId xmlns:a16="http://schemas.microsoft.com/office/drawing/2014/main" id="{C44FA2BA-550D-EDA0-ABAB-D662C16F1376}"/>
              </a:ext>
            </a:extLst>
          </p:cNvPr>
          <p:cNvSpPr>
            <a:spLocks noGrp="1" noRot="1" noMove="1" noResize="1" noEditPoints="1" noAdjustHandles="1" noChangeArrowheads="1" noChangeShapeType="1"/>
          </p:cNvSpPr>
          <p:nvPr userDrawn="1"/>
        </p:nvSpPr>
        <p:spPr>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Horizontal Rule">
            <a:extLst>
              <a:ext uri="{FF2B5EF4-FFF2-40B4-BE49-F238E27FC236}">
                <a16:creationId xmlns:a16="http://schemas.microsoft.com/office/drawing/2014/main" id="{429C2072-EE2B-A064-5CA2-6097546F935A}"/>
              </a:ext>
            </a:extLst>
          </p:cNvPr>
          <p:cNvCxnSpPr>
            <a:cxnSpLocks noGrp="1" noRot="1" noMove="1" noResize="1" noEditPoints="1" noAdjustHandles="1" noChangeArrowheads="1" noChangeShapeType="1"/>
          </p:cNvCxnSpPr>
          <p:nvPr userDrawn="1"/>
        </p:nvCxnSpPr>
        <p:spPr>
          <a:xfrm>
            <a:off x="292100" y="1364752"/>
            <a:ext cx="116078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Confidential disclaimer">
            <a:extLst>
              <a:ext uri="{FF2B5EF4-FFF2-40B4-BE49-F238E27FC236}">
                <a16:creationId xmlns:a16="http://schemas.microsoft.com/office/drawing/2014/main" id="{0CFED10E-E876-D584-0DE6-56605800FA66}"/>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15" name="Copyright Line">
            <a:extLst>
              <a:ext uri="{FF2B5EF4-FFF2-40B4-BE49-F238E27FC236}">
                <a16:creationId xmlns:a16="http://schemas.microsoft.com/office/drawing/2014/main" id="{D439B148-E719-27C3-3403-978BEDC13EC0}"/>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10" name="Footer Placeholder">
            <a:extLst>
              <a:ext uri="{FF2B5EF4-FFF2-40B4-BE49-F238E27FC236}">
                <a16:creationId xmlns:a16="http://schemas.microsoft.com/office/drawing/2014/main" id="{671A6FA9-FE3E-4211-C84B-88F574FE8550}"/>
              </a:ext>
            </a:extLst>
          </p:cNvPr>
          <p:cNvSpPr>
            <a:spLocks noGrp="1" noRot="1" noMove="1" noResize="1" noEditPoints="1" noAdjustHandles="1" noChangeArrowheads="1" noChangeShapeType="1"/>
          </p:cNvSpPr>
          <p:nvPr>
            <p:ph type="ftr" sz="quarter" idx="13"/>
          </p:nvPr>
        </p:nvSpPr>
        <p:spPr>
          <a:xfrm>
            <a:off x="3251200" y="6485399"/>
            <a:ext cx="3716336" cy="282957"/>
          </a:xfrm>
          <a:noFill/>
        </p:spPr>
        <p:txBody>
          <a:bodyPr/>
          <a:lstStyle>
            <a:lvl1pPr algn="l">
              <a:defRPr>
                <a:solidFill>
                  <a:srgbClr val="FFFFFF"/>
                </a:solidFill>
              </a:defRPr>
            </a:lvl1pPr>
          </a:lstStyle>
          <a:p>
            <a:endParaRPr lang="en-GB"/>
          </a:p>
        </p:txBody>
      </p:sp>
      <p:sp>
        <p:nvSpPr>
          <p:cNvPr id="8" name="Date Placeholder">
            <a:extLst>
              <a:ext uri="{FF2B5EF4-FFF2-40B4-BE49-F238E27FC236}">
                <a16:creationId xmlns:a16="http://schemas.microsoft.com/office/drawing/2014/main" id="{34C6756D-B2C7-2A2B-E9A7-BB5F5972C730}"/>
              </a:ext>
            </a:extLst>
          </p:cNvPr>
          <p:cNvSpPr>
            <a:spLocks noGrp="1" noRot="1" noMove="1" noResize="1" noEditPoints="1" noAdjustHandles="1" noChangeArrowheads="1" noChangeShapeType="1"/>
          </p:cNvSpPr>
          <p:nvPr>
            <p:ph type="dt" sz="half" idx="12"/>
          </p:nvPr>
        </p:nvSpPr>
        <p:spPr>
          <a:xfrm>
            <a:off x="292100" y="6073688"/>
            <a:ext cx="1744664" cy="282957"/>
          </a:xfrm>
        </p:spPr>
        <p:txBody>
          <a:bodyPr/>
          <a:lstStyle>
            <a:lvl1pPr>
              <a:defRPr sz="1200">
                <a:solidFill>
                  <a:srgbClr val="FFFFFF"/>
                </a:solidFill>
              </a:defRPr>
            </a:lvl1pPr>
          </a:lstStyle>
          <a:p>
            <a:fld id="{6939B06F-C1B3-44B6-B618-A1DBE0D9FD92}" type="datetime1">
              <a:rPr lang="en-GB" smtClean="0"/>
              <a:t>18/11/2024</a:t>
            </a:fld>
            <a:endParaRPr lang="en-GB"/>
          </a:p>
        </p:txBody>
      </p:sp>
      <p:sp>
        <p:nvSpPr>
          <p:cNvPr id="19" name="Title/Dept Placeholder">
            <a:extLst>
              <a:ext uri="{FF2B5EF4-FFF2-40B4-BE49-F238E27FC236}">
                <a16:creationId xmlns:a16="http://schemas.microsoft.com/office/drawing/2014/main" id="{6942A971-1821-DF95-6B7B-A7991E06FA8B}"/>
              </a:ext>
            </a:extLst>
          </p:cNvPr>
          <p:cNvSpPr>
            <a:spLocks noGrp="1" noRot="1" noMove="1" noResize="1" noEditPoints="1" noAdjustHandles="1" noChangeArrowheads="1" noChangeShapeType="1"/>
          </p:cNvSpPr>
          <p:nvPr>
            <p:ph type="body" sz="quarter" idx="11" hasCustomPrompt="1"/>
          </p:nvPr>
        </p:nvSpPr>
        <p:spPr>
          <a:xfrm>
            <a:off x="292100" y="5562225"/>
            <a:ext cx="8625842" cy="344385"/>
          </a:xfrm>
        </p:spPr>
        <p:txBody>
          <a:bodyPr tIns="0" bIns="0">
            <a:noAutofit/>
          </a:bodyPr>
          <a:lstStyle>
            <a:lvl1pPr marL="0" indent="0">
              <a:lnSpc>
                <a:spcPct val="100000"/>
              </a:lnSpc>
              <a:spcBef>
                <a:spcPts val="0"/>
              </a:spcBef>
              <a:spcAft>
                <a:spcPts val="0"/>
              </a:spcAft>
              <a:buNone/>
              <a:defRPr sz="1200" b="0">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8" name="Presenter Name Placeholder">
            <a:extLst>
              <a:ext uri="{FF2B5EF4-FFF2-40B4-BE49-F238E27FC236}">
                <a16:creationId xmlns:a16="http://schemas.microsoft.com/office/drawing/2014/main" id="{4D8E56BE-097F-EB4E-3287-BD1DCBFF4884}"/>
              </a:ext>
            </a:extLst>
          </p:cNvPr>
          <p:cNvSpPr>
            <a:spLocks noGrp="1" noRot="1" noMove="1" noResize="1" noEditPoints="1" noAdjustHandles="1" noChangeArrowheads="1" noChangeShapeType="1"/>
          </p:cNvSpPr>
          <p:nvPr>
            <p:ph type="body" sz="quarter" idx="10" hasCustomPrompt="1"/>
          </p:nvPr>
        </p:nvSpPr>
        <p:spPr>
          <a:xfrm>
            <a:off x="292100" y="5194091"/>
            <a:ext cx="8625841" cy="344384"/>
          </a:xfrm>
        </p:spPr>
        <p:txBody>
          <a:bodyPr tIns="0" bIns="0" anchor="b" anchorCtr="0">
            <a:noAutofit/>
          </a:bodyPr>
          <a:lstStyle>
            <a:lvl1pPr marL="0" indent="0">
              <a:lnSpc>
                <a:spcPct val="100000"/>
              </a:lnSpc>
              <a:spcBef>
                <a:spcPts val="0"/>
              </a:spcBef>
              <a:spcAft>
                <a:spcPts val="0"/>
              </a:spcAft>
              <a:buNone/>
              <a:defRPr sz="1200" b="1">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Subtitle Placeholder">
            <a:extLst>
              <a:ext uri="{FF2B5EF4-FFF2-40B4-BE49-F238E27FC236}">
                <a16:creationId xmlns:a16="http://schemas.microsoft.com/office/drawing/2014/main" id="{D952C9CE-AA03-A24B-BBD9-8EA2482DC59D}"/>
              </a:ext>
            </a:extLst>
          </p:cNvPr>
          <p:cNvSpPr>
            <a:spLocks noGrp="1" noRot="1" noMove="1" noResize="1" noEditPoints="1" noAdjustHandles="1" noChangeArrowheads="1" noChangeShapeType="1"/>
          </p:cNvSpPr>
          <p:nvPr>
            <p:ph type="subTitle" idx="1"/>
          </p:nvPr>
        </p:nvSpPr>
        <p:spPr>
          <a:xfrm>
            <a:off x="292100" y="4151030"/>
            <a:ext cx="8625840" cy="837882"/>
          </a:xfrm>
        </p:spPr>
        <p:txBody>
          <a:bodyPr>
            <a:noAutofit/>
          </a:bodyPr>
          <a:lstStyle>
            <a:lvl1pPr marL="0" indent="0" algn="l">
              <a:spcBef>
                <a:spcPts val="0"/>
              </a:spcBef>
              <a:spcAft>
                <a:spcPts val="0"/>
              </a:spcAft>
              <a:buNone/>
              <a:defRPr sz="24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itle Placeholder">
            <a:extLst>
              <a:ext uri="{FF2B5EF4-FFF2-40B4-BE49-F238E27FC236}">
                <a16:creationId xmlns:a16="http://schemas.microsoft.com/office/drawing/2014/main" id="{5F151AF7-737A-1648-9BC4-B9D881179FB7}"/>
              </a:ext>
            </a:extLst>
          </p:cNvPr>
          <p:cNvSpPr>
            <a:spLocks noGrp="1" noRot="1" noMove="1" noResize="1" noEditPoints="1" noAdjustHandles="1" noChangeArrowheads="1" noChangeShapeType="1"/>
          </p:cNvSpPr>
          <p:nvPr>
            <p:ph type="ctrTitle" hasCustomPrompt="1"/>
          </p:nvPr>
        </p:nvSpPr>
        <p:spPr>
          <a:xfrm>
            <a:off x="292100" y="1671355"/>
            <a:ext cx="8625840" cy="2387600"/>
          </a:xfrm>
          <a:prstGeom prst="rect">
            <a:avLst/>
          </a:prstGeom>
        </p:spPr>
        <p:txBody>
          <a:bodyPr anchor="b">
            <a:noAutofit/>
          </a:bodyPr>
          <a:lstStyle>
            <a:lvl1pPr algn="l">
              <a:defRPr sz="5400">
                <a:solidFill>
                  <a:srgbClr val="FFFFFF"/>
                </a:solidFill>
              </a:defRPr>
            </a:lvl1pPr>
          </a:lstStyle>
          <a:p>
            <a:r>
              <a:rPr lang="en-US"/>
              <a:t>Insert your presentation title here maximum of three lines</a:t>
            </a:r>
          </a:p>
        </p:txBody>
      </p:sp>
      <p:pic>
        <p:nvPicPr>
          <p:cNvPr id="11" name="NielsenIQ GFK lockup" hidden="1">
            <a:extLst>
              <a:ext uri="{FF2B5EF4-FFF2-40B4-BE49-F238E27FC236}">
                <a16:creationId xmlns:a16="http://schemas.microsoft.com/office/drawing/2014/main" id="{F5A22785-6BE6-D1CC-4D14-4C9F4152DA6F}"/>
              </a:ext>
            </a:extLst>
          </p:cNvPr>
          <p:cNvPicPr>
            <a:picLocks noGrp="1" noRot="1" noChangeAspec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86122" y="321743"/>
            <a:ext cx="3377876" cy="753596"/>
          </a:xfrm>
          <a:prstGeom prst="rect">
            <a:avLst/>
          </a:prstGeom>
        </p:spPr>
      </p:pic>
      <p:pic>
        <p:nvPicPr>
          <p:cNvPr id="12" name="NielsenIQ logo+wordmark" hidden="1">
            <a:extLst>
              <a:ext uri="{FF2B5EF4-FFF2-40B4-BE49-F238E27FC236}">
                <a16:creationId xmlns:a16="http://schemas.microsoft.com/office/drawing/2014/main" id="{8189DD20-160D-9FA4-6050-54CA59644796}"/>
              </a:ext>
            </a:extLst>
          </p:cNvPr>
          <p:cNvPicPr>
            <a:picLocks noGrp="1" noRot="1" noMove="1" noResize="1" noEditPoints="1" noAdjustHandles="1" noChangeArrowheads="1" noChangeShapeType="1" noCrop="1"/>
          </p:cNvPicPr>
          <p:nvPr userDrawn="1"/>
        </p:nvPicPr>
        <p:blipFill>
          <a:blip r:embed="rId4">
            <a:extLst>
              <a:ext uri="{28A0092B-C50C-407E-A947-70E740481C1C}">
                <a14:useLocalDpi xmlns:a14="http://schemas.microsoft.com/office/drawing/2010/main" val="0"/>
              </a:ext>
            </a:extLst>
          </a:blip>
          <a:srcRect l="59" r="59"/>
          <a:stretch/>
        </p:blipFill>
        <p:spPr>
          <a:xfrm>
            <a:off x="288558" y="305205"/>
            <a:ext cx="2211753" cy="763139"/>
          </a:xfrm>
          <a:prstGeom prst="rect">
            <a:avLst/>
          </a:prstGeom>
        </p:spPr>
      </p:pic>
      <p:sp>
        <p:nvSpPr>
          <p:cNvPr id="23" name="Nielsen wordmark">
            <a:extLst>
              <a:ext uri="{FF2B5EF4-FFF2-40B4-BE49-F238E27FC236}">
                <a16:creationId xmlns:a16="http://schemas.microsoft.com/office/drawing/2014/main" id="{A534929D-2AB3-3703-CE21-C24AAF5B90DA}"/>
              </a:ext>
            </a:extLst>
          </p:cNvPr>
          <p:cNvSpPr>
            <a:spLocks noGrp="1" noRot="1" noMove="1" noResize="1" noEditPoints="1" noAdjustHandles="1" noChangeArrowheads="1" noChangeShapeType="1"/>
          </p:cNvSpPr>
          <p:nvPr userDrawn="1"/>
        </p:nvSpPr>
        <p:spPr>
          <a:xfrm>
            <a:off x="295274" y="443155"/>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tx2"/>
          </a:solidFill>
          <a:ln w="774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21043791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Section Header with Dark Sidebar">
    <p:bg>
      <p:bgRef idx="1001">
        <a:schemeClr val="bg1"/>
      </p:bgRef>
    </p:bg>
    <p:spTree>
      <p:nvGrpSpPr>
        <p:cNvPr id="1" name=""/>
        <p:cNvGrpSpPr/>
        <p:nvPr/>
      </p:nvGrpSpPr>
      <p:grpSpPr>
        <a:xfrm>
          <a:off x="0" y="0"/>
          <a:ext cx="0" cy="0"/>
          <a:chOff x="0" y="0"/>
          <a:chExt cx="0" cy="0"/>
        </a:xfrm>
      </p:grpSpPr>
      <p:sp>
        <p:nvSpPr>
          <p:cNvPr id="7" name="Static Light Bkgd">
            <a:extLst>
              <a:ext uri="{FF2B5EF4-FFF2-40B4-BE49-F238E27FC236}">
                <a16:creationId xmlns:a16="http://schemas.microsoft.com/office/drawing/2014/main" id="{D1093FDC-ACBE-C97A-79EC-30B506F35131}"/>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Block Bkgd">
            <a:extLst>
              <a:ext uri="{FF2B5EF4-FFF2-40B4-BE49-F238E27FC236}">
                <a16:creationId xmlns:a16="http://schemas.microsoft.com/office/drawing/2014/main" id="{61051253-1566-C6AD-277E-C41693FE3B9F}"/>
              </a:ext>
            </a:extLst>
          </p:cNvPr>
          <p:cNvSpPr>
            <a:spLocks noGrp="1" noRot="1" noMove="1" noResize="1" noEditPoints="1" noAdjustHandles="1" noChangeArrowheads="1" noChangeShapeType="1"/>
          </p:cNvSpPr>
          <p:nvPr userDrawn="1"/>
        </p:nvSpPr>
        <p:spPr>
          <a:xfrm>
            <a:off x="0" y="0"/>
            <a:ext cx="4002916"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GB" err="1"/>
          </a:p>
        </p:txBody>
      </p:sp>
      <p:cxnSp>
        <p:nvCxnSpPr>
          <p:cNvPr id="16" name="Base Rule">
            <a:extLst>
              <a:ext uri="{FF2B5EF4-FFF2-40B4-BE49-F238E27FC236}">
                <a16:creationId xmlns:a16="http://schemas.microsoft.com/office/drawing/2014/main" id="{A76E5B64-AFD0-1002-8187-608F612A25A9}"/>
              </a:ext>
            </a:extLst>
          </p:cNvPr>
          <p:cNvCxnSpPr>
            <a:cxnSpLocks noGrp="1" noRot="1" noMove="1" noResize="1" noEditPoints="1" noAdjustHandles="1" noChangeArrowheads="1" noChangeShapeType="1"/>
          </p:cNvCxnSpPr>
          <p:nvPr userDrawn="1"/>
        </p:nvCxnSpPr>
        <p:spPr>
          <a:xfrm>
            <a:off x="4237038" y="6395755"/>
            <a:ext cx="7662863" cy="0"/>
          </a:xfrm>
          <a:prstGeom prst="line">
            <a:avLst/>
          </a:prstGeom>
          <a:ln w="12700">
            <a:solidFill>
              <a:srgbClr val="555555"/>
            </a:solidFill>
          </a:ln>
        </p:spPr>
        <p:style>
          <a:lnRef idx="1">
            <a:schemeClr val="accent1"/>
          </a:lnRef>
          <a:fillRef idx="0">
            <a:schemeClr val="accent1"/>
          </a:fillRef>
          <a:effectRef idx="0">
            <a:schemeClr val="accent1"/>
          </a:effectRef>
          <a:fontRef idx="minor">
            <a:schemeClr val="tx1"/>
          </a:fontRef>
        </p:style>
      </p:cxnSp>
      <p:sp>
        <p:nvSpPr>
          <p:cNvPr id="26" name="Footer Placeholder">
            <a:extLst>
              <a:ext uri="{FF2B5EF4-FFF2-40B4-BE49-F238E27FC236}">
                <a16:creationId xmlns:a16="http://schemas.microsoft.com/office/drawing/2014/main" id="{E183FCE9-1380-C908-3210-D1CC81C316CD}"/>
              </a:ext>
            </a:extLst>
          </p:cNvPr>
          <p:cNvSpPr>
            <a:spLocks noGrp="1" noRot="1" noMove="1" noResize="1" noEditPoints="1" noAdjustHandles="1" noChangeArrowheads="1" noChangeShapeType="1"/>
          </p:cNvSpPr>
          <p:nvPr>
            <p:ph type="ftr" sz="quarter" idx="11"/>
          </p:nvPr>
        </p:nvSpPr>
        <p:spPr>
          <a:xfrm>
            <a:off x="4237038" y="6485399"/>
            <a:ext cx="3056524" cy="282957"/>
          </a:xfrm>
        </p:spPr>
        <p:txBody>
          <a:bodyPr/>
          <a:lstStyle/>
          <a:p>
            <a:endParaRPr lang="en-GB"/>
          </a:p>
        </p:txBody>
      </p:sp>
      <p:sp>
        <p:nvSpPr>
          <p:cNvPr id="10" name="Source Placeholder">
            <a:extLst>
              <a:ext uri="{FF2B5EF4-FFF2-40B4-BE49-F238E27FC236}">
                <a16:creationId xmlns:a16="http://schemas.microsoft.com/office/drawing/2014/main" id="{77FED749-9C39-81DD-7428-E91EAF740A97}"/>
              </a:ext>
            </a:extLst>
          </p:cNvPr>
          <p:cNvSpPr>
            <a:spLocks noGrp="1" noRot="1" noMove="1" noResize="1" noEditPoints="1" noAdjustHandles="1" noChangeArrowheads="1" noChangeShapeType="1"/>
          </p:cNvSpPr>
          <p:nvPr>
            <p:ph type="body" sz="quarter" idx="14" hasCustomPrompt="1"/>
          </p:nvPr>
        </p:nvSpPr>
        <p:spPr>
          <a:xfrm>
            <a:off x="4237036" y="6108700"/>
            <a:ext cx="7662864"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13" name="Content Placeholder">
            <a:extLst>
              <a:ext uri="{FF2B5EF4-FFF2-40B4-BE49-F238E27FC236}">
                <a16:creationId xmlns:a16="http://schemas.microsoft.com/office/drawing/2014/main" id="{4EA26CDB-5FFD-8E65-BB9F-B583607F097C}"/>
              </a:ext>
            </a:extLst>
          </p:cNvPr>
          <p:cNvSpPr>
            <a:spLocks noGrp="1" noRot="1" noMove="1" noResize="1" noEditPoints="1" noAdjustHandles="1" noChangeArrowheads="1" noChangeShapeType="1"/>
          </p:cNvSpPr>
          <p:nvPr>
            <p:ph sz="quarter" idx="15"/>
          </p:nvPr>
        </p:nvSpPr>
        <p:spPr>
          <a:xfrm>
            <a:off x="4237038" y="1219200"/>
            <a:ext cx="7662862" cy="4457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ubtitle Placeholder">
            <a:extLst>
              <a:ext uri="{FF2B5EF4-FFF2-40B4-BE49-F238E27FC236}">
                <a16:creationId xmlns:a16="http://schemas.microsoft.com/office/drawing/2014/main" id="{811C7246-8A71-F257-DB0D-3E1F23CE6970}"/>
              </a:ext>
            </a:extLst>
          </p:cNvPr>
          <p:cNvSpPr>
            <a:spLocks noGrp="1" noRot="1" noMove="1" noResize="1" noEditPoints="1" noAdjustHandles="1" noChangeArrowheads="1" noChangeShapeType="1"/>
          </p:cNvSpPr>
          <p:nvPr>
            <p:ph type="body" idx="1" hasCustomPrompt="1"/>
          </p:nvPr>
        </p:nvSpPr>
        <p:spPr>
          <a:xfrm>
            <a:off x="292100" y="3945964"/>
            <a:ext cx="3409043" cy="1500187"/>
          </a:xfrm>
        </p:spPr>
        <p:txBody>
          <a:bodyPr>
            <a:noAutofit/>
          </a:bodyPr>
          <a:lstStyle>
            <a:lvl1pPr marL="0" indent="0">
              <a:buNone/>
              <a:defRPr sz="20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add section subtitle</a:t>
            </a:r>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1219200"/>
            <a:ext cx="3409043" cy="2401887"/>
          </a:xfrm>
        </p:spPr>
        <p:txBody>
          <a:bodyPr anchor="b">
            <a:noAutofit/>
          </a:bodyPr>
          <a:lstStyle>
            <a:lvl1pPr>
              <a:defRPr sz="4400">
                <a:solidFill>
                  <a:schemeClr val="bg1"/>
                </a:solidFill>
              </a:defRPr>
            </a:lvl1pPr>
          </a:lstStyle>
          <a:p>
            <a:r>
              <a:rPr lang="en-US"/>
              <a:t>Section header</a:t>
            </a:r>
            <a:endParaRPr lang="en-GB"/>
          </a:p>
        </p:txBody>
      </p:sp>
      <p:pic>
        <p:nvPicPr>
          <p:cNvPr id="8" name="NIQ GFK Lockup" hidden="1">
            <a:extLst>
              <a:ext uri="{FF2B5EF4-FFF2-40B4-BE49-F238E27FC236}">
                <a16:creationId xmlns:a16="http://schemas.microsoft.com/office/drawing/2014/main" id="{23E903F1-B6FB-BED6-3501-293C1130DA4F}"/>
              </a:ext>
            </a:extLst>
          </p:cNvPr>
          <p:cNvPicPr>
            <a:picLocks noGrp="1" noRo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5" name="NielsenIQ logo+wordmark" descr="A blue text on a black background&#10;&#10;Description automatically generated" hidden="1">
            <a:extLst>
              <a:ext uri="{FF2B5EF4-FFF2-40B4-BE49-F238E27FC236}">
                <a16:creationId xmlns:a16="http://schemas.microsoft.com/office/drawing/2014/main" id="{E5214B10-6ABB-0EB3-4E33-9E9E477DD15A}"/>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tretch>
            <a:fillRect/>
          </a:stretch>
        </p:blipFill>
        <p:spPr>
          <a:xfrm>
            <a:off x="290130" y="6495154"/>
            <a:ext cx="781433" cy="269593"/>
          </a:xfrm>
          <a:prstGeom prst="rect">
            <a:avLst/>
          </a:prstGeom>
        </p:spPr>
      </p:pic>
      <p:pic>
        <p:nvPicPr>
          <p:cNvPr id="6" name="NIQ Logo">
            <a:extLst>
              <a:ext uri="{FF2B5EF4-FFF2-40B4-BE49-F238E27FC236}">
                <a16:creationId xmlns:a16="http://schemas.microsoft.com/office/drawing/2014/main" id="{A9B1FD76-BF8D-8EEE-6EC7-E0AC284E58CD}"/>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
        <p:nvSpPr>
          <p:cNvPr id="9" name="Slide Number Placeholder 5">
            <a:extLst>
              <a:ext uri="{FF2B5EF4-FFF2-40B4-BE49-F238E27FC236}">
                <a16:creationId xmlns:a16="http://schemas.microsoft.com/office/drawing/2014/main" id="{E1DBFC51-87EF-31DD-C029-0F71E6135F49}"/>
              </a:ext>
            </a:extLst>
          </p:cNvPr>
          <p:cNvSpPr txBox="1">
            <a:spLocks/>
          </p:cNvSpPr>
          <p:nvPr userDrawn="1"/>
        </p:nvSpPr>
        <p:spPr>
          <a:xfrm>
            <a:off x="10985325" y="6444314"/>
            <a:ext cx="90187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03EF4E2-7A7A-0548-85F1-5479B7C9E1B2}" type="slidenum">
              <a:rPr lang="en-US" sz="1200" smtClean="0">
                <a:solidFill>
                  <a:schemeClr val="tx1">
                    <a:lumMod val="50000"/>
                    <a:lumOff val="50000"/>
                  </a:schemeClr>
                </a:solidFill>
              </a:rPr>
              <a:pPr algn="r"/>
              <a:t>‹#›</a:t>
            </a:fld>
            <a:endParaRPr lang="en-US" sz="1200">
              <a:solidFill>
                <a:schemeClr val="tx1">
                  <a:lumMod val="50000"/>
                  <a:lumOff val="50000"/>
                </a:schemeClr>
              </a:solidFill>
            </a:endParaRPr>
          </a:p>
        </p:txBody>
      </p:sp>
      <p:sp>
        <p:nvSpPr>
          <p:cNvPr id="12" name="Copyright Line">
            <a:extLst>
              <a:ext uri="{FF2B5EF4-FFF2-40B4-BE49-F238E27FC236}">
                <a16:creationId xmlns:a16="http://schemas.microsoft.com/office/drawing/2014/main" id="{E3E53B1F-0A56-161A-EF11-A1FA88FF736A}"/>
              </a:ext>
            </a:extLst>
          </p:cNvPr>
          <p:cNvSpPr txBox="1"/>
          <p:nvPr userDrawn="1"/>
        </p:nvSpPr>
        <p:spPr>
          <a:xfrm>
            <a:off x="9167809" y="6526850"/>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a:t>
            </a:r>
            <a:fld id="{92E70860-886D-4303-B2B5-BD1295E1FD39}" type="datetimeyyyy">
              <a:rPr lang="en-US" sz="700" smtClean="0">
                <a:solidFill>
                  <a:schemeClr val="tx1">
                    <a:lumMod val="40000"/>
                    <a:lumOff val="60000"/>
                  </a:schemeClr>
                </a:solidFill>
              </a:rPr>
              <a:t>2024</a:t>
            </a:fld>
            <a:r>
              <a:rPr lang="en-US" sz="700">
                <a:solidFill>
                  <a:schemeClr val="tx1">
                    <a:lumMod val="40000"/>
                    <a:lumOff val="60000"/>
                  </a:schemeClr>
                </a:solidFill>
              </a:rPr>
              <a:t> Nielsen Consumer LLC. All Rights Reserved.</a:t>
            </a:r>
          </a:p>
        </p:txBody>
      </p:sp>
      <p:sp>
        <p:nvSpPr>
          <p:cNvPr id="15" name="Confidential disclaimer">
            <a:extLst>
              <a:ext uri="{FF2B5EF4-FFF2-40B4-BE49-F238E27FC236}">
                <a16:creationId xmlns:a16="http://schemas.microsoft.com/office/drawing/2014/main" id="{36C510C4-0769-1350-A7DD-40373FD1B378}"/>
              </a:ext>
            </a:extLst>
          </p:cNvPr>
          <p:cNvSpPr txBox="1"/>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Tree>
    <p:extLst>
      <p:ext uri="{BB962C8B-B14F-4D97-AF65-F5344CB8AC3E}">
        <p14:creationId xmlns:p14="http://schemas.microsoft.com/office/powerpoint/2010/main" val="109292933"/>
      </p:ext>
    </p:extLst>
  </p:cSld>
  <p:clrMapOvr>
    <a:overrideClrMapping bg1="lt1" tx1="dk1" bg2="lt2" tx2="dk2" accent1="accent1" accent2="accent2" accent3="accent3" accent4="accent4" accent5="accent5" accent6="accent6" hlink="hlink" folHlink="folHlink"/>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hank You Dark">
    <p:bg>
      <p:bgPr>
        <a:solidFill>
          <a:schemeClr val="tx2"/>
        </a:solidFill>
        <a:effectLst/>
      </p:bgPr>
    </p:bg>
    <p:spTree>
      <p:nvGrpSpPr>
        <p:cNvPr id="1" name=""/>
        <p:cNvGrpSpPr/>
        <p:nvPr/>
      </p:nvGrpSpPr>
      <p:grpSpPr>
        <a:xfrm>
          <a:off x="0" y="0"/>
          <a:ext cx="0" cy="0"/>
          <a:chOff x="0" y="0"/>
          <a:chExt cx="0" cy="0"/>
        </a:xfrm>
      </p:grpSpPr>
      <p:sp>
        <p:nvSpPr>
          <p:cNvPr id="39" name="Abstracted logo">
            <a:extLst>
              <a:ext uri="{FF2B5EF4-FFF2-40B4-BE49-F238E27FC236}">
                <a16:creationId xmlns:a16="http://schemas.microsoft.com/office/drawing/2014/main" id="{37C4672C-8363-CE87-84A0-A85A94F793F9}"/>
              </a:ext>
            </a:extLst>
          </p:cNvPr>
          <p:cNvSpPr>
            <a:spLocks noGrp="1" noRot="1" noMove="1" noResize="1" noEditPoints="1" noAdjustHandles="1" noChangeArrowheads="1" noChangeShapeType="1"/>
          </p:cNvSpPr>
          <p:nvPr/>
        </p:nvSpPr>
        <p:spPr>
          <a:xfrm>
            <a:off x="0" y="1"/>
            <a:ext cx="11495577" cy="6496681"/>
          </a:xfrm>
          <a:custGeom>
            <a:avLst/>
            <a:gdLst>
              <a:gd name="connsiteX0" fmla="*/ 0 w 11495577"/>
              <a:gd name="connsiteY0" fmla="*/ 0 h 6496681"/>
              <a:gd name="connsiteX1" fmla="*/ 704099 w 11495577"/>
              <a:gd name="connsiteY1" fmla="*/ 0 h 6496681"/>
              <a:gd name="connsiteX2" fmla="*/ 741689 w 11495577"/>
              <a:gd name="connsiteY2" fmla="*/ 102812 h 6496681"/>
              <a:gd name="connsiteX3" fmla="*/ 3783129 w 11495577"/>
              <a:gd name="connsiteY3" fmla="*/ 2118000 h 6496681"/>
              <a:gd name="connsiteX4" fmla="*/ 6824569 w 11495577"/>
              <a:gd name="connsiteY4" fmla="*/ 102812 h 6496681"/>
              <a:gd name="connsiteX5" fmla="*/ 6862160 w 11495577"/>
              <a:gd name="connsiteY5" fmla="*/ 0 h 6496681"/>
              <a:gd name="connsiteX6" fmla="*/ 10037149 w 11495577"/>
              <a:gd name="connsiteY6" fmla="*/ 0 h 6496681"/>
              <a:gd name="connsiteX7" fmla="*/ 10016547 w 11495577"/>
              <a:gd name="connsiteY7" fmla="*/ 118329 h 6496681"/>
              <a:gd name="connsiteX8" fmla="*/ 9239892 w 11495577"/>
              <a:gd name="connsiteY8" fmla="*/ 2084828 h 6496681"/>
              <a:gd name="connsiteX9" fmla="*/ 11495577 w 11495577"/>
              <a:gd name="connsiteY9" fmla="*/ 4340512 h 6496681"/>
              <a:gd name="connsiteX10" fmla="*/ 9339409 w 11495577"/>
              <a:gd name="connsiteY10" fmla="*/ 6496681 h 6496681"/>
              <a:gd name="connsiteX11" fmla="*/ 7083724 w 11495577"/>
              <a:gd name="connsiteY11" fmla="*/ 4224410 h 6496681"/>
              <a:gd name="connsiteX12" fmla="*/ 3799716 w 11495577"/>
              <a:gd name="connsiteY12" fmla="*/ 5153221 h 6496681"/>
              <a:gd name="connsiteX13" fmla="*/ 2713 w 11495577"/>
              <a:gd name="connsiteY13" fmla="*/ 3888664 h 6496681"/>
              <a:gd name="connsiteX14" fmla="*/ 0 w 11495577"/>
              <a:gd name="connsiteY14" fmla="*/ 3886530 h 649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95577" h="6496681">
                <a:moveTo>
                  <a:pt x="0" y="0"/>
                </a:moveTo>
                <a:lnTo>
                  <a:pt x="704099" y="0"/>
                </a:lnTo>
                <a:lnTo>
                  <a:pt x="741689" y="102812"/>
                </a:lnTo>
                <a:cubicBezTo>
                  <a:pt x="1242376" y="1287668"/>
                  <a:pt x="2414792" y="2118000"/>
                  <a:pt x="3783129" y="2118000"/>
                </a:cubicBezTo>
                <a:cubicBezTo>
                  <a:pt x="5151467" y="2118000"/>
                  <a:pt x="6323883" y="1287668"/>
                  <a:pt x="6824569" y="102812"/>
                </a:cubicBezTo>
                <a:lnTo>
                  <a:pt x="6862160" y="0"/>
                </a:lnTo>
                <a:lnTo>
                  <a:pt x="10037149" y="0"/>
                </a:lnTo>
                <a:lnTo>
                  <a:pt x="10016547" y="118329"/>
                </a:lnTo>
                <a:cubicBezTo>
                  <a:pt x="9868343" y="824040"/>
                  <a:pt x="9602709" y="1483589"/>
                  <a:pt x="9239892" y="2084828"/>
                </a:cubicBezTo>
                <a:lnTo>
                  <a:pt x="11495577" y="4340512"/>
                </a:lnTo>
                <a:lnTo>
                  <a:pt x="9339409" y="6496681"/>
                </a:lnTo>
                <a:lnTo>
                  <a:pt x="7083724" y="4224410"/>
                </a:lnTo>
                <a:cubicBezTo>
                  <a:pt x="6138328" y="4821503"/>
                  <a:pt x="5010486" y="5153221"/>
                  <a:pt x="3799716" y="5153221"/>
                </a:cubicBezTo>
                <a:cubicBezTo>
                  <a:pt x="2377992" y="5153221"/>
                  <a:pt x="1063024" y="4682402"/>
                  <a:pt x="2713" y="3888664"/>
                </a:cubicBezTo>
                <a:lnTo>
                  <a:pt x="0" y="3886530"/>
                </a:lnTo>
                <a:close/>
              </a:path>
            </a:pathLst>
          </a:custGeom>
          <a:solidFill>
            <a:srgbClr val="1F2358"/>
          </a:solidFill>
          <a:ln w="165830" cap="flat">
            <a:noFill/>
            <a:prstDash val="solid"/>
            <a:miter/>
          </a:ln>
        </p:spPr>
        <p:txBody>
          <a:bodyPr rtlCol="0" anchor="ctr">
            <a:noAutofit/>
          </a:bodyPr>
          <a:lstStyle/>
          <a:p>
            <a:endParaRPr lang="en-US"/>
          </a:p>
        </p:txBody>
      </p:sp>
      <p:sp>
        <p:nvSpPr>
          <p:cNvPr id="2" name="Confidential disclaimer">
            <a:extLst>
              <a:ext uri="{FF2B5EF4-FFF2-40B4-BE49-F238E27FC236}">
                <a16:creationId xmlns:a16="http://schemas.microsoft.com/office/drawing/2014/main" id="{CC2B4C36-E651-2950-6A7E-EA8C3223EADE}"/>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6" name="Footer Placeholder">
            <a:extLst>
              <a:ext uri="{FF2B5EF4-FFF2-40B4-BE49-F238E27FC236}">
                <a16:creationId xmlns:a16="http://schemas.microsoft.com/office/drawing/2014/main" id="{6567EAC2-C7F5-1090-5CB4-EBD818C469AD}"/>
              </a:ext>
            </a:extLst>
          </p:cNvPr>
          <p:cNvSpPr>
            <a:spLocks noGrp="1" noRot="1" noMove="1" noResize="1" noEditPoints="1" noAdjustHandles="1" noChangeArrowheads="1" noChangeShapeType="1"/>
          </p:cNvSpPr>
          <p:nvPr>
            <p:ph type="ftr" sz="quarter" idx="16"/>
          </p:nvPr>
        </p:nvSpPr>
        <p:spPr>
          <a:xfrm>
            <a:off x="3251197" y="6485399"/>
            <a:ext cx="3716341" cy="282957"/>
          </a:xfrm>
          <a:noFill/>
        </p:spPr>
        <p:txBody>
          <a:bodyPr>
            <a:noAutofit/>
          </a:bodyPr>
          <a:lstStyle>
            <a:lvl1pPr algn="l">
              <a:defRPr>
                <a:solidFill>
                  <a:schemeClr val="bg1"/>
                </a:solidFill>
              </a:defRPr>
            </a:lvl1pPr>
          </a:lstStyle>
          <a:p>
            <a:endParaRPr lang="en-GB"/>
          </a:p>
        </p:txBody>
      </p:sp>
      <p:sp>
        <p:nvSpPr>
          <p:cNvPr id="14" name="Copyright Line">
            <a:extLst>
              <a:ext uri="{FF2B5EF4-FFF2-40B4-BE49-F238E27FC236}">
                <a16:creationId xmlns:a16="http://schemas.microsoft.com/office/drawing/2014/main" id="{F7126EC3-8C35-EE2B-ADB1-C715FE7A9F84}"/>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17" name="Contact Info Placeholder">
            <a:extLst>
              <a:ext uri="{FF2B5EF4-FFF2-40B4-BE49-F238E27FC236}">
                <a16:creationId xmlns:a16="http://schemas.microsoft.com/office/drawing/2014/main" id="{A3FB210C-3E75-B9CF-9D2B-068286A55F3F}"/>
              </a:ext>
            </a:extLst>
          </p:cNvPr>
          <p:cNvSpPr>
            <a:spLocks noGrp="1" noRot="1" noMove="1" noResize="1" noEditPoints="1" noAdjustHandles="1" noChangeArrowheads="1" noChangeShapeType="1"/>
          </p:cNvSpPr>
          <p:nvPr>
            <p:ph type="body" sz="quarter" idx="14"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Contact information</a:t>
            </a:r>
          </a:p>
        </p:txBody>
      </p:sp>
      <p:sp>
        <p:nvSpPr>
          <p:cNvPr id="24" name="Presenter Name Placeholder">
            <a:extLst>
              <a:ext uri="{FF2B5EF4-FFF2-40B4-BE49-F238E27FC236}">
                <a16:creationId xmlns:a16="http://schemas.microsoft.com/office/drawing/2014/main" id="{9CCE47FC-ABF8-A3D7-1819-33209FC9E53C}"/>
              </a:ext>
            </a:extLst>
          </p:cNvPr>
          <p:cNvSpPr>
            <a:spLocks noGrp="1" noRot="1" noMove="1" noResize="1" noEditPoints="1" noAdjustHandles="1" noChangeArrowheads="1" noChangeShapeType="1"/>
          </p:cNvSpPr>
          <p:nvPr>
            <p:ph type="body" sz="quarter" idx="13"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25" name="Subtitle Placeholder">
            <a:extLst>
              <a:ext uri="{FF2B5EF4-FFF2-40B4-BE49-F238E27FC236}">
                <a16:creationId xmlns:a16="http://schemas.microsoft.com/office/drawing/2014/main" id="{10BFC0B4-2BF4-2A65-9425-84381B182E3F}"/>
              </a:ext>
            </a:extLst>
          </p:cNvPr>
          <p:cNvSpPr>
            <a:spLocks noGrp="1" noRot="1" noMove="1" noResize="1" noEditPoints="1" noAdjustHandles="1" noChangeArrowheads="1" noChangeShapeType="1"/>
          </p:cNvSpPr>
          <p:nvPr>
            <p:ph type="body" idx="1" hasCustomPrompt="1"/>
          </p:nvPr>
        </p:nvSpPr>
        <p:spPr>
          <a:xfrm>
            <a:off x="292100" y="3136050"/>
            <a:ext cx="7121979" cy="829817"/>
          </a:xfrm>
        </p:spPr>
        <p:txBody>
          <a:bodyPr>
            <a:noAutofit/>
          </a:bodyPr>
          <a:lstStyle>
            <a:lvl1pPr marL="0" indent="0">
              <a:buNone/>
              <a:defRPr sz="24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all to action]</a:t>
            </a:r>
          </a:p>
        </p:txBody>
      </p:sp>
      <p:sp>
        <p:nvSpPr>
          <p:cNvPr id="27" name="Title Placeholder">
            <a:extLst>
              <a:ext uri="{FF2B5EF4-FFF2-40B4-BE49-F238E27FC236}">
                <a16:creationId xmlns:a16="http://schemas.microsoft.com/office/drawing/2014/main" id="{ABB00A9C-AB66-516A-550B-B734DF89C334}"/>
              </a:ext>
            </a:extLst>
          </p:cNvPr>
          <p:cNvSpPr>
            <a:spLocks noGrp="1" noRot="1" noMove="1" noResize="1" noEditPoints="1" noAdjustHandles="1" noChangeArrowheads="1" noChangeShapeType="1"/>
          </p:cNvSpPr>
          <p:nvPr>
            <p:ph type="title" hasCustomPrompt="1"/>
          </p:nvPr>
        </p:nvSpPr>
        <p:spPr>
          <a:xfrm>
            <a:off x="292100" y="953699"/>
            <a:ext cx="7121979" cy="1938435"/>
          </a:xfrm>
        </p:spPr>
        <p:txBody>
          <a:bodyPr anchor="b">
            <a:noAutofit/>
          </a:bodyPr>
          <a:lstStyle>
            <a:lvl1pPr>
              <a:defRPr sz="3600">
                <a:solidFill>
                  <a:schemeClr val="bg1"/>
                </a:solidFill>
              </a:defRPr>
            </a:lvl1pPr>
          </a:lstStyle>
          <a:p>
            <a:r>
              <a:rPr lang="en-US"/>
              <a:t>[Thank you]</a:t>
            </a:r>
            <a:endParaRPr lang="en-GB"/>
          </a:p>
        </p:txBody>
      </p:sp>
      <p:pic>
        <p:nvPicPr>
          <p:cNvPr id="3" name="NielsenIQ GFK lockup" hidden="1">
            <a:extLst>
              <a:ext uri="{FF2B5EF4-FFF2-40B4-BE49-F238E27FC236}">
                <a16:creationId xmlns:a16="http://schemas.microsoft.com/office/drawing/2014/main" id="{8991D051-ABB0-DBF5-92EA-40EAAEB0F576}"/>
              </a:ext>
            </a:extLst>
          </p:cNvPr>
          <p:cNvPicPr>
            <a:picLocks noGrp="1" noRo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86122" y="5539740"/>
            <a:ext cx="3377876" cy="753596"/>
          </a:xfrm>
          <a:prstGeom prst="rect">
            <a:avLst/>
          </a:prstGeom>
        </p:spPr>
      </p:pic>
      <p:pic>
        <p:nvPicPr>
          <p:cNvPr id="22" name="NielsenIQ logo+wordmark" descr="A blue text on a black background&#10;&#10;Description automatically generated" hidden="1">
            <a:extLst>
              <a:ext uri="{FF2B5EF4-FFF2-40B4-BE49-F238E27FC236}">
                <a16:creationId xmlns:a16="http://schemas.microsoft.com/office/drawing/2014/main" id="{B75E8267-9411-9919-62E4-BB9AB43721F4}"/>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tretch>
            <a:fillRect/>
          </a:stretch>
        </p:blipFill>
        <p:spPr>
          <a:xfrm>
            <a:off x="288558" y="5563212"/>
            <a:ext cx="2155411" cy="743616"/>
          </a:xfrm>
          <a:prstGeom prst="rect">
            <a:avLst/>
          </a:prstGeom>
        </p:spPr>
      </p:pic>
      <p:sp>
        <p:nvSpPr>
          <p:cNvPr id="28" name="Nielsen wordmark">
            <a:extLst>
              <a:ext uri="{FF2B5EF4-FFF2-40B4-BE49-F238E27FC236}">
                <a16:creationId xmlns:a16="http://schemas.microsoft.com/office/drawing/2014/main" id="{B8D9CC60-F1A1-B774-0169-5108239545D7}"/>
              </a:ext>
            </a:extLst>
          </p:cNvPr>
          <p:cNvSpPr>
            <a:spLocks noGrp="1" noRot="1" noMove="1" noResize="1" noEditPoints="1" noAdjustHandles="1" noChangeArrowheads="1" noChangeShapeType="1"/>
          </p:cNvSpPr>
          <p:nvPr userDrawn="1"/>
        </p:nvSpPr>
        <p:spPr>
          <a:xfrm>
            <a:off x="295274" y="5686380"/>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accent1"/>
          </a:solidFill>
          <a:ln w="7744" cap="flat">
            <a:noFill/>
            <a:prstDash val="solid"/>
            <a:miter/>
          </a:ln>
        </p:spPr>
        <p:txBody>
          <a:bodyPr wrap="square" rtlCol="0" anchor="ctr">
            <a:noAutofit/>
          </a:bodyPr>
          <a:lstStyle/>
          <a:p>
            <a:endParaRPr lang="en-US">
              <a:solidFill>
                <a:schemeClr val="bg1"/>
              </a:solidFill>
            </a:endParaRPr>
          </a:p>
        </p:txBody>
      </p:sp>
    </p:spTree>
    <p:extLst>
      <p:ext uri="{BB962C8B-B14F-4D97-AF65-F5344CB8AC3E}">
        <p14:creationId xmlns:p14="http://schemas.microsoft.com/office/powerpoint/2010/main" val="130298518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1_Thank You Dark">
    <p:bg>
      <p:bgPr>
        <a:solidFill>
          <a:schemeClr val="tx2"/>
        </a:solidFill>
        <a:effectLst/>
      </p:bgPr>
    </p:bg>
    <p:spTree>
      <p:nvGrpSpPr>
        <p:cNvPr id="1" name=""/>
        <p:cNvGrpSpPr/>
        <p:nvPr/>
      </p:nvGrpSpPr>
      <p:grpSpPr>
        <a:xfrm>
          <a:off x="0" y="0"/>
          <a:ext cx="0" cy="0"/>
          <a:chOff x="0" y="0"/>
          <a:chExt cx="0" cy="0"/>
        </a:xfrm>
      </p:grpSpPr>
      <p:sp>
        <p:nvSpPr>
          <p:cNvPr id="39" name="Abstracted logo">
            <a:extLst>
              <a:ext uri="{FF2B5EF4-FFF2-40B4-BE49-F238E27FC236}">
                <a16:creationId xmlns:a16="http://schemas.microsoft.com/office/drawing/2014/main" id="{37C4672C-8363-CE87-84A0-A85A94F793F9}"/>
              </a:ext>
            </a:extLst>
          </p:cNvPr>
          <p:cNvSpPr>
            <a:spLocks noGrp="1" noRot="1" noMove="1" noResize="1" noEditPoints="1" noAdjustHandles="1" noChangeArrowheads="1" noChangeShapeType="1"/>
          </p:cNvSpPr>
          <p:nvPr/>
        </p:nvSpPr>
        <p:spPr>
          <a:xfrm>
            <a:off x="0" y="1"/>
            <a:ext cx="11495577" cy="6496681"/>
          </a:xfrm>
          <a:custGeom>
            <a:avLst/>
            <a:gdLst>
              <a:gd name="connsiteX0" fmla="*/ 0 w 11495577"/>
              <a:gd name="connsiteY0" fmla="*/ 0 h 6496681"/>
              <a:gd name="connsiteX1" fmla="*/ 704099 w 11495577"/>
              <a:gd name="connsiteY1" fmla="*/ 0 h 6496681"/>
              <a:gd name="connsiteX2" fmla="*/ 741689 w 11495577"/>
              <a:gd name="connsiteY2" fmla="*/ 102812 h 6496681"/>
              <a:gd name="connsiteX3" fmla="*/ 3783129 w 11495577"/>
              <a:gd name="connsiteY3" fmla="*/ 2118000 h 6496681"/>
              <a:gd name="connsiteX4" fmla="*/ 6824569 w 11495577"/>
              <a:gd name="connsiteY4" fmla="*/ 102812 h 6496681"/>
              <a:gd name="connsiteX5" fmla="*/ 6862160 w 11495577"/>
              <a:gd name="connsiteY5" fmla="*/ 0 h 6496681"/>
              <a:gd name="connsiteX6" fmla="*/ 10037149 w 11495577"/>
              <a:gd name="connsiteY6" fmla="*/ 0 h 6496681"/>
              <a:gd name="connsiteX7" fmla="*/ 10016547 w 11495577"/>
              <a:gd name="connsiteY7" fmla="*/ 118329 h 6496681"/>
              <a:gd name="connsiteX8" fmla="*/ 9239892 w 11495577"/>
              <a:gd name="connsiteY8" fmla="*/ 2084828 h 6496681"/>
              <a:gd name="connsiteX9" fmla="*/ 11495577 w 11495577"/>
              <a:gd name="connsiteY9" fmla="*/ 4340512 h 6496681"/>
              <a:gd name="connsiteX10" fmla="*/ 9339409 w 11495577"/>
              <a:gd name="connsiteY10" fmla="*/ 6496681 h 6496681"/>
              <a:gd name="connsiteX11" fmla="*/ 7083724 w 11495577"/>
              <a:gd name="connsiteY11" fmla="*/ 4224410 h 6496681"/>
              <a:gd name="connsiteX12" fmla="*/ 3799716 w 11495577"/>
              <a:gd name="connsiteY12" fmla="*/ 5153221 h 6496681"/>
              <a:gd name="connsiteX13" fmla="*/ 2713 w 11495577"/>
              <a:gd name="connsiteY13" fmla="*/ 3888664 h 6496681"/>
              <a:gd name="connsiteX14" fmla="*/ 0 w 11495577"/>
              <a:gd name="connsiteY14" fmla="*/ 3886530 h 649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95577" h="6496681">
                <a:moveTo>
                  <a:pt x="0" y="0"/>
                </a:moveTo>
                <a:lnTo>
                  <a:pt x="704099" y="0"/>
                </a:lnTo>
                <a:lnTo>
                  <a:pt x="741689" y="102812"/>
                </a:lnTo>
                <a:cubicBezTo>
                  <a:pt x="1242376" y="1287668"/>
                  <a:pt x="2414792" y="2118000"/>
                  <a:pt x="3783129" y="2118000"/>
                </a:cubicBezTo>
                <a:cubicBezTo>
                  <a:pt x="5151467" y="2118000"/>
                  <a:pt x="6323883" y="1287668"/>
                  <a:pt x="6824569" y="102812"/>
                </a:cubicBezTo>
                <a:lnTo>
                  <a:pt x="6862160" y="0"/>
                </a:lnTo>
                <a:lnTo>
                  <a:pt x="10037149" y="0"/>
                </a:lnTo>
                <a:lnTo>
                  <a:pt x="10016547" y="118329"/>
                </a:lnTo>
                <a:cubicBezTo>
                  <a:pt x="9868343" y="824040"/>
                  <a:pt x="9602709" y="1483589"/>
                  <a:pt x="9239892" y="2084828"/>
                </a:cubicBezTo>
                <a:lnTo>
                  <a:pt x="11495577" y="4340512"/>
                </a:lnTo>
                <a:lnTo>
                  <a:pt x="9339409" y="6496681"/>
                </a:lnTo>
                <a:lnTo>
                  <a:pt x="7083724" y="4224410"/>
                </a:lnTo>
                <a:cubicBezTo>
                  <a:pt x="6138328" y="4821503"/>
                  <a:pt x="5010486" y="5153221"/>
                  <a:pt x="3799716" y="5153221"/>
                </a:cubicBezTo>
                <a:cubicBezTo>
                  <a:pt x="2377992" y="5153221"/>
                  <a:pt x="1063024" y="4682402"/>
                  <a:pt x="2713" y="3888664"/>
                </a:cubicBezTo>
                <a:lnTo>
                  <a:pt x="0" y="3886530"/>
                </a:lnTo>
                <a:close/>
              </a:path>
            </a:pathLst>
          </a:custGeom>
          <a:solidFill>
            <a:srgbClr val="1F2358"/>
          </a:solidFill>
          <a:ln w="165830" cap="flat">
            <a:noFill/>
            <a:prstDash val="solid"/>
            <a:miter/>
          </a:ln>
        </p:spPr>
        <p:txBody>
          <a:bodyPr rtlCol="0" anchor="ctr">
            <a:noAutofit/>
          </a:bodyPr>
          <a:lstStyle/>
          <a:p>
            <a:endParaRPr lang="en-US"/>
          </a:p>
        </p:txBody>
      </p:sp>
      <p:sp>
        <p:nvSpPr>
          <p:cNvPr id="2" name="Confidential disclaimer">
            <a:extLst>
              <a:ext uri="{FF2B5EF4-FFF2-40B4-BE49-F238E27FC236}">
                <a16:creationId xmlns:a16="http://schemas.microsoft.com/office/drawing/2014/main" id="{CC2B4C36-E651-2950-6A7E-EA8C3223EADE}"/>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14" name="Copyright Line">
            <a:extLst>
              <a:ext uri="{FF2B5EF4-FFF2-40B4-BE49-F238E27FC236}">
                <a16:creationId xmlns:a16="http://schemas.microsoft.com/office/drawing/2014/main" id="{F7126EC3-8C35-EE2B-ADB1-C715FE7A9F84}"/>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17" name="Contact Info Placeholder">
            <a:extLst>
              <a:ext uri="{FF2B5EF4-FFF2-40B4-BE49-F238E27FC236}">
                <a16:creationId xmlns:a16="http://schemas.microsoft.com/office/drawing/2014/main" id="{A3FB210C-3E75-B9CF-9D2B-068286A55F3F}"/>
              </a:ext>
            </a:extLst>
          </p:cNvPr>
          <p:cNvSpPr>
            <a:spLocks noGrp="1" noRot="1" noMove="1" noResize="1" noEditPoints="1" noAdjustHandles="1" noChangeArrowheads="1" noChangeShapeType="1"/>
          </p:cNvSpPr>
          <p:nvPr>
            <p:ph type="body" sz="quarter" idx="14"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Contact information</a:t>
            </a:r>
          </a:p>
        </p:txBody>
      </p:sp>
      <p:sp>
        <p:nvSpPr>
          <p:cNvPr id="24" name="Presenter Name Placeholder">
            <a:extLst>
              <a:ext uri="{FF2B5EF4-FFF2-40B4-BE49-F238E27FC236}">
                <a16:creationId xmlns:a16="http://schemas.microsoft.com/office/drawing/2014/main" id="{9CCE47FC-ABF8-A3D7-1819-33209FC9E53C}"/>
              </a:ext>
            </a:extLst>
          </p:cNvPr>
          <p:cNvSpPr>
            <a:spLocks noGrp="1" noRot="1" noMove="1" noResize="1" noEditPoints="1" noAdjustHandles="1" noChangeArrowheads="1" noChangeShapeType="1"/>
          </p:cNvSpPr>
          <p:nvPr>
            <p:ph type="body" sz="quarter" idx="13"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25" name="Subtitle Placeholder">
            <a:extLst>
              <a:ext uri="{FF2B5EF4-FFF2-40B4-BE49-F238E27FC236}">
                <a16:creationId xmlns:a16="http://schemas.microsoft.com/office/drawing/2014/main" id="{10BFC0B4-2BF4-2A65-9425-84381B182E3F}"/>
              </a:ext>
            </a:extLst>
          </p:cNvPr>
          <p:cNvSpPr>
            <a:spLocks noGrp="1" noRot="1" noMove="1" noResize="1" noEditPoints="1" noAdjustHandles="1" noChangeArrowheads="1" noChangeShapeType="1"/>
          </p:cNvSpPr>
          <p:nvPr>
            <p:ph type="body" idx="1" hasCustomPrompt="1"/>
          </p:nvPr>
        </p:nvSpPr>
        <p:spPr>
          <a:xfrm>
            <a:off x="292100" y="3136050"/>
            <a:ext cx="7121979" cy="829817"/>
          </a:xfrm>
        </p:spPr>
        <p:txBody>
          <a:bodyPr>
            <a:noAutofit/>
          </a:bodyPr>
          <a:lstStyle>
            <a:lvl1pPr marL="0" indent="0">
              <a:buNone/>
              <a:defRPr sz="24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all to action]</a:t>
            </a:r>
          </a:p>
        </p:txBody>
      </p:sp>
      <p:sp>
        <p:nvSpPr>
          <p:cNvPr id="27" name="Title Placeholder">
            <a:extLst>
              <a:ext uri="{FF2B5EF4-FFF2-40B4-BE49-F238E27FC236}">
                <a16:creationId xmlns:a16="http://schemas.microsoft.com/office/drawing/2014/main" id="{ABB00A9C-AB66-516A-550B-B734DF89C334}"/>
              </a:ext>
            </a:extLst>
          </p:cNvPr>
          <p:cNvSpPr>
            <a:spLocks noGrp="1" noRot="1" noMove="1" noResize="1" noEditPoints="1" noAdjustHandles="1" noChangeArrowheads="1" noChangeShapeType="1"/>
          </p:cNvSpPr>
          <p:nvPr>
            <p:ph type="title" hasCustomPrompt="1"/>
          </p:nvPr>
        </p:nvSpPr>
        <p:spPr>
          <a:xfrm>
            <a:off x="292100" y="953699"/>
            <a:ext cx="7121979" cy="1938435"/>
          </a:xfrm>
        </p:spPr>
        <p:txBody>
          <a:bodyPr anchor="b">
            <a:noAutofit/>
          </a:bodyPr>
          <a:lstStyle>
            <a:lvl1pPr>
              <a:defRPr sz="3600">
                <a:solidFill>
                  <a:schemeClr val="bg1"/>
                </a:solidFill>
              </a:defRPr>
            </a:lvl1pPr>
          </a:lstStyle>
          <a:p>
            <a:r>
              <a:rPr lang="en-US"/>
              <a:t>[Thank you]</a:t>
            </a:r>
            <a:endParaRPr lang="en-GB"/>
          </a:p>
        </p:txBody>
      </p:sp>
      <p:pic>
        <p:nvPicPr>
          <p:cNvPr id="3" name="NielsenIQ GFK lockup" hidden="1">
            <a:extLst>
              <a:ext uri="{FF2B5EF4-FFF2-40B4-BE49-F238E27FC236}">
                <a16:creationId xmlns:a16="http://schemas.microsoft.com/office/drawing/2014/main" id="{8991D051-ABB0-DBF5-92EA-40EAAEB0F576}"/>
              </a:ext>
            </a:extLst>
          </p:cNvPr>
          <p:cNvPicPr>
            <a:picLocks noGrp="1" noRo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86122" y="5539740"/>
            <a:ext cx="3377876" cy="753596"/>
          </a:xfrm>
          <a:prstGeom prst="rect">
            <a:avLst/>
          </a:prstGeom>
        </p:spPr>
      </p:pic>
      <p:pic>
        <p:nvPicPr>
          <p:cNvPr id="22" name="NielsenIQ logo+wordmark" descr="A blue text on a black background&#10;&#10;Description automatically generated" hidden="1">
            <a:extLst>
              <a:ext uri="{FF2B5EF4-FFF2-40B4-BE49-F238E27FC236}">
                <a16:creationId xmlns:a16="http://schemas.microsoft.com/office/drawing/2014/main" id="{B75E8267-9411-9919-62E4-BB9AB43721F4}"/>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tretch>
            <a:fillRect/>
          </a:stretch>
        </p:blipFill>
        <p:spPr>
          <a:xfrm>
            <a:off x="288558" y="5563212"/>
            <a:ext cx="2155411" cy="743616"/>
          </a:xfrm>
          <a:prstGeom prst="rect">
            <a:avLst/>
          </a:prstGeom>
        </p:spPr>
      </p:pic>
      <p:sp>
        <p:nvSpPr>
          <p:cNvPr id="28" name="Nielsen wordmark">
            <a:extLst>
              <a:ext uri="{FF2B5EF4-FFF2-40B4-BE49-F238E27FC236}">
                <a16:creationId xmlns:a16="http://schemas.microsoft.com/office/drawing/2014/main" id="{B8D9CC60-F1A1-B774-0169-5108239545D7}"/>
              </a:ext>
            </a:extLst>
          </p:cNvPr>
          <p:cNvSpPr>
            <a:spLocks noGrp="1" noRot="1" noMove="1" noResize="1" noEditPoints="1" noAdjustHandles="1" noChangeArrowheads="1" noChangeShapeType="1"/>
          </p:cNvSpPr>
          <p:nvPr userDrawn="1"/>
        </p:nvSpPr>
        <p:spPr>
          <a:xfrm>
            <a:off x="295274" y="5686380"/>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accent3"/>
          </a:solidFill>
          <a:ln w="7744" cap="flat">
            <a:noFill/>
            <a:prstDash val="solid"/>
            <a:miter/>
          </a:ln>
        </p:spPr>
        <p:txBody>
          <a:bodyPr wrap="square" rtlCol="0" anchor="ctr">
            <a:noAutofit/>
          </a:bodyPr>
          <a:lstStyle/>
          <a:p>
            <a:endParaRPr lang="en-US">
              <a:solidFill>
                <a:schemeClr val="bg1"/>
              </a:solidFill>
            </a:endParaRPr>
          </a:p>
        </p:txBody>
      </p:sp>
    </p:spTree>
    <p:extLst>
      <p:ext uri="{BB962C8B-B14F-4D97-AF65-F5344CB8AC3E}">
        <p14:creationId xmlns:p14="http://schemas.microsoft.com/office/powerpoint/2010/main" val="391735397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75435825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3yp_title_and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2F25C-611F-5946-A757-98CBE87CC8B7}"/>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noChangeAspect="1"/>
          </p:cNvSpPr>
          <p:nvPr>
            <p:ph type="body" sz="quarter" idx="13" hasCustomPrompt="1"/>
          </p:nvPr>
        </p:nvSpPr>
        <p:spPr>
          <a:xfrm>
            <a:off x="288558" y="845697"/>
            <a:ext cx="11582400"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
        <p:nvSpPr>
          <p:cNvPr id="11" name="Text Placeholder 10">
            <a:extLst>
              <a:ext uri="{FF2B5EF4-FFF2-40B4-BE49-F238E27FC236}">
                <a16:creationId xmlns:a16="http://schemas.microsoft.com/office/drawing/2014/main" id="{D84B7C4B-5E7C-3B57-7A87-AA7A24A5F2B5}"/>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5" name="Straight Connector 4">
            <a:extLst>
              <a:ext uri="{FF2B5EF4-FFF2-40B4-BE49-F238E27FC236}">
                <a16:creationId xmlns:a16="http://schemas.microsoft.com/office/drawing/2014/main" id="{6FD4EA98-BF31-5C57-6FCA-CC2DE7D012B7}"/>
              </a:ext>
            </a:extLst>
          </p:cNvPr>
          <p:cNvCxnSpPr>
            <a:cxnSpLocks/>
          </p:cNvCxnSpPr>
          <p:nvPr userDrawn="1"/>
        </p:nvCxnSpPr>
        <p:spPr>
          <a:xfrm>
            <a:off x="278932" y="718606"/>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931605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type="secHead" preserve="1">
  <p:cSld name="2_Section Header Blue">
    <p:spTree>
      <p:nvGrpSpPr>
        <p:cNvPr id="1" name=""/>
        <p:cNvGrpSpPr/>
        <p:nvPr/>
      </p:nvGrpSpPr>
      <p:grpSpPr>
        <a:xfrm>
          <a:off x="0" y="0"/>
          <a:ext cx="0" cy="0"/>
          <a:chOff x="0" y="0"/>
          <a:chExt cx="0" cy="0"/>
        </a:xfrm>
      </p:grpSpPr>
      <p:sp>
        <p:nvSpPr>
          <p:cNvPr id="7" name="Static Blue Bkgd">
            <a:extLst>
              <a:ext uri="{FF2B5EF4-FFF2-40B4-BE49-F238E27FC236}">
                <a16:creationId xmlns:a16="http://schemas.microsoft.com/office/drawing/2014/main" id="{D1093FDC-ACBE-C97A-79EC-30B506F35131}"/>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2D6D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Base Rule">
            <a:extLst>
              <a:ext uri="{FF2B5EF4-FFF2-40B4-BE49-F238E27FC236}">
                <a16:creationId xmlns:a16="http://schemas.microsoft.com/office/drawing/2014/main" id="{BF009615-489A-5DA8-222F-36CEB46D77B1}"/>
              </a:ext>
            </a:extLst>
          </p:cNvPr>
          <p:cNvCxnSpPr>
            <a:cxnSpLocks noGrp="1" noRot="1" noMove="1" noResize="1" noEditPoints="1" noAdjustHandles="1" noChangeArrowheads="1" noChangeShapeType="1"/>
          </p:cNvCxnSpPr>
          <p:nvPr userDrawn="1"/>
        </p:nvCxnSpPr>
        <p:spPr>
          <a:xfrm>
            <a:off x="292100" y="6395755"/>
            <a:ext cx="11607801"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6" name="Slide Number Placeholder">
            <a:extLst>
              <a:ext uri="{FF2B5EF4-FFF2-40B4-BE49-F238E27FC236}">
                <a16:creationId xmlns:a16="http://schemas.microsoft.com/office/drawing/2014/main" id="{74E97C96-6264-45A7-BD31-3F850D5B4046}"/>
              </a:ext>
            </a:extLst>
          </p:cNvPr>
          <p:cNvSpPr>
            <a:spLocks noGrp="1" noRot="1" noMove="1" noResize="1" noEditPoints="1" noAdjustHandles="1" noChangeArrowheads="1" noChangeShapeType="1"/>
          </p:cNvSpPr>
          <p:nvPr>
            <p:ph type="sldNum" sz="quarter" idx="12"/>
          </p:nvPr>
        </p:nvSpPr>
        <p:spPr/>
        <p:txBody>
          <a:bodyPr/>
          <a:lstStyle>
            <a:lvl1pPr>
              <a:defRPr>
                <a:solidFill>
                  <a:srgbClr val="FFFFFF"/>
                </a:solidFill>
              </a:defRPr>
            </a:lvl1pPr>
          </a:lstStyle>
          <a:p>
            <a:fld id="{3E04DF46-C0DC-4ADC-9A6F-918CC4703A43}" type="slidenum">
              <a:rPr lang="en-GB" smtClean="0"/>
              <a:pPr/>
              <a:t>‹#›</a:t>
            </a:fld>
            <a:endParaRPr lang="en-GB"/>
          </a:p>
        </p:txBody>
      </p:sp>
      <p:sp>
        <p:nvSpPr>
          <p:cNvPr id="8" name="Copyright Line">
            <a:extLst>
              <a:ext uri="{FF2B5EF4-FFF2-40B4-BE49-F238E27FC236}">
                <a16:creationId xmlns:a16="http://schemas.microsoft.com/office/drawing/2014/main" id="{D18F1FC4-106D-3BF8-BC65-D648A021FC0D}"/>
              </a:ext>
            </a:extLst>
          </p:cNvPr>
          <p:cNvSpPr txBox="1">
            <a:spLocks noGrp="1" noRot="1" noMove="1" noResize="1" noEditPoints="1" noAdjustHandles="1" noChangeArrowheads="1" noChangeShapeType="1"/>
          </p:cNvSpPr>
          <p:nvPr userDrawn="1"/>
        </p:nvSpPr>
        <p:spPr>
          <a:xfrm>
            <a:off x="9167809" y="6526849"/>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rgbClr val="BBBBBB"/>
                </a:solidFill>
              </a:rPr>
              <a:t>© </a:t>
            </a:r>
            <a:fld id="{92E70860-886D-4303-B2B5-BD1295E1FD39}" type="datetimeyyyy">
              <a:rPr lang="en-US" sz="700" smtClean="0">
                <a:solidFill>
                  <a:srgbClr val="BBBBBB"/>
                </a:solidFill>
              </a:rPr>
              <a:t>2024</a:t>
            </a:fld>
            <a:r>
              <a:rPr lang="en-US" sz="700">
                <a:solidFill>
                  <a:srgbClr val="BBBBBB"/>
                </a:solidFill>
              </a:rPr>
              <a:t> Nielsen Consumer LLC. All Rights Reserved.</a:t>
            </a:r>
          </a:p>
        </p:txBody>
      </p:sp>
      <p:sp>
        <p:nvSpPr>
          <p:cNvPr id="11" name="Confidential disclaimer">
            <a:extLst>
              <a:ext uri="{FF2B5EF4-FFF2-40B4-BE49-F238E27FC236}">
                <a16:creationId xmlns:a16="http://schemas.microsoft.com/office/drawing/2014/main" id="{6DA018A3-AFD9-D355-AE28-82676195255B}"/>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5" name="Footer Placeholder">
            <a:extLst>
              <a:ext uri="{FF2B5EF4-FFF2-40B4-BE49-F238E27FC236}">
                <a16:creationId xmlns:a16="http://schemas.microsoft.com/office/drawing/2014/main" id="{9E3F8F0F-7B47-2BB9-7F93-A25C99023E14}"/>
              </a:ext>
            </a:extLst>
          </p:cNvPr>
          <p:cNvSpPr>
            <a:spLocks noGrp="1" noRot="1" noMove="1" noResize="1" noEditPoints="1" noAdjustHandles="1" noChangeArrowheads="1" noChangeShapeType="1"/>
          </p:cNvSpPr>
          <p:nvPr>
            <p:ph type="ftr" sz="quarter" idx="11"/>
          </p:nvPr>
        </p:nvSpPr>
        <p:spPr>
          <a:solidFill>
            <a:schemeClr val="accent1"/>
          </a:solidFill>
        </p:spPr>
        <p:txBody>
          <a:bodyPr/>
          <a:lstStyle>
            <a:lvl1pPr>
              <a:defRPr>
                <a:solidFill>
                  <a:srgbClr val="FFFFFF"/>
                </a:solidFill>
              </a:defRPr>
            </a:lvl1pPr>
          </a:lstStyle>
          <a:p>
            <a:endParaRPr lang="en-GB"/>
          </a:p>
        </p:txBody>
      </p:sp>
      <p:sp>
        <p:nvSpPr>
          <p:cNvPr id="4" name="Date Placeholder">
            <a:extLst>
              <a:ext uri="{FF2B5EF4-FFF2-40B4-BE49-F238E27FC236}">
                <a16:creationId xmlns:a16="http://schemas.microsoft.com/office/drawing/2014/main" id="{51D28747-A5DD-1E44-1383-00C1095A0E2F}"/>
              </a:ext>
            </a:extLst>
          </p:cNvPr>
          <p:cNvSpPr>
            <a:spLocks noGrp="1" noRot="1" noMove="1" noResize="1" noEditPoints="1" noAdjustHandles="1" noChangeArrowheads="1" noChangeShapeType="1"/>
          </p:cNvSpPr>
          <p:nvPr>
            <p:ph type="dt" sz="half" idx="10"/>
          </p:nvPr>
        </p:nvSpPr>
        <p:spPr/>
        <p:txBody>
          <a:bodyPr/>
          <a:lstStyle>
            <a:lvl1pPr>
              <a:defRPr>
                <a:solidFill>
                  <a:srgbClr val="FFFFFF"/>
                </a:solidFill>
              </a:defRPr>
            </a:lvl1pPr>
          </a:lstStyle>
          <a:p>
            <a:fld id="{DE0BD3D1-6E87-4D3B-832D-3A9C60D16F09}" type="datetime1">
              <a:rPr lang="en-GB" smtClean="0"/>
              <a:t>18/11/2024</a:t>
            </a:fld>
            <a:endParaRPr lang="en-GB"/>
          </a:p>
        </p:txBody>
      </p:sp>
      <p:sp>
        <p:nvSpPr>
          <p:cNvPr id="3" name="Subtitle Placeholder">
            <a:extLst>
              <a:ext uri="{FF2B5EF4-FFF2-40B4-BE49-F238E27FC236}">
                <a16:creationId xmlns:a16="http://schemas.microsoft.com/office/drawing/2014/main" id="{811C7246-8A71-F257-DB0D-3E1F23CE6970}"/>
              </a:ext>
            </a:extLst>
          </p:cNvPr>
          <p:cNvSpPr>
            <a:spLocks noGrp="1" noRot="1" noMove="1" noResize="1" noEditPoints="1" noAdjustHandles="1" noChangeArrowheads="1" noChangeShapeType="1"/>
          </p:cNvSpPr>
          <p:nvPr>
            <p:ph type="body" idx="1"/>
          </p:nvPr>
        </p:nvSpPr>
        <p:spPr>
          <a:xfrm>
            <a:off x="292100" y="3945964"/>
            <a:ext cx="7121979" cy="1500187"/>
          </a:xfrm>
        </p:spPr>
        <p:txBody>
          <a:bodyPr>
            <a:noAutofit/>
          </a:bodyPr>
          <a:lstStyle>
            <a:lvl1pPr marL="0" indent="0">
              <a:buNone/>
              <a:defRPr sz="2000">
                <a:solidFill>
                  <a:srgbClr val="FFFFFF"/>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1219200"/>
            <a:ext cx="7121979" cy="2401887"/>
          </a:xfrm>
        </p:spPr>
        <p:txBody>
          <a:bodyPr anchor="b">
            <a:noAutofit/>
          </a:bodyPr>
          <a:lstStyle>
            <a:lvl1pPr>
              <a:defRPr sz="4400">
                <a:solidFill>
                  <a:srgbClr val="FFFFFF"/>
                </a:solidFill>
              </a:defRPr>
            </a:lvl1pPr>
          </a:lstStyle>
          <a:p>
            <a:r>
              <a:rPr lang="en-US"/>
              <a:t>Insert your section header title here maximum of three lines</a:t>
            </a:r>
            <a:endParaRPr lang="en-GB"/>
          </a:p>
        </p:txBody>
      </p:sp>
      <p:pic>
        <p:nvPicPr>
          <p:cNvPr id="14" name="NIQ GFK Lockup" hidden="1">
            <a:extLst>
              <a:ext uri="{FF2B5EF4-FFF2-40B4-BE49-F238E27FC236}">
                <a16:creationId xmlns:a16="http://schemas.microsoft.com/office/drawing/2014/main" id="{EAEBAA35-FD7E-BA1F-342A-81B244F88CFF}"/>
              </a:ext>
            </a:extLst>
          </p:cNvPr>
          <p:cNvPicPr>
            <a:picLocks noGrp="1" noRot="1" noChangeAspec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25" name="NielsenIQ logo+wordmark" hidden="1">
            <a:extLst>
              <a:ext uri="{FF2B5EF4-FFF2-40B4-BE49-F238E27FC236}">
                <a16:creationId xmlns:a16="http://schemas.microsoft.com/office/drawing/2014/main" id="{598FBCD8-A3EE-4A06-6724-A1F5D7027567}"/>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rcRect/>
          <a:stretch/>
        </p:blipFill>
        <p:spPr>
          <a:xfrm>
            <a:off x="290132" y="6495154"/>
            <a:ext cx="781428" cy="269593"/>
          </a:xfrm>
          <a:prstGeom prst="rect">
            <a:avLst/>
          </a:prstGeom>
        </p:spPr>
      </p:pic>
      <p:pic>
        <p:nvPicPr>
          <p:cNvPr id="22" name="NIQ Logo">
            <a:extLst>
              <a:ext uri="{FF2B5EF4-FFF2-40B4-BE49-F238E27FC236}">
                <a16:creationId xmlns:a16="http://schemas.microsoft.com/office/drawing/2014/main" id="{C3AC3518-07F7-E20B-4D4C-9D6C3D043778}"/>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211676731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type="secHead" preserve="1">
  <p:cSld name="1_Section Header Dark">
    <p:spTree>
      <p:nvGrpSpPr>
        <p:cNvPr id="1" name=""/>
        <p:cNvGrpSpPr/>
        <p:nvPr/>
      </p:nvGrpSpPr>
      <p:grpSpPr>
        <a:xfrm>
          <a:off x="0" y="0"/>
          <a:ext cx="0" cy="0"/>
          <a:chOff x="0" y="0"/>
          <a:chExt cx="0" cy="0"/>
        </a:xfrm>
      </p:grpSpPr>
      <p:sp>
        <p:nvSpPr>
          <p:cNvPr id="7" name="Static Dark Bkgd">
            <a:extLst>
              <a:ext uri="{FF2B5EF4-FFF2-40B4-BE49-F238E27FC236}">
                <a16:creationId xmlns:a16="http://schemas.microsoft.com/office/drawing/2014/main" id="{D1093FDC-ACBE-C97A-79EC-30B506F35131}"/>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060A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Base Rule">
            <a:extLst>
              <a:ext uri="{FF2B5EF4-FFF2-40B4-BE49-F238E27FC236}">
                <a16:creationId xmlns:a16="http://schemas.microsoft.com/office/drawing/2014/main" id="{BF009615-489A-5DA8-222F-36CEB46D77B1}"/>
              </a:ext>
            </a:extLst>
          </p:cNvPr>
          <p:cNvCxnSpPr>
            <a:cxnSpLocks noGrp="1" noRot="1" noMove="1" noResize="1" noEditPoints="1" noAdjustHandles="1" noChangeArrowheads="1" noChangeShapeType="1"/>
          </p:cNvCxnSpPr>
          <p:nvPr userDrawn="1"/>
        </p:nvCxnSpPr>
        <p:spPr>
          <a:xfrm>
            <a:off x="292100" y="6395755"/>
            <a:ext cx="11607801"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6" name="Slide Number Placeholder">
            <a:extLst>
              <a:ext uri="{FF2B5EF4-FFF2-40B4-BE49-F238E27FC236}">
                <a16:creationId xmlns:a16="http://schemas.microsoft.com/office/drawing/2014/main" id="{74E97C96-6264-45A7-BD31-3F850D5B4046}"/>
              </a:ext>
            </a:extLst>
          </p:cNvPr>
          <p:cNvSpPr>
            <a:spLocks noGrp="1" noRot="1" noMove="1" noResize="1" noEditPoints="1" noAdjustHandles="1" noChangeArrowheads="1" noChangeShapeType="1"/>
          </p:cNvSpPr>
          <p:nvPr>
            <p:ph type="sldNum" sz="quarter" idx="12"/>
          </p:nvPr>
        </p:nvSpPr>
        <p:spPr/>
        <p:txBody>
          <a:bodyPr/>
          <a:lstStyle>
            <a:lvl1pPr>
              <a:defRPr>
                <a:solidFill>
                  <a:srgbClr val="FFFFFF"/>
                </a:solidFill>
              </a:defRPr>
            </a:lvl1pPr>
          </a:lstStyle>
          <a:p>
            <a:fld id="{3E04DF46-C0DC-4ADC-9A6F-918CC4703A43}" type="slidenum">
              <a:rPr lang="en-GB" smtClean="0"/>
              <a:pPr/>
              <a:t>‹#›</a:t>
            </a:fld>
            <a:endParaRPr lang="en-GB"/>
          </a:p>
        </p:txBody>
      </p:sp>
      <p:sp>
        <p:nvSpPr>
          <p:cNvPr id="8" name="Copyright Line">
            <a:extLst>
              <a:ext uri="{FF2B5EF4-FFF2-40B4-BE49-F238E27FC236}">
                <a16:creationId xmlns:a16="http://schemas.microsoft.com/office/drawing/2014/main" id="{D18F1FC4-106D-3BF8-BC65-D648A021FC0D}"/>
              </a:ext>
            </a:extLst>
          </p:cNvPr>
          <p:cNvSpPr txBox="1">
            <a:spLocks noGrp="1" noRot="1" noMove="1" noResize="1" noEditPoints="1" noAdjustHandles="1" noChangeArrowheads="1" noChangeShapeType="1"/>
          </p:cNvSpPr>
          <p:nvPr userDrawn="1"/>
        </p:nvSpPr>
        <p:spPr>
          <a:xfrm>
            <a:off x="9167809" y="6526849"/>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rgbClr val="BBBBBB"/>
                </a:solidFill>
              </a:rPr>
              <a:t>© </a:t>
            </a:r>
            <a:fld id="{92E70860-886D-4303-B2B5-BD1295E1FD39}" type="datetimeyyyy">
              <a:rPr lang="en-US" sz="700" smtClean="0">
                <a:solidFill>
                  <a:srgbClr val="BBBBBB"/>
                </a:solidFill>
              </a:rPr>
              <a:t>2024</a:t>
            </a:fld>
            <a:r>
              <a:rPr lang="en-US" sz="700">
                <a:solidFill>
                  <a:srgbClr val="BBBBBB"/>
                </a:solidFill>
              </a:rPr>
              <a:t> Nielsen Consumer LLC. All Rights Reserved.</a:t>
            </a:r>
          </a:p>
        </p:txBody>
      </p:sp>
      <p:sp>
        <p:nvSpPr>
          <p:cNvPr id="11" name="Confidential disclaimer">
            <a:extLst>
              <a:ext uri="{FF2B5EF4-FFF2-40B4-BE49-F238E27FC236}">
                <a16:creationId xmlns:a16="http://schemas.microsoft.com/office/drawing/2014/main" id="{E92240A2-16A2-92E0-CB79-8A8DDCBFE3B1}"/>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5" name="Footer Placeholder">
            <a:extLst>
              <a:ext uri="{FF2B5EF4-FFF2-40B4-BE49-F238E27FC236}">
                <a16:creationId xmlns:a16="http://schemas.microsoft.com/office/drawing/2014/main" id="{9E3F8F0F-7B47-2BB9-7F93-A25C99023E14}"/>
              </a:ext>
            </a:extLst>
          </p:cNvPr>
          <p:cNvSpPr>
            <a:spLocks noGrp="1" noRot="1" noMove="1" noResize="1" noEditPoints="1" noAdjustHandles="1" noChangeArrowheads="1" noChangeShapeType="1"/>
          </p:cNvSpPr>
          <p:nvPr>
            <p:ph type="ftr" sz="quarter" idx="11"/>
          </p:nvPr>
        </p:nvSpPr>
        <p:spPr>
          <a:solidFill>
            <a:schemeClr val="tx2"/>
          </a:solidFill>
        </p:spPr>
        <p:txBody>
          <a:bodyPr/>
          <a:lstStyle>
            <a:lvl1pPr>
              <a:defRPr>
                <a:solidFill>
                  <a:srgbClr val="FFFFFF"/>
                </a:solidFill>
              </a:defRPr>
            </a:lvl1pPr>
          </a:lstStyle>
          <a:p>
            <a:endParaRPr lang="en-GB"/>
          </a:p>
        </p:txBody>
      </p:sp>
      <p:sp>
        <p:nvSpPr>
          <p:cNvPr id="4" name="Date Placeholder">
            <a:extLst>
              <a:ext uri="{FF2B5EF4-FFF2-40B4-BE49-F238E27FC236}">
                <a16:creationId xmlns:a16="http://schemas.microsoft.com/office/drawing/2014/main" id="{51D28747-A5DD-1E44-1383-00C1095A0E2F}"/>
              </a:ext>
            </a:extLst>
          </p:cNvPr>
          <p:cNvSpPr>
            <a:spLocks noGrp="1" noRot="1" noMove="1" noResize="1" noEditPoints="1" noAdjustHandles="1" noChangeArrowheads="1" noChangeShapeType="1"/>
          </p:cNvSpPr>
          <p:nvPr>
            <p:ph type="dt" sz="half" idx="10"/>
          </p:nvPr>
        </p:nvSpPr>
        <p:spPr/>
        <p:txBody>
          <a:bodyPr/>
          <a:lstStyle>
            <a:lvl1pPr>
              <a:defRPr>
                <a:solidFill>
                  <a:srgbClr val="FFFFFF"/>
                </a:solidFill>
              </a:defRPr>
            </a:lvl1pPr>
          </a:lstStyle>
          <a:p>
            <a:fld id="{83E59825-7B6A-49C3-B207-8F8E163BC2C4}" type="datetime1">
              <a:rPr lang="en-GB" smtClean="0"/>
              <a:t>18/11/2024</a:t>
            </a:fld>
            <a:endParaRPr lang="en-GB"/>
          </a:p>
        </p:txBody>
      </p:sp>
      <p:sp>
        <p:nvSpPr>
          <p:cNvPr id="3" name="Subtitle Placeholder">
            <a:extLst>
              <a:ext uri="{FF2B5EF4-FFF2-40B4-BE49-F238E27FC236}">
                <a16:creationId xmlns:a16="http://schemas.microsoft.com/office/drawing/2014/main" id="{811C7246-8A71-F257-DB0D-3E1F23CE6970}"/>
              </a:ext>
            </a:extLst>
          </p:cNvPr>
          <p:cNvSpPr>
            <a:spLocks noGrp="1" noRot="1" noMove="1" noResize="1" noEditPoints="1" noAdjustHandles="1" noChangeArrowheads="1" noChangeShapeType="1"/>
          </p:cNvSpPr>
          <p:nvPr>
            <p:ph type="body" idx="1"/>
          </p:nvPr>
        </p:nvSpPr>
        <p:spPr>
          <a:xfrm>
            <a:off x="292100" y="3945964"/>
            <a:ext cx="7121979" cy="1500187"/>
          </a:xfrm>
        </p:spPr>
        <p:txBody>
          <a:bodyPr>
            <a:noAutofit/>
          </a:bodyPr>
          <a:lstStyle>
            <a:lvl1pPr marL="0" indent="0">
              <a:buNone/>
              <a:defRPr sz="2000">
                <a:solidFill>
                  <a:srgbClr val="FFFFFF"/>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1219200"/>
            <a:ext cx="7121979" cy="2401887"/>
          </a:xfrm>
        </p:spPr>
        <p:txBody>
          <a:bodyPr anchor="b">
            <a:noAutofit/>
          </a:bodyPr>
          <a:lstStyle>
            <a:lvl1pPr>
              <a:defRPr sz="4400">
                <a:solidFill>
                  <a:srgbClr val="FFFFFF"/>
                </a:solidFill>
              </a:defRPr>
            </a:lvl1pPr>
          </a:lstStyle>
          <a:p>
            <a:r>
              <a:rPr lang="en-US"/>
              <a:t>Insert your section header title here maximum of three lines</a:t>
            </a:r>
            <a:endParaRPr lang="en-GB"/>
          </a:p>
        </p:txBody>
      </p:sp>
      <p:pic>
        <p:nvPicPr>
          <p:cNvPr id="9" name="NIQ GFK Lockup" hidden="1">
            <a:extLst>
              <a:ext uri="{FF2B5EF4-FFF2-40B4-BE49-F238E27FC236}">
                <a16:creationId xmlns:a16="http://schemas.microsoft.com/office/drawing/2014/main" id="{F72C93F2-029A-F706-FCA1-C00C6620AA84}"/>
              </a:ext>
            </a:extLst>
          </p:cNvPr>
          <p:cNvPicPr>
            <a:picLocks noGrp="1" noRo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24" name="NielsenIQ logo+wordmark" descr="A blue text on a black background&#10;&#10;Description automatically generated" hidden="1">
            <a:extLst>
              <a:ext uri="{FF2B5EF4-FFF2-40B4-BE49-F238E27FC236}">
                <a16:creationId xmlns:a16="http://schemas.microsoft.com/office/drawing/2014/main" id="{30EA2721-2669-7CC1-263F-E48ACB34B739}"/>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tretch>
            <a:fillRect/>
          </a:stretch>
        </p:blipFill>
        <p:spPr>
          <a:xfrm>
            <a:off x="290130" y="6495154"/>
            <a:ext cx="781433" cy="269593"/>
          </a:xfrm>
          <a:prstGeom prst="rect">
            <a:avLst/>
          </a:prstGeom>
        </p:spPr>
      </p:pic>
      <p:pic>
        <p:nvPicPr>
          <p:cNvPr id="22" name="NIQ Logo">
            <a:extLst>
              <a:ext uri="{FF2B5EF4-FFF2-40B4-BE49-F238E27FC236}">
                <a16:creationId xmlns:a16="http://schemas.microsoft.com/office/drawing/2014/main" id="{C2F586F8-1BDB-2AFF-F8FE-C01DC3808778}"/>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101521211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95666150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21_cobranded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Q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
        <p:nvSpPr>
          <p:cNvPr id="5" name="Picture Placeholder 7">
            <a:extLst>
              <a:ext uri="{FF2B5EF4-FFF2-40B4-BE49-F238E27FC236}">
                <a16:creationId xmlns:a16="http://schemas.microsoft.com/office/drawing/2014/main" id="{6D756667-F2D3-52FC-1B79-5EA11BFFDEA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152813872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66698746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_cover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p:spPr>
        <p:txBody>
          <a:bodyPr anchor="b">
            <a:noAutofit/>
          </a:bodyPr>
          <a:lstStyle>
            <a:lvl1pPr algn="l">
              <a:defRPr sz="5400">
                <a:solidFill>
                  <a:schemeClr val="tx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solidFill>
              </a:rPr>
              <a:t>© 2023 Nielsen Consumer LLC. All Rights Reserved.</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userDrawn="1"/>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5A8605A2-A6E9-EC94-9E56-90DDBAD35A0A}"/>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7" name="Text Placeholder 17">
            <a:extLst>
              <a:ext uri="{FF2B5EF4-FFF2-40B4-BE49-F238E27FC236}">
                <a16:creationId xmlns:a16="http://schemas.microsoft.com/office/drawing/2014/main" id="{3685AD82-6787-48AF-A22F-3B00153B3641}"/>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8" name="Text Placeholder 17">
            <a:extLst>
              <a:ext uri="{FF2B5EF4-FFF2-40B4-BE49-F238E27FC236}">
                <a16:creationId xmlns:a16="http://schemas.microsoft.com/office/drawing/2014/main" id="{F5944916-51FE-3EDB-647A-59CBDF40CBE3}"/>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3250958673"/>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_Section Header with Dark Sidebar">
    <p:bg>
      <p:bgRef idx="1001">
        <a:schemeClr val="bg1"/>
      </p:bgRef>
    </p:bg>
    <p:spTree>
      <p:nvGrpSpPr>
        <p:cNvPr id="1" name=""/>
        <p:cNvGrpSpPr/>
        <p:nvPr/>
      </p:nvGrpSpPr>
      <p:grpSpPr>
        <a:xfrm>
          <a:off x="0" y="0"/>
          <a:ext cx="0" cy="0"/>
          <a:chOff x="0" y="0"/>
          <a:chExt cx="0" cy="0"/>
        </a:xfrm>
      </p:grpSpPr>
      <p:sp>
        <p:nvSpPr>
          <p:cNvPr id="11" name="Block Bkgd">
            <a:extLst>
              <a:ext uri="{FF2B5EF4-FFF2-40B4-BE49-F238E27FC236}">
                <a16:creationId xmlns:a16="http://schemas.microsoft.com/office/drawing/2014/main" id="{61051253-1566-C6AD-277E-C41693FE3B9F}"/>
              </a:ext>
            </a:extLst>
          </p:cNvPr>
          <p:cNvSpPr>
            <a:spLocks noGrp="1" noRot="1" noMove="1" noResize="1" noEditPoints="1" noAdjustHandles="1" noChangeArrowheads="1" noChangeShapeType="1"/>
          </p:cNvSpPr>
          <p:nvPr userDrawn="1"/>
        </p:nvSpPr>
        <p:spPr>
          <a:xfrm>
            <a:off x="0" y="0"/>
            <a:ext cx="4002916"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GB" err="1"/>
          </a:p>
        </p:txBody>
      </p:sp>
      <p:cxnSp>
        <p:nvCxnSpPr>
          <p:cNvPr id="16" name="Base Rule">
            <a:extLst>
              <a:ext uri="{FF2B5EF4-FFF2-40B4-BE49-F238E27FC236}">
                <a16:creationId xmlns:a16="http://schemas.microsoft.com/office/drawing/2014/main" id="{A76E5B64-AFD0-1002-8187-608F612A25A9}"/>
              </a:ext>
            </a:extLst>
          </p:cNvPr>
          <p:cNvCxnSpPr>
            <a:cxnSpLocks noGrp="1" noRot="1" noMove="1" noResize="1" noEditPoints="1" noAdjustHandles="1" noChangeArrowheads="1" noChangeShapeType="1"/>
          </p:cNvCxnSpPr>
          <p:nvPr userDrawn="1"/>
        </p:nvCxnSpPr>
        <p:spPr>
          <a:xfrm>
            <a:off x="4237038" y="6395755"/>
            <a:ext cx="7662863" cy="0"/>
          </a:xfrm>
          <a:prstGeom prst="line">
            <a:avLst/>
          </a:prstGeom>
          <a:ln w="12700">
            <a:solidFill>
              <a:srgbClr val="555555"/>
            </a:solidFill>
          </a:ln>
        </p:spPr>
        <p:style>
          <a:lnRef idx="1">
            <a:schemeClr val="accent1"/>
          </a:lnRef>
          <a:fillRef idx="0">
            <a:schemeClr val="accent1"/>
          </a:fillRef>
          <a:effectRef idx="0">
            <a:schemeClr val="accent1"/>
          </a:effectRef>
          <a:fontRef idx="minor">
            <a:schemeClr val="tx1"/>
          </a:fontRef>
        </p:style>
      </p:cxnSp>
      <p:sp>
        <p:nvSpPr>
          <p:cNvPr id="26" name="Footer Placeholder">
            <a:extLst>
              <a:ext uri="{FF2B5EF4-FFF2-40B4-BE49-F238E27FC236}">
                <a16:creationId xmlns:a16="http://schemas.microsoft.com/office/drawing/2014/main" id="{E183FCE9-1380-C908-3210-D1CC81C316CD}"/>
              </a:ext>
            </a:extLst>
          </p:cNvPr>
          <p:cNvSpPr>
            <a:spLocks noGrp="1" noRot="1" noMove="1" noResize="1" noEditPoints="1" noAdjustHandles="1" noChangeArrowheads="1" noChangeShapeType="1"/>
          </p:cNvSpPr>
          <p:nvPr>
            <p:ph type="ftr" sz="quarter" idx="11"/>
          </p:nvPr>
        </p:nvSpPr>
        <p:spPr>
          <a:xfrm>
            <a:off x="4237038" y="6485399"/>
            <a:ext cx="3056524" cy="282957"/>
          </a:xfrm>
        </p:spPr>
        <p:txBody>
          <a:bodyPr/>
          <a:lstStyle/>
          <a:p>
            <a:endParaRPr lang="en-GB"/>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1219200"/>
            <a:ext cx="3409043" cy="2401887"/>
          </a:xfrm>
        </p:spPr>
        <p:txBody>
          <a:bodyPr anchor="b">
            <a:noAutofit/>
          </a:bodyPr>
          <a:lstStyle>
            <a:lvl1pPr>
              <a:defRPr sz="4400">
                <a:solidFill>
                  <a:schemeClr val="bg1"/>
                </a:solidFill>
              </a:defRPr>
            </a:lvl1pPr>
          </a:lstStyle>
          <a:p>
            <a:r>
              <a:rPr lang="en-US"/>
              <a:t>Section header</a:t>
            </a:r>
            <a:endParaRPr lang="en-GB"/>
          </a:p>
        </p:txBody>
      </p:sp>
      <p:pic>
        <p:nvPicPr>
          <p:cNvPr id="8" name="NIQ GFK Lockup" hidden="1">
            <a:extLst>
              <a:ext uri="{FF2B5EF4-FFF2-40B4-BE49-F238E27FC236}">
                <a16:creationId xmlns:a16="http://schemas.microsoft.com/office/drawing/2014/main" id="{23E903F1-B6FB-BED6-3501-293C1130DA4F}"/>
              </a:ext>
            </a:extLst>
          </p:cNvPr>
          <p:cNvPicPr>
            <a:picLocks noGrp="1" noRo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5" name="NielsenIQ logo+wordmark" descr="A blue text on a black background&#10;&#10;Description automatically generated" hidden="1">
            <a:extLst>
              <a:ext uri="{FF2B5EF4-FFF2-40B4-BE49-F238E27FC236}">
                <a16:creationId xmlns:a16="http://schemas.microsoft.com/office/drawing/2014/main" id="{E5214B10-6ABB-0EB3-4E33-9E9E477DD15A}"/>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tretch>
            <a:fillRect/>
          </a:stretch>
        </p:blipFill>
        <p:spPr>
          <a:xfrm>
            <a:off x="290130" y="6495154"/>
            <a:ext cx="781433" cy="269593"/>
          </a:xfrm>
          <a:prstGeom prst="rect">
            <a:avLst/>
          </a:prstGeom>
        </p:spPr>
      </p:pic>
      <p:pic>
        <p:nvPicPr>
          <p:cNvPr id="6" name="NIQ Logo">
            <a:extLst>
              <a:ext uri="{FF2B5EF4-FFF2-40B4-BE49-F238E27FC236}">
                <a16:creationId xmlns:a16="http://schemas.microsoft.com/office/drawing/2014/main" id="{A9B1FD76-BF8D-8EEE-6EC7-E0AC284E58CD}"/>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
        <p:nvSpPr>
          <p:cNvPr id="9" name="Slide Number Placeholder 5">
            <a:extLst>
              <a:ext uri="{FF2B5EF4-FFF2-40B4-BE49-F238E27FC236}">
                <a16:creationId xmlns:a16="http://schemas.microsoft.com/office/drawing/2014/main" id="{E1DBFC51-87EF-31DD-C029-0F71E6135F49}"/>
              </a:ext>
            </a:extLst>
          </p:cNvPr>
          <p:cNvSpPr txBox="1">
            <a:spLocks/>
          </p:cNvSpPr>
          <p:nvPr userDrawn="1"/>
        </p:nvSpPr>
        <p:spPr>
          <a:xfrm>
            <a:off x="10985325" y="6444314"/>
            <a:ext cx="90187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03EF4E2-7A7A-0548-85F1-5479B7C9E1B2}" type="slidenum">
              <a:rPr lang="en-US" sz="1200" smtClean="0">
                <a:solidFill>
                  <a:schemeClr val="tx1">
                    <a:lumMod val="50000"/>
                    <a:lumOff val="50000"/>
                  </a:schemeClr>
                </a:solidFill>
              </a:rPr>
              <a:pPr algn="r"/>
              <a:t>‹#›</a:t>
            </a:fld>
            <a:endParaRPr lang="en-US" sz="1200">
              <a:solidFill>
                <a:schemeClr val="tx1">
                  <a:lumMod val="50000"/>
                  <a:lumOff val="50000"/>
                </a:schemeClr>
              </a:solidFill>
            </a:endParaRPr>
          </a:p>
        </p:txBody>
      </p:sp>
      <p:sp>
        <p:nvSpPr>
          <p:cNvPr id="12" name="Copyright Line">
            <a:extLst>
              <a:ext uri="{FF2B5EF4-FFF2-40B4-BE49-F238E27FC236}">
                <a16:creationId xmlns:a16="http://schemas.microsoft.com/office/drawing/2014/main" id="{E3E53B1F-0A56-161A-EF11-A1FA88FF736A}"/>
              </a:ext>
            </a:extLst>
          </p:cNvPr>
          <p:cNvSpPr txBox="1"/>
          <p:nvPr userDrawn="1"/>
        </p:nvSpPr>
        <p:spPr>
          <a:xfrm>
            <a:off x="9167809" y="6526850"/>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a:t>
            </a:r>
            <a:fld id="{92E70860-886D-4303-B2B5-BD1295E1FD39}" type="datetimeyyyy">
              <a:rPr lang="en-US" sz="700" smtClean="0">
                <a:solidFill>
                  <a:schemeClr val="tx1">
                    <a:lumMod val="40000"/>
                    <a:lumOff val="60000"/>
                  </a:schemeClr>
                </a:solidFill>
              </a:rPr>
              <a:t>2024</a:t>
            </a:fld>
            <a:r>
              <a:rPr lang="en-US" sz="700">
                <a:solidFill>
                  <a:schemeClr val="tx1">
                    <a:lumMod val="40000"/>
                    <a:lumOff val="60000"/>
                  </a:schemeClr>
                </a:solidFill>
              </a:rPr>
              <a:t> Nielsen Consumer LLC. All Rights Reserved.</a:t>
            </a:r>
          </a:p>
        </p:txBody>
      </p:sp>
      <p:sp>
        <p:nvSpPr>
          <p:cNvPr id="15" name="Confidential disclaimer">
            <a:extLst>
              <a:ext uri="{FF2B5EF4-FFF2-40B4-BE49-F238E27FC236}">
                <a16:creationId xmlns:a16="http://schemas.microsoft.com/office/drawing/2014/main" id="{36C510C4-0769-1350-A7DD-40373FD1B378}"/>
              </a:ext>
            </a:extLst>
          </p:cNvPr>
          <p:cNvSpPr txBox="1"/>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Tree>
    <p:extLst>
      <p:ext uri="{BB962C8B-B14F-4D97-AF65-F5344CB8AC3E}">
        <p14:creationId xmlns:p14="http://schemas.microsoft.com/office/powerpoint/2010/main" val="2073917881"/>
      </p:ext>
    </p:extLst>
  </p:cSld>
  <p:clrMapOvr>
    <a:overrideClrMapping bg1="lt1" tx1="dk1" bg2="lt2" tx2="dk2" accent1="accent1" accent2="accent2" accent3="accent3" accent4="accent4" accent5="accent5" accent6="accent6" hlink="hlink" folHlink="folHlink"/>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7" name="NIQ Logo">
            <a:extLst>
              <a:ext uri="{FF2B5EF4-FFF2-40B4-BE49-F238E27FC236}">
                <a16:creationId xmlns:a16="http://schemas.microsoft.com/office/drawing/2014/main" id="{F0DA55F9-F31C-3BDA-19CC-126411408E05}"/>
              </a:ext>
            </a:extLst>
          </p:cNvPr>
          <p:cNvPicPr>
            <a:picLocks/>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124563167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7E793A-4DA1-5244-7154-3CC1D40612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F03CEE-D9FE-7CCC-6700-1C2188F7507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6E21EB-CF53-3CAE-6C2E-6B4B6BCA26CE}"/>
              </a:ext>
            </a:extLst>
          </p:cNvPr>
          <p:cNvSpPr>
            <a:spLocks noGrp="1"/>
          </p:cNvSpPr>
          <p:nvPr>
            <p:ph type="dt" sz="half" idx="10"/>
          </p:nvPr>
        </p:nvSpPr>
        <p:spPr/>
        <p:txBody>
          <a:bodyPr/>
          <a:lstStyle/>
          <a:p>
            <a:fld id="{422EE7FC-6ADF-4898-B70E-0DCFA4BBF3C3}" type="datetimeFigureOut">
              <a:rPr lang="en-US" smtClean="0"/>
              <a:t>11/18/2024</a:t>
            </a:fld>
            <a:endParaRPr lang="en-US"/>
          </a:p>
        </p:txBody>
      </p:sp>
      <p:sp>
        <p:nvSpPr>
          <p:cNvPr id="5" name="Footer Placeholder 4">
            <a:extLst>
              <a:ext uri="{FF2B5EF4-FFF2-40B4-BE49-F238E27FC236}">
                <a16:creationId xmlns:a16="http://schemas.microsoft.com/office/drawing/2014/main" id="{6111A6CD-A9CE-2D1D-6CAF-B01EC31BFB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DA19C1-22DF-0535-EB0D-A81A3337DEE6}"/>
              </a:ext>
            </a:extLst>
          </p:cNvPr>
          <p:cNvSpPr>
            <a:spLocks noGrp="1"/>
          </p:cNvSpPr>
          <p:nvPr>
            <p:ph type="sldNum" sz="quarter" idx="12"/>
          </p:nvPr>
        </p:nvSpPr>
        <p:spPr/>
        <p:txBody>
          <a:bodyPr/>
          <a:lstStyle/>
          <a:p>
            <a:fld id="{F3B5B696-B773-4CB3-AF7B-C4EC27D9A332}" type="slidenum">
              <a:rPr lang="en-US" smtClean="0"/>
              <a:t>‹#›</a:t>
            </a:fld>
            <a:endParaRPr lang="en-US"/>
          </a:p>
        </p:txBody>
      </p:sp>
    </p:spTree>
    <p:extLst>
      <p:ext uri="{BB962C8B-B14F-4D97-AF65-F5344CB8AC3E}">
        <p14:creationId xmlns:p14="http://schemas.microsoft.com/office/powerpoint/2010/main" val="354166064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2209B3-A193-79B8-7ADE-DB0E0DE507BA}"/>
              </a:ext>
            </a:extLst>
          </p:cNvPr>
          <p:cNvSpPr>
            <a:spLocks noGrp="1"/>
          </p:cNvSpPr>
          <p:nvPr>
            <p:ph type="dt" sz="half" idx="10"/>
          </p:nvPr>
        </p:nvSpPr>
        <p:spPr/>
        <p:txBody>
          <a:bodyPr/>
          <a:lstStyle/>
          <a:p>
            <a:fld id="{FFE7C8C6-D061-4597-92FD-6C2D4042AD09}" type="datetimeFigureOut">
              <a:rPr lang="en-US" smtClean="0"/>
              <a:t>11/18/2024</a:t>
            </a:fld>
            <a:endParaRPr lang="en-US"/>
          </a:p>
        </p:txBody>
      </p:sp>
      <p:sp>
        <p:nvSpPr>
          <p:cNvPr id="3" name="Footer Placeholder 2">
            <a:extLst>
              <a:ext uri="{FF2B5EF4-FFF2-40B4-BE49-F238E27FC236}">
                <a16:creationId xmlns:a16="http://schemas.microsoft.com/office/drawing/2014/main" id="{5CBE07BE-F14F-36E3-A1FD-DDE80935C39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AA29C79-28F9-81FB-4284-2DD7D63893AF}"/>
              </a:ext>
            </a:extLst>
          </p:cNvPr>
          <p:cNvSpPr>
            <a:spLocks noGrp="1"/>
          </p:cNvSpPr>
          <p:nvPr>
            <p:ph type="sldNum" sz="quarter" idx="12"/>
          </p:nvPr>
        </p:nvSpPr>
        <p:spPr/>
        <p:txBody>
          <a:bodyPr/>
          <a:lstStyle/>
          <a:p>
            <a:fld id="{04DAF7FC-5148-4B02-8568-1D120FBDF8A3}" type="slidenum">
              <a:rPr lang="en-US" smtClean="0"/>
              <a:t>‹#›</a:t>
            </a:fld>
            <a:endParaRPr lang="en-US"/>
          </a:p>
        </p:txBody>
      </p:sp>
    </p:spTree>
    <p:extLst>
      <p:ext uri="{BB962C8B-B14F-4D97-AF65-F5344CB8AC3E}">
        <p14:creationId xmlns:p14="http://schemas.microsoft.com/office/powerpoint/2010/main" val="311705269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9" y="579495"/>
            <a:ext cx="11582400" cy="436543"/>
          </a:xfrm>
        </p:spPr>
        <p:txBody>
          <a:bodyPr/>
          <a:lstStyle>
            <a:lvl1pPr marL="0" indent="0">
              <a:spcBef>
                <a:spcPts val="0"/>
              </a:spcBef>
              <a:spcAft>
                <a:spcPts val="0"/>
              </a:spcAft>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9" y="5985328"/>
            <a:ext cx="11582399"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9"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6253415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5"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9" y="5985328"/>
            <a:ext cx="11582399"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9" y="579495"/>
            <a:ext cx="11582400" cy="436543"/>
          </a:xfrm>
        </p:spPr>
        <p:txBody>
          <a:bodyPr/>
          <a:lstStyle>
            <a:lvl1pPr marL="0" indent="0">
              <a:spcBef>
                <a:spcPts val="0"/>
              </a:spcBef>
              <a:spcAft>
                <a:spcPts val="0"/>
              </a:spcAft>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9"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05645306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3"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7"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9" y="1351231"/>
            <a:ext cx="3684352" cy="436543"/>
          </a:xfrm>
        </p:spPr>
        <p:txBody>
          <a:bodyPr anchor="b" anchorCtr="0"/>
          <a:lstStyle>
            <a:lvl1pPr marL="0" indent="0">
              <a:spcBef>
                <a:spcPts val="0"/>
              </a:spcBef>
              <a:buNone/>
              <a:defRPr sz="1600" b="1">
                <a:solidFill>
                  <a:schemeClr val="bg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3" y="1351231"/>
            <a:ext cx="3684352" cy="436543"/>
          </a:xfrm>
        </p:spPr>
        <p:txBody>
          <a:bodyPr anchor="b" anchorCtr="0"/>
          <a:lstStyle>
            <a:lvl1pPr marL="0" indent="0">
              <a:spcBef>
                <a:spcPts val="0"/>
              </a:spcBef>
              <a:buNone/>
              <a:defRPr sz="1600" b="1">
                <a:solidFill>
                  <a:schemeClr val="bg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3"/>
          </a:xfrm>
        </p:spPr>
        <p:txBody>
          <a:bodyPr anchor="b" anchorCtr="0"/>
          <a:lstStyle>
            <a:lvl1pPr marL="0" indent="0">
              <a:spcBef>
                <a:spcPts val="0"/>
              </a:spcBef>
              <a:buNone/>
              <a:defRPr sz="1600" b="1">
                <a:solidFill>
                  <a:schemeClr val="bg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9" y="5985328"/>
            <a:ext cx="11582399"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9" y="579495"/>
            <a:ext cx="11582400" cy="436543"/>
          </a:xfrm>
        </p:spPr>
        <p:txBody>
          <a:bodyPr/>
          <a:lstStyle>
            <a:lvl1pPr marL="0" indent="0">
              <a:spcBef>
                <a:spcPts val="0"/>
              </a:spcBef>
              <a:spcAft>
                <a:spcPts val="0"/>
              </a:spcAft>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9"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72930111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6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60" y="1351231"/>
            <a:ext cx="2706889" cy="436543"/>
          </a:xfrm>
        </p:spPr>
        <p:txBody>
          <a:bodyPr anchor="b" anchorCtr="0"/>
          <a:lstStyle>
            <a:lvl1pPr marL="0" indent="0">
              <a:buNone/>
              <a:defRPr sz="1600" b="1">
                <a:solidFill>
                  <a:schemeClr val="bg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7"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7" y="1351231"/>
            <a:ext cx="2706889" cy="436543"/>
          </a:xfrm>
        </p:spPr>
        <p:txBody>
          <a:bodyPr anchor="b" anchorCtr="0"/>
          <a:lstStyle>
            <a:lvl1pPr marL="0" indent="0">
              <a:buNone/>
              <a:defRPr sz="1600" b="1">
                <a:solidFill>
                  <a:schemeClr val="bg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4"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3" y="1351231"/>
            <a:ext cx="2706889" cy="436543"/>
          </a:xfrm>
        </p:spPr>
        <p:txBody>
          <a:bodyPr anchor="b" anchorCtr="0"/>
          <a:lstStyle>
            <a:lvl1pPr marL="0" indent="0">
              <a:buNone/>
              <a:defRPr sz="1600" b="1">
                <a:solidFill>
                  <a:schemeClr val="bg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2" y="1351231"/>
            <a:ext cx="2706889" cy="436543"/>
          </a:xfrm>
        </p:spPr>
        <p:txBody>
          <a:bodyPr anchor="b" anchorCtr="0"/>
          <a:lstStyle>
            <a:lvl1pPr marL="0" indent="0">
              <a:buNone/>
              <a:defRPr sz="1600" b="1">
                <a:solidFill>
                  <a:schemeClr val="bg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9" y="5985328"/>
            <a:ext cx="11582399"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9" y="579495"/>
            <a:ext cx="11582400" cy="436543"/>
          </a:xfrm>
        </p:spPr>
        <p:txBody>
          <a:bodyPr/>
          <a:lstStyle>
            <a:lvl1pPr marL="0" indent="0">
              <a:spcBef>
                <a:spcPts val="0"/>
              </a:spcBef>
              <a:spcAft>
                <a:spcPts val="0"/>
              </a:spcAft>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9"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426133542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3"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7"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9"/>
            <a:ext cx="3684352" cy="2041112"/>
          </a:xfrm>
        </p:spPr>
        <p:txBody>
          <a:bodyPr/>
          <a:lstStyle>
            <a:lvl1pPr marL="0" indent="0" algn="ctr">
              <a:buNone/>
              <a:defRPr/>
            </a:lvl1pPr>
          </a:lstStyle>
          <a:p>
            <a:r>
              <a:rPr lang="en-US"/>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3" y="1418539"/>
            <a:ext cx="3684352" cy="2041112"/>
          </a:xfrm>
        </p:spPr>
        <p:txBody>
          <a:bodyPr/>
          <a:lstStyle>
            <a:lvl1pPr marL="0" indent="0" algn="ctr">
              <a:buNone/>
              <a:defRPr/>
            </a:lvl1pPr>
          </a:lstStyle>
          <a:p>
            <a:r>
              <a:rPr lang="en-US"/>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9"/>
            <a:ext cx="3684352" cy="2041112"/>
          </a:xfrm>
        </p:spPr>
        <p:txBody>
          <a:bodyPr/>
          <a:lstStyle>
            <a:lvl1pPr marL="0" indent="0" algn="ctr">
              <a:buNone/>
              <a:defRPr/>
            </a:lvl1pPr>
          </a:lstStyle>
          <a:p>
            <a:r>
              <a:rPr lang="en-US"/>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9" y="5985328"/>
            <a:ext cx="11582399"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9" y="579495"/>
            <a:ext cx="11582400" cy="436543"/>
          </a:xfrm>
        </p:spPr>
        <p:txBody>
          <a:bodyPr/>
          <a:lstStyle>
            <a:lvl1pPr marL="0" indent="0">
              <a:spcBef>
                <a:spcPts val="0"/>
              </a:spcBef>
              <a:spcAft>
                <a:spcPts val="0"/>
              </a:spcAft>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9"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9" y="3539910"/>
            <a:ext cx="3684352" cy="436543"/>
          </a:xfrm>
        </p:spPr>
        <p:txBody>
          <a:bodyPr anchor="ctr" anchorCtr="0"/>
          <a:lstStyle>
            <a:lvl1pPr marL="0" indent="0">
              <a:spcBef>
                <a:spcPts val="0"/>
              </a:spcBef>
              <a:buNone/>
              <a:defRPr sz="1600" b="1">
                <a:solidFill>
                  <a:schemeClr val="bg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3" y="3539910"/>
            <a:ext cx="3684352" cy="436543"/>
          </a:xfrm>
        </p:spPr>
        <p:txBody>
          <a:bodyPr anchor="ctr" anchorCtr="0"/>
          <a:lstStyle>
            <a:lvl1pPr marL="0" indent="0">
              <a:spcBef>
                <a:spcPts val="0"/>
              </a:spcBef>
              <a:buNone/>
              <a:defRPr sz="1600" b="1">
                <a:solidFill>
                  <a:schemeClr val="bg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10"/>
            <a:ext cx="3684352" cy="436543"/>
          </a:xfrm>
        </p:spPr>
        <p:txBody>
          <a:bodyPr anchor="ctr" anchorCtr="0"/>
          <a:lstStyle>
            <a:lvl1pPr marL="0" indent="0">
              <a:spcBef>
                <a:spcPts val="0"/>
              </a:spcBef>
              <a:buNone/>
              <a:defRPr sz="1600" b="1">
                <a:solidFill>
                  <a:schemeClr val="bg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column header</a:t>
            </a:r>
          </a:p>
        </p:txBody>
      </p:sp>
    </p:spTree>
    <p:extLst>
      <p:ext uri="{BB962C8B-B14F-4D97-AF65-F5344CB8AC3E}">
        <p14:creationId xmlns:p14="http://schemas.microsoft.com/office/powerpoint/2010/main" val="392379524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6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61" y="3816469"/>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7" y="3816469"/>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7289" y="3816469"/>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3" y="3816469"/>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88559" y="1809348"/>
            <a:ext cx="2706888" cy="1499603"/>
          </a:xfrm>
        </p:spPr>
        <p:txBody>
          <a:bodyPr/>
          <a:lstStyle>
            <a:lvl1pPr marL="0" indent="0" algn="ctr">
              <a:buNone/>
              <a:defRPr/>
            </a:lvl1pPr>
          </a:lstStyle>
          <a:p>
            <a:r>
              <a:rPr lang="en-US"/>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3252476" y="1809348"/>
            <a:ext cx="2706888" cy="1499603"/>
          </a:xfrm>
        </p:spPr>
        <p:txBody>
          <a:bodyPr/>
          <a:lstStyle>
            <a:lvl1pPr marL="0" indent="0" algn="ctr">
              <a:buNone/>
              <a:defRPr/>
            </a:lvl1pPr>
          </a:lstStyle>
          <a:p>
            <a:r>
              <a:rPr lang="en-US"/>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6217288" y="1809348"/>
            <a:ext cx="2706888" cy="1499603"/>
          </a:xfrm>
        </p:spPr>
        <p:txBody>
          <a:bodyPr/>
          <a:lstStyle>
            <a:lvl1pPr marL="0" indent="0" algn="ctr">
              <a:buNone/>
              <a:defRPr/>
            </a:lvl1pPr>
          </a:lstStyle>
          <a:p>
            <a:r>
              <a:rPr lang="en-US"/>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9180311" y="1809348"/>
            <a:ext cx="2706888" cy="1499603"/>
          </a:xfrm>
        </p:spPr>
        <p:txBody>
          <a:bodyPr/>
          <a:lstStyle>
            <a:lvl1pPr marL="0" indent="0" algn="ctr">
              <a:buNone/>
              <a:defRPr/>
            </a:lvl1pPr>
          </a:lstStyle>
          <a:p>
            <a:r>
              <a:rPr lang="en-US"/>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88559" y="5985328"/>
            <a:ext cx="11582399"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88559" y="579495"/>
            <a:ext cx="11582400" cy="436543"/>
          </a:xfrm>
        </p:spPr>
        <p:txBody>
          <a:bodyPr/>
          <a:lstStyle>
            <a:lvl1pPr marL="0" indent="0">
              <a:spcBef>
                <a:spcPts val="0"/>
              </a:spcBef>
              <a:spcAft>
                <a:spcPts val="0"/>
              </a:spcAft>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88559"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88560" y="3363489"/>
            <a:ext cx="2706889" cy="436543"/>
          </a:xfrm>
        </p:spPr>
        <p:txBody>
          <a:bodyPr anchor="ctr" anchorCtr="0"/>
          <a:lstStyle>
            <a:lvl1pPr marL="0" indent="0">
              <a:buNone/>
              <a:defRPr sz="1600" b="1">
                <a:solidFill>
                  <a:schemeClr val="bg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3252477" y="3363489"/>
            <a:ext cx="2706889" cy="436543"/>
          </a:xfrm>
        </p:spPr>
        <p:txBody>
          <a:bodyPr anchor="ctr" anchorCtr="0"/>
          <a:lstStyle>
            <a:lvl1pPr marL="0" indent="0">
              <a:buNone/>
              <a:defRPr sz="1600" b="1">
                <a:solidFill>
                  <a:schemeClr val="bg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6216393" y="3363489"/>
            <a:ext cx="2706889" cy="436543"/>
          </a:xfrm>
        </p:spPr>
        <p:txBody>
          <a:bodyPr anchor="ctr" anchorCtr="0"/>
          <a:lstStyle>
            <a:lvl1pPr marL="0" indent="0">
              <a:buNone/>
              <a:defRPr sz="1600" b="1">
                <a:solidFill>
                  <a:schemeClr val="bg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9180312" y="3363489"/>
            <a:ext cx="2706889" cy="436543"/>
          </a:xfrm>
        </p:spPr>
        <p:txBody>
          <a:bodyPr anchor="ctr" anchorCtr="0"/>
          <a:lstStyle>
            <a:lvl1pPr marL="0" indent="0">
              <a:buNone/>
              <a:defRPr sz="1600" b="1">
                <a:solidFill>
                  <a:schemeClr val="bg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column header</a:t>
            </a:r>
          </a:p>
        </p:txBody>
      </p:sp>
    </p:spTree>
    <p:extLst>
      <p:ext uri="{BB962C8B-B14F-4D97-AF65-F5344CB8AC3E}">
        <p14:creationId xmlns:p14="http://schemas.microsoft.com/office/powerpoint/2010/main" val="107226990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3" y="1671357"/>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6"/>
            <a:ext cx="3503952" cy="2390972"/>
          </a:xfr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60" y="3515513"/>
            <a:ext cx="3503953" cy="436211"/>
          </a:xfrm>
        </p:spPr>
        <p:txBody>
          <a:bodyPr>
            <a:noAutofit/>
          </a:bodyPr>
          <a:lstStyle>
            <a:lvl1pPr marL="0" indent="0" algn="l">
              <a:spcBef>
                <a:spcPts val="0"/>
              </a:spcBef>
              <a:spcAft>
                <a:spcPts val="0"/>
              </a:spcAft>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3" y="5985328"/>
            <a:ext cx="7595265"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userDrawn="1"/>
        </p:nvCxnSpPr>
        <p:spPr>
          <a:xfrm>
            <a:off x="4259855" y="6395755"/>
            <a:ext cx="76339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userDrawn="1"/>
        </p:nvSpPr>
        <p:spPr>
          <a:xfrm>
            <a:off x="8835026" y="6517928"/>
            <a:ext cx="2601239"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6665136-4238-880B-5A7D-A9F3A03FB374}"/>
              </a:ext>
            </a:extLst>
          </p:cNvPr>
          <p:cNvPicPr>
            <a:picLocks noChangeAspect="1"/>
          </p:cNvPicPr>
          <p:nvPr userDrawn="1"/>
        </p:nvPicPr>
        <p:blipFill>
          <a:blip r:embed="rId2"/>
          <a:srcRect/>
          <a:stretch/>
        </p:blipFill>
        <p:spPr>
          <a:xfrm>
            <a:off x="288558" y="6505614"/>
            <a:ext cx="1372075" cy="249129"/>
          </a:xfrm>
          <a:prstGeom prst="rect">
            <a:avLst/>
          </a:prstGeom>
        </p:spPr>
      </p:pic>
    </p:spTree>
    <p:extLst>
      <p:ext uri="{BB962C8B-B14F-4D97-AF65-F5344CB8AC3E}">
        <p14:creationId xmlns:p14="http://schemas.microsoft.com/office/powerpoint/2010/main" val="1429298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9" name="Slide Number Placeholder">
            <a:extLst>
              <a:ext uri="{FF2B5EF4-FFF2-40B4-BE49-F238E27FC236}">
                <a16:creationId xmlns:a16="http://schemas.microsoft.com/office/drawing/2014/main" id="{48587361-5CC7-9C7F-BD1C-0A8CE32B90E3}"/>
              </a:ext>
            </a:extLst>
          </p:cNvPr>
          <p:cNvSpPr>
            <a:spLocks noGrp="1" noRot="1" noMove="1" noResize="1" noEditPoints="1" noAdjustHandles="1" noChangeArrowheads="1" noChangeShapeType="1"/>
          </p:cNvSpPr>
          <p:nvPr>
            <p:ph type="sldNum" sz="quarter" idx="12"/>
          </p:nvPr>
        </p:nvSpPr>
        <p:spPr/>
        <p:txBody>
          <a:bodyPr/>
          <a:lstStyle/>
          <a:p>
            <a:fld id="{3E04DF46-C0DC-4ADC-9A6F-918CC4703A43}" type="slidenum">
              <a:rPr lang="en-GB" smtClean="0"/>
              <a:t>‹#›</a:t>
            </a:fld>
            <a:endParaRPr lang="en-GB"/>
          </a:p>
        </p:txBody>
      </p:sp>
      <p:sp>
        <p:nvSpPr>
          <p:cNvPr id="8" name="Footer Placeholder">
            <a:extLst>
              <a:ext uri="{FF2B5EF4-FFF2-40B4-BE49-F238E27FC236}">
                <a16:creationId xmlns:a16="http://schemas.microsoft.com/office/drawing/2014/main" id="{889C55DD-275C-EFE2-8883-9CF82493650B}"/>
              </a:ext>
            </a:extLst>
          </p:cNvPr>
          <p:cNvSpPr>
            <a:spLocks noGrp="1" noRot="1" noMove="1" noResize="1" noEditPoints="1" noAdjustHandles="1" noChangeArrowheads="1" noChangeShapeType="1"/>
          </p:cNvSpPr>
          <p:nvPr>
            <p:ph type="ftr" sz="quarter" idx="11"/>
          </p:nvPr>
        </p:nvSpPr>
        <p:spPr/>
        <p:txBody>
          <a:bodyPr/>
          <a:lstStyle/>
          <a:p>
            <a:endParaRPr lang="en-GB"/>
          </a:p>
        </p:txBody>
      </p:sp>
      <p:sp>
        <p:nvSpPr>
          <p:cNvPr id="7" name="Date Placeholder">
            <a:extLst>
              <a:ext uri="{FF2B5EF4-FFF2-40B4-BE49-F238E27FC236}">
                <a16:creationId xmlns:a16="http://schemas.microsoft.com/office/drawing/2014/main" id="{66F49418-AA9F-5CA7-31F1-168499F3D808}"/>
              </a:ext>
            </a:extLst>
          </p:cNvPr>
          <p:cNvSpPr>
            <a:spLocks noGrp="1" noRot="1" noMove="1" noResize="1" noEditPoints="1" noAdjustHandles="1" noChangeArrowheads="1" noChangeShapeType="1"/>
          </p:cNvSpPr>
          <p:nvPr>
            <p:ph type="dt" sz="half" idx="10"/>
          </p:nvPr>
        </p:nvSpPr>
        <p:spPr/>
        <p:txBody>
          <a:bodyPr/>
          <a:lstStyle/>
          <a:p>
            <a:fld id="{A95ACABD-257F-48AB-94D3-B913B9097175}" type="datetime1">
              <a:rPr lang="en-GB" smtClean="0"/>
              <a:t>18/11/2024</a:t>
            </a:fld>
            <a:endParaRPr lang="en-GB"/>
          </a:p>
        </p:txBody>
      </p:sp>
      <p:sp>
        <p:nvSpPr>
          <p:cNvPr id="12" name="Source Placeholder">
            <a:extLst>
              <a:ext uri="{FF2B5EF4-FFF2-40B4-BE49-F238E27FC236}">
                <a16:creationId xmlns:a16="http://schemas.microsoft.com/office/drawing/2014/main" id="{E0FBE8A5-CBE4-7896-370D-0C351238E6E5}"/>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6" name="Content 2 Placeholder">
            <a:extLst>
              <a:ext uri="{FF2B5EF4-FFF2-40B4-BE49-F238E27FC236}">
                <a16:creationId xmlns:a16="http://schemas.microsoft.com/office/drawing/2014/main" id="{F2EB2B90-CA72-0453-8C46-7140538197AB}"/>
              </a:ext>
            </a:extLst>
          </p:cNvPr>
          <p:cNvSpPr>
            <a:spLocks noGrp="1" noRot="1" noMove="1" noResize="1" noEditPoints="1" noAdjustHandles="1" noChangeArrowheads="1" noChangeShapeType="1"/>
          </p:cNvSpPr>
          <p:nvPr>
            <p:ph sz="quarter" idx="4" hasCustomPrompt="1"/>
          </p:nvPr>
        </p:nvSpPr>
        <p:spPr>
          <a:xfrm>
            <a:off x="6210300" y="2019300"/>
            <a:ext cx="5673720" cy="3657600"/>
          </a:xfrm>
        </p:spPr>
        <p:txBody>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5" name="Header 2 Placeholder">
            <a:extLst>
              <a:ext uri="{FF2B5EF4-FFF2-40B4-BE49-F238E27FC236}">
                <a16:creationId xmlns:a16="http://schemas.microsoft.com/office/drawing/2014/main" id="{ADF8391B-E110-2D12-ED6A-D8681E868756}"/>
              </a:ext>
            </a:extLst>
          </p:cNvPr>
          <p:cNvSpPr>
            <a:spLocks noGrp="1" noRot="1" noMove="1" noResize="1" noEditPoints="1" noAdjustHandles="1" noChangeArrowheads="1" noChangeShapeType="1"/>
          </p:cNvSpPr>
          <p:nvPr>
            <p:ph type="body" sz="quarter" idx="3" hasCustomPrompt="1"/>
          </p:nvPr>
        </p:nvSpPr>
        <p:spPr>
          <a:xfrm>
            <a:off x="6210300" y="1308100"/>
            <a:ext cx="5689598"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4" name="Content 1 Placeholder">
            <a:extLst>
              <a:ext uri="{FF2B5EF4-FFF2-40B4-BE49-F238E27FC236}">
                <a16:creationId xmlns:a16="http://schemas.microsoft.com/office/drawing/2014/main" id="{984C70C1-C2F6-EFE6-3AEB-EEEE97D8D829}"/>
              </a:ext>
            </a:extLst>
          </p:cNvPr>
          <p:cNvSpPr>
            <a:spLocks noGrp="1" noRot="1" noMove="1" noResize="1" noEditPoints="1" noAdjustHandles="1" noChangeArrowheads="1" noChangeShapeType="1"/>
          </p:cNvSpPr>
          <p:nvPr>
            <p:ph sz="half" idx="2" hasCustomPrompt="1"/>
          </p:nvPr>
        </p:nvSpPr>
        <p:spPr>
          <a:xfrm>
            <a:off x="292101" y="2019300"/>
            <a:ext cx="5673721" cy="3657600"/>
          </a:xfrm>
        </p:spPr>
        <p:txBody>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3" name="Header 1 Placeholder">
            <a:extLst>
              <a:ext uri="{FF2B5EF4-FFF2-40B4-BE49-F238E27FC236}">
                <a16:creationId xmlns:a16="http://schemas.microsoft.com/office/drawing/2014/main" id="{E16F9965-5453-60FF-D1EB-3A608CF7F7BF}"/>
              </a:ext>
            </a:extLst>
          </p:cNvPr>
          <p:cNvSpPr>
            <a:spLocks noGrp="1" noRot="1" noMove="1" noResize="1" noEditPoints="1" noAdjustHandles="1" noChangeArrowheads="1" noChangeShapeType="1"/>
          </p:cNvSpPr>
          <p:nvPr>
            <p:ph type="body" idx="1" hasCustomPrompt="1"/>
          </p:nvPr>
        </p:nvSpPr>
        <p:spPr>
          <a:xfrm>
            <a:off x="292101" y="1308100"/>
            <a:ext cx="5689598"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14" name="Subtitle Placeholder">
            <a:extLst>
              <a:ext uri="{FF2B5EF4-FFF2-40B4-BE49-F238E27FC236}">
                <a16:creationId xmlns:a16="http://schemas.microsoft.com/office/drawing/2014/main" id="{3C3EBBEC-21F2-1AF3-1FA2-6C8052756C77}"/>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13" name="Title Placeholder">
            <a:extLst>
              <a:ext uri="{FF2B5EF4-FFF2-40B4-BE49-F238E27FC236}">
                <a16:creationId xmlns:a16="http://schemas.microsoft.com/office/drawing/2014/main" id="{31A8EC3A-084E-1F49-0F96-E9263F03E1FF}"/>
              </a:ext>
            </a:extLst>
          </p:cNvPr>
          <p:cNvSpPr>
            <a:spLocks noGrp="1" noRot="1" noMove="1" noResize="1" noEditPoints="1" noAdjustHandles="1" noChangeArrowheads="1" noChangeShapeType="1"/>
          </p:cNvSpPr>
          <p:nvPr>
            <p:ph type="title" hasCustomPrompt="1"/>
          </p:nvPr>
        </p:nvSpPr>
        <p:spPr/>
        <p:txBody>
          <a:bodyPr/>
          <a:lstStyle/>
          <a:p>
            <a:r>
              <a:rPr lang="en-US"/>
              <a:t>Insert your slide title in Arial Bold 20pt</a:t>
            </a:r>
            <a:endParaRPr lang="en-GB"/>
          </a:p>
        </p:txBody>
      </p:sp>
    </p:spTree>
    <p:extLst>
      <p:ext uri="{BB962C8B-B14F-4D97-AF65-F5344CB8AC3E}">
        <p14:creationId xmlns:p14="http://schemas.microsoft.com/office/powerpoint/2010/main" val="1087307477"/>
      </p:ext>
    </p:extLst>
  </p:cSld>
  <p:clrMapOvr>
    <a:masterClrMapping/>
  </p:clrMapOvr>
  <p:extLst>
    <p:ext uri="{DCECCB84-F9BA-43D5-87BE-67443E8EF086}">
      <p15:sldGuideLst xmlns:p15="http://schemas.microsoft.com/office/powerpoint/2012/main">
        <p15:guide id="4" pos="3768">
          <p15:clr>
            <a:srgbClr val="A4A3A4"/>
          </p15:clr>
        </p15:guide>
        <p15:guide id="5" pos="3912">
          <p15:clr>
            <a:srgbClr val="A4A3A4"/>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3" y="1671357"/>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userDrawn="1"/>
        </p:nvCxnSpPr>
        <p:spPr>
          <a:xfrm>
            <a:off x="4259855" y="6395755"/>
            <a:ext cx="76339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6"/>
            <a:ext cx="3503952" cy="2390972"/>
          </a:xfr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60" y="3515513"/>
            <a:ext cx="3503953" cy="436211"/>
          </a:xfrm>
        </p:spPr>
        <p:txBody>
          <a:bodyPr>
            <a:noAutofit/>
          </a:bodyPr>
          <a:lstStyle>
            <a:lvl1pPr marL="0" indent="0" algn="l">
              <a:spcBef>
                <a:spcPts val="0"/>
              </a:spcBef>
              <a:spcAft>
                <a:spcPts val="0"/>
              </a:spcAft>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3" y="5985328"/>
            <a:ext cx="7595265"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6" y="6517928"/>
            <a:ext cx="2601239"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3B76909A-BEB7-A209-CEFD-CDD6CF239A24}"/>
              </a:ext>
            </a:extLst>
          </p:cNvPr>
          <p:cNvPicPr>
            <a:picLocks noChangeAspect="1"/>
          </p:cNvPicPr>
          <p:nvPr userDrawn="1"/>
        </p:nvPicPr>
        <p:blipFill>
          <a:blip r:embed="rId2"/>
          <a:srcRect/>
          <a:stretch/>
        </p:blipFill>
        <p:spPr>
          <a:xfrm>
            <a:off x="288562" y="6505614"/>
            <a:ext cx="1372068" cy="249129"/>
          </a:xfrm>
          <a:prstGeom prst="rect">
            <a:avLst/>
          </a:prstGeom>
        </p:spPr>
      </p:pic>
    </p:spTree>
    <p:extLst>
      <p:ext uri="{BB962C8B-B14F-4D97-AF65-F5344CB8AC3E}">
        <p14:creationId xmlns:p14="http://schemas.microsoft.com/office/powerpoint/2010/main" val="37863711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9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5"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3" y="1671357"/>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6"/>
            <a:ext cx="3503952" cy="2390972"/>
          </a:xfr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60" y="3515513"/>
            <a:ext cx="3503953" cy="436211"/>
          </a:xfrm>
        </p:spPr>
        <p:txBody>
          <a:bodyPr>
            <a:noAutofit/>
          </a:bodyPr>
          <a:lstStyle>
            <a:lvl1pPr marL="0" indent="0" algn="l">
              <a:spcBef>
                <a:spcPts val="0"/>
              </a:spcBef>
              <a:spcAft>
                <a:spcPts val="0"/>
              </a:spcAft>
              <a:buNone/>
              <a:defRPr sz="20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3" y="5985328"/>
            <a:ext cx="7595265"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userDrawn="1"/>
        </p:nvCxnSpPr>
        <p:spPr>
          <a:xfrm>
            <a:off x="4259855" y="6395755"/>
            <a:ext cx="76339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userDrawn="1"/>
        </p:nvSpPr>
        <p:spPr>
          <a:xfrm>
            <a:off x="8835026" y="6517928"/>
            <a:ext cx="2601239"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78D4B9D7-EADF-7A7C-0BE4-DC93482DAD28}"/>
              </a:ext>
            </a:extLst>
          </p:cNvPr>
          <p:cNvPicPr>
            <a:picLocks noChangeAspect="1"/>
          </p:cNvPicPr>
          <p:nvPr userDrawn="1"/>
        </p:nvPicPr>
        <p:blipFill>
          <a:blip r:embed="rId2"/>
          <a:srcRect/>
          <a:stretch/>
        </p:blipFill>
        <p:spPr>
          <a:xfrm>
            <a:off x="288558" y="6505614"/>
            <a:ext cx="1372075" cy="249129"/>
          </a:xfrm>
          <a:prstGeom prst="rect">
            <a:avLst/>
          </a:prstGeom>
        </p:spPr>
      </p:pic>
    </p:spTree>
    <p:extLst>
      <p:ext uri="{BB962C8B-B14F-4D97-AF65-F5344CB8AC3E}">
        <p14:creationId xmlns:p14="http://schemas.microsoft.com/office/powerpoint/2010/main" val="406262992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5"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3" y="1671357"/>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6"/>
            <a:ext cx="3503952" cy="2390972"/>
          </a:xfr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60" y="3515513"/>
            <a:ext cx="3503953" cy="436211"/>
          </a:xfrm>
        </p:spPr>
        <p:txBody>
          <a:bodyPr>
            <a:noAutofit/>
          </a:bodyPr>
          <a:lstStyle>
            <a:lvl1pPr marL="0" indent="0" algn="l">
              <a:spcBef>
                <a:spcPts val="0"/>
              </a:spcBef>
              <a:spcAft>
                <a:spcPts val="0"/>
              </a:spcAft>
              <a:buNone/>
              <a:defRPr sz="20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3" y="5985328"/>
            <a:ext cx="7595265"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userDrawn="1"/>
        </p:nvCxnSpPr>
        <p:spPr>
          <a:xfrm>
            <a:off x="4259855" y="6395755"/>
            <a:ext cx="76339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userDrawn="1"/>
        </p:nvSpPr>
        <p:spPr>
          <a:xfrm>
            <a:off x="8835026" y="6517928"/>
            <a:ext cx="2601239"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A4115DB4-3E80-BBD8-A7C5-47794D52F077}"/>
              </a:ext>
            </a:extLst>
          </p:cNvPr>
          <p:cNvPicPr>
            <a:picLocks noChangeAspect="1"/>
          </p:cNvPicPr>
          <p:nvPr userDrawn="1"/>
        </p:nvPicPr>
        <p:blipFill>
          <a:blip r:embed="rId2"/>
          <a:srcRect/>
          <a:stretch/>
        </p:blipFill>
        <p:spPr>
          <a:xfrm>
            <a:off x="288558" y="6505614"/>
            <a:ext cx="1372075" cy="249129"/>
          </a:xfrm>
          <a:prstGeom prst="rect">
            <a:avLst/>
          </a:prstGeom>
        </p:spPr>
      </p:pic>
    </p:spTree>
    <p:extLst>
      <p:ext uri="{BB962C8B-B14F-4D97-AF65-F5344CB8AC3E}">
        <p14:creationId xmlns:p14="http://schemas.microsoft.com/office/powerpoint/2010/main" val="363944654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1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5"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3" y="1671357"/>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6"/>
            <a:ext cx="3503952" cy="2390972"/>
          </a:xfr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60" y="3515513"/>
            <a:ext cx="3503953" cy="436211"/>
          </a:xfrm>
        </p:spPr>
        <p:txBody>
          <a:bodyPr>
            <a:noAutofit/>
          </a:bodyPr>
          <a:lstStyle>
            <a:lvl1pPr marL="0" indent="0" algn="l">
              <a:spcBef>
                <a:spcPts val="0"/>
              </a:spcBef>
              <a:spcAft>
                <a:spcPts val="0"/>
              </a:spcAft>
              <a:buNone/>
              <a:defRPr sz="20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4290933" y="5985328"/>
            <a:ext cx="7595265"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userDrawn="1"/>
        </p:nvCxnSpPr>
        <p:spPr>
          <a:xfrm>
            <a:off x="4259855" y="6395755"/>
            <a:ext cx="76339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userDrawn="1"/>
        </p:nvSpPr>
        <p:spPr>
          <a:xfrm>
            <a:off x="8835026" y="6517928"/>
            <a:ext cx="2601239"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84849FD1-7521-664F-C992-1F75AA8B954A}"/>
              </a:ext>
            </a:extLst>
          </p:cNvPr>
          <p:cNvPicPr>
            <a:picLocks noChangeAspect="1"/>
          </p:cNvPicPr>
          <p:nvPr userDrawn="1"/>
        </p:nvPicPr>
        <p:blipFill>
          <a:blip r:embed="rId2"/>
          <a:srcRect/>
          <a:stretch/>
        </p:blipFill>
        <p:spPr>
          <a:xfrm>
            <a:off x="288558" y="6505614"/>
            <a:ext cx="1372075" cy="249129"/>
          </a:xfrm>
          <a:prstGeom prst="rect">
            <a:avLst/>
          </a:prstGeom>
        </p:spPr>
      </p:pic>
    </p:spTree>
    <p:extLst>
      <p:ext uri="{BB962C8B-B14F-4D97-AF65-F5344CB8AC3E}">
        <p14:creationId xmlns:p14="http://schemas.microsoft.com/office/powerpoint/2010/main" val="148313995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2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5"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3" y="1671357"/>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6"/>
            <a:ext cx="3503952" cy="2390972"/>
          </a:xfr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60" y="3515513"/>
            <a:ext cx="3503953" cy="436211"/>
          </a:xfrm>
        </p:spPr>
        <p:txBody>
          <a:bodyPr>
            <a:noAutofit/>
          </a:bodyPr>
          <a:lstStyle>
            <a:lvl1pPr marL="0" indent="0" algn="l">
              <a:spcBef>
                <a:spcPts val="0"/>
              </a:spcBef>
              <a:spcAft>
                <a:spcPts val="0"/>
              </a:spcAft>
              <a:buNone/>
              <a:defRPr sz="20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4290933" y="5985328"/>
            <a:ext cx="7595265"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userDrawn="1"/>
        </p:nvCxnSpPr>
        <p:spPr>
          <a:xfrm>
            <a:off x="4259855" y="6395755"/>
            <a:ext cx="76339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userDrawn="1"/>
        </p:nvSpPr>
        <p:spPr>
          <a:xfrm>
            <a:off x="8835026" y="6517928"/>
            <a:ext cx="2601239"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278E48DF-72FD-ACEE-7C0F-DB09F683E507}"/>
              </a:ext>
            </a:extLst>
          </p:cNvPr>
          <p:cNvPicPr>
            <a:picLocks noChangeAspect="1"/>
          </p:cNvPicPr>
          <p:nvPr userDrawn="1"/>
        </p:nvPicPr>
        <p:blipFill>
          <a:blip r:embed="rId2"/>
          <a:srcRect/>
          <a:stretch/>
        </p:blipFill>
        <p:spPr>
          <a:xfrm>
            <a:off x="288558" y="6505614"/>
            <a:ext cx="1372075" cy="249129"/>
          </a:xfrm>
          <a:prstGeom prst="rect">
            <a:avLst/>
          </a:prstGeom>
        </p:spPr>
      </p:pic>
    </p:spTree>
    <p:extLst>
      <p:ext uri="{BB962C8B-B14F-4D97-AF65-F5344CB8AC3E}">
        <p14:creationId xmlns:p14="http://schemas.microsoft.com/office/powerpoint/2010/main" val="418373405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3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2"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7"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9" y="1564554"/>
            <a:ext cx="3912433" cy="2427287"/>
          </a:xfrm>
        </p:spPr>
        <p:txBody>
          <a:bodyPr anchor="ctr" anchorCtr="0"/>
          <a:lstStyle>
            <a:lvl1pPr marL="0" indent="0" algn="ctr">
              <a:buNone/>
              <a:defRPr sz="3200" b="1">
                <a:solidFill>
                  <a:schemeClr val="bg2"/>
                </a:solidFill>
              </a:defRPr>
            </a:lvl1pPr>
            <a:lvl2pPr marL="457189" indent="0">
              <a:buNone/>
              <a:defRPr sz="3600"/>
            </a:lvl2pPr>
            <a:lvl3pPr marL="914377" indent="0">
              <a:buNone/>
              <a:defRPr sz="3600"/>
            </a:lvl3pPr>
            <a:lvl4pPr marL="1371566" indent="0">
              <a:buNone/>
              <a:defRPr sz="3600"/>
            </a:lvl4pPr>
            <a:lvl5pPr marL="1828754"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9" y="5985328"/>
            <a:ext cx="11582399"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7" y="579495"/>
            <a:ext cx="5527627" cy="436543"/>
          </a:xfrm>
        </p:spPr>
        <p:txBody>
          <a:bodyPr/>
          <a:lstStyle>
            <a:lvl1pPr marL="0" indent="0">
              <a:spcBef>
                <a:spcPts val="0"/>
              </a:spcBef>
              <a:spcAft>
                <a:spcPts val="0"/>
              </a:spcAft>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7" y="178971"/>
            <a:ext cx="5527627"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333767815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4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2"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7"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9" y="1564554"/>
            <a:ext cx="3912433" cy="2427287"/>
          </a:xfrm>
        </p:spPr>
        <p:txBody>
          <a:bodyPr anchor="ctr" anchorCtr="0"/>
          <a:lstStyle>
            <a:lvl1pPr marL="0" indent="0" algn="ctr">
              <a:buNone/>
              <a:defRPr sz="3200" b="1">
                <a:solidFill>
                  <a:schemeClr val="bg2"/>
                </a:solidFill>
              </a:defRPr>
            </a:lvl1pPr>
            <a:lvl2pPr marL="457189" indent="0">
              <a:buNone/>
              <a:defRPr sz="3600"/>
            </a:lvl2pPr>
            <a:lvl3pPr marL="914377" indent="0">
              <a:buNone/>
              <a:defRPr sz="3600"/>
            </a:lvl3pPr>
            <a:lvl4pPr marL="1371566" indent="0">
              <a:buNone/>
              <a:defRPr sz="3600"/>
            </a:lvl4pPr>
            <a:lvl5pPr marL="1828754"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88559" y="5985328"/>
            <a:ext cx="11582399"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88557" y="579495"/>
            <a:ext cx="5527627" cy="436543"/>
          </a:xfrm>
        </p:spPr>
        <p:txBody>
          <a:bodyPr/>
          <a:lstStyle>
            <a:lvl1pPr marL="0" indent="0">
              <a:spcBef>
                <a:spcPts val="0"/>
              </a:spcBef>
              <a:spcAft>
                <a:spcPts val="0"/>
              </a:spcAft>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88557" y="178971"/>
            <a:ext cx="5527627"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44050231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5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2"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7"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9" y="1564554"/>
            <a:ext cx="3912433" cy="2427287"/>
          </a:xfrm>
        </p:spPr>
        <p:txBody>
          <a:bodyPr anchor="ctr" anchorCtr="0"/>
          <a:lstStyle>
            <a:lvl1pPr marL="0" indent="0" algn="ctr">
              <a:buNone/>
              <a:defRPr sz="3200" b="1">
                <a:solidFill>
                  <a:schemeClr val="bg2"/>
                </a:solidFill>
              </a:defRPr>
            </a:lvl1pPr>
            <a:lvl2pPr marL="457189" indent="0">
              <a:buNone/>
              <a:defRPr sz="3600"/>
            </a:lvl2pPr>
            <a:lvl3pPr marL="914377" indent="0">
              <a:buNone/>
              <a:defRPr sz="3600"/>
            </a:lvl3pPr>
            <a:lvl4pPr marL="1371566" indent="0">
              <a:buNone/>
              <a:defRPr sz="3600"/>
            </a:lvl4pPr>
            <a:lvl5pPr marL="1828754"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88559" y="5985328"/>
            <a:ext cx="11582399"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88557" y="579495"/>
            <a:ext cx="5527627" cy="436543"/>
          </a:xfrm>
        </p:spPr>
        <p:txBody>
          <a:bodyPr/>
          <a:lstStyle>
            <a:lvl1pPr marL="0" indent="0">
              <a:spcBef>
                <a:spcPts val="0"/>
              </a:spcBef>
              <a:spcAft>
                <a:spcPts val="0"/>
              </a:spcAft>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88557" y="178971"/>
            <a:ext cx="5527627"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52785136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6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2"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7"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9" y="1564554"/>
            <a:ext cx="3912433" cy="2427287"/>
          </a:xfrm>
        </p:spPr>
        <p:txBody>
          <a:bodyPr anchor="ctr" anchorCtr="0"/>
          <a:lstStyle>
            <a:lvl1pPr marL="0" indent="0" algn="ctr">
              <a:buNone/>
              <a:defRPr sz="3200" b="1">
                <a:solidFill>
                  <a:schemeClr val="bg2"/>
                </a:solidFill>
              </a:defRPr>
            </a:lvl1pPr>
            <a:lvl2pPr marL="457189" indent="0">
              <a:buNone/>
              <a:defRPr sz="3600"/>
            </a:lvl2pPr>
            <a:lvl3pPr marL="914377" indent="0">
              <a:buNone/>
              <a:defRPr sz="3600"/>
            </a:lvl3pPr>
            <a:lvl4pPr marL="1371566" indent="0">
              <a:buNone/>
              <a:defRPr sz="3600"/>
            </a:lvl4pPr>
            <a:lvl5pPr marL="1828754"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88559" y="5985328"/>
            <a:ext cx="11582399"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88557" y="579495"/>
            <a:ext cx="5527627" cy="436543"/>
          </a:xfrm>
        </p:spPr>
        <p:txBody>
          <a:bodyPr/>
          <a:lstStyle>
            <a:lvl1pPr marL="0" indent="0">
              <a:spcBef>
                <a:spcPts val="0"/>
              </a:spcBef>
              <a:spcAft>
                <a:spcPts val="0"/>
              </a:spcAft>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88557" y="178971"/>
            <a:ext cx="5527627"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74154032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7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2"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7"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9" y="1564554"/>
            <a:ext cx="3912433" cy="2427287"/>
          </a:xfrm>
        </p:spPr>
        <p:txBody>
          <a:bodyPr anchor="ctr" anchorCtr="0"/>
          <a:lstStyle>
            <a:lvl1pPr marL="0" indent="0" algn="ctr">
              <a:buNone/>
              <a:defRPr sz="3200" b="1">
                <a:solidFill>
                  <a:schemeClr val="bg1"/>
                </a:solidFill>
              </a:defRPr>
            </a:lvl1pPr>
            <a:lvl2pPr marL="457189" indent="0">
              <a:buNone/>
              <a:defRPr sz="3600"/>
            </a:lvl2pPr>
            <a:lvl3pPr marL="914377" indent="0">
              <a:buNone/>
              <a:defRPr sz="3600"/>
            </a:lvl3pPr>
            <a:lvl4pPr marL="1371566" indent="0">
              <a:buNone/>
              <a:defRPr sz="3600"/>
            </a:lvl4pPr>
            <a:lvl5pPr marL="1828754" indent="0">
              <a:buNone/>
              <a:defRPr sz="3600"/>
            </a:lvl5pPr>
          </a:lstStyle>
          <a:p>
            <a:pPr lvl="0"/>
            <a:r>
              <a:rPr lang="en-US"/>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88559" y="5985328"/>
            <a:ext cx="11582399"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88557" y="579495"/>
            <a:ext cx="5527627" cy="436543"/>
          </a:xfrm>
        </p:spPr>
        <p:txBody>
          <a:bodyPr/>
          <a:lstStyle>
            <a:lvl1pPr marL="0" indent="0">
              <a:spcBef>
                <a:spcPts val="0"/>
              </a:spcBef>
              <a:spcAft>
                <a:spcPts val="0"/>
              </a:spcAft>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88557" y="178971"/>
            <a:ext cx="5527627"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2438798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Slide Number Placeholder">
            <a:extLst>
              <a:ext uri="{FF2B5EF4-FFF2-40B4-BE49-F238E27FC236}">
                <a16:creationId xmlns:a16="http://schemas.microsoft.com/office/drawing/2014/main" id="{E94EA2D6-F376-E5FB-864F-2472964B1215}"/>
              </a:ext>
            </a:extLst>
          </p:cNvPr>
          <p:cNvSpPr>
            <a:spLocks noGrp="1" noRot="1" noMove="1" noResize="1" noEditPoints="1" noAdjustHandles="1" noChangeArrowheads="1" noChangeShapeType="1"/>
          </p:cNvSpPr>
          <p:nvPr>
            <p:ph type="sldNum" sz="quarter" idx="12"/>
          </p:nvPr>
        </p:nvSpPr>
        <p:spPr/>
        <p:txBody>
          <a:bodyPr/>
          <a:lstStyle/>
          <a:p>
            <a:fld id="{3E04DF46-C0DC-4ADC-9A6F-918CC4703A43}" type="slidenum">
              <a:rPr lang="en-GB" smtClean="0"/>
              <a:t>‹#›</a:t>
            </a:fld>
            <a:endParaRPr lang="en-GB"/>
          </a:p>
        </p:txBody>
      </p:sp>
      <p:sp>
        <p:nvSpPr>
          <p:cNvPr id="6" name="Footer Placeholder">
            <a:extLst>
              <a:ext uri="{FF2B5EF4-FFF2-40B4-BE49-F238E27FC236}">
                <a16:creationId xmlns:a16="http://schemas.microsoft.com/office/drawing/2014/main" id="{4898322A-6CDF-75C0-CCAE-9F91633E2F52}"/>
              </a:ext>
            </a:extLst>
          </p:cNvPr>
          <p:cNvSpPr>
            <a:spLocks noGrp="1" noRot="1" noMove="1" noResize="1" noEditPoints="1" noAdjustHandles="1" noChangeArrowheads="1" noChangeShapeType="1"/>
          </p:cNvSpPr>
          <p:nvPr>
            <p:ph type="ftr" sz="quarter" idx="11"/>
          </p:nvPr>
        </p:nvSpPr>
        <p:spPr/>
        <p:txBody>
          <a:bodyPr/>
          <a:lstStyle/>
          <a:p>
            <a:endParaRPr lang="en-GB"/>
          </a:p>
        </p:txBody>
      </p:sp>
      <p:sp>
        <p:nvSpPr>
          <p:cNvPr id="5" name="Date Placeholder">
            <a:extLst>
              <a:ext uri="{FF2B5EF4-FFF2-40B4-BE49-F238E27FC236}">
                <a16:creationId xmlns:a16="http://schemas.microsoft.com/office/drawing/2014/main" id="{339D1539-DC5B-675F-DCC6-5BBCE25FC740}"/>
              </a:ext>
            </a:extLst>
          </p:cNvPr>
          <p:cNvSpPr>
            <a:spLocks noGrp="1" noRot="1" noMove="1" noResize="1" noEditPoints="1" noAdjustHandles="1" noChangeArrowheads="1" noChangeShapeType="1"/>
          </p:cNvSpPr>
          <p:nvPr>
            <p:ph type="dt" sz="half" idx="10"/>
          </p:nvPr>
        </p:nvSpPr>
        <p:spPr/>
        <p:txBody>
          <a:bodyPr/>
          <a:lstStyle/>
          <a:p>
            <a:fld id="{B789455A-F4F5-4ADB-BA98-24336C9EA3E7}" type="datetime1">
              <a:rPr lang="en-GB" smtClean="0"/>
              <a:t>18/11/2024</a:t>
            </a:fld>
            <a:endParaRPr lang="en-GB"/>
          </a:p>
        </p:txBody>
      </p:sp>
      <p:sp>
        <p:nvSpPr>
          <p:cNvPr id="9" name="Source Placeholder">
            <a:extLst>
              <a:ext uri="{FF2B5EF4-FFF2-40B4-BE49-F238E27FC236}">
                <a16:creationId xmlns:a16="http://schemas.microsoft.com/office/drawing/2014/main" id="{2EA71DC4-3628-4313-321C-9A95F89CAB2F}"/>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4" name="Content 2 Placeholder">
            <a:extLst>
              <a:ext uri="{FF2B5EF4-FFF2-40B4-BE49-F238E27FC236}">
                <a16:creationId xmlns:a16="http://schemas.microsoft.com/office/drawing/2014/main" id="{5D43A841-AD92-4556-21E4-9939D57FC0A6}"/>
              </a:ext>
            </a:extLst>
          </p:cNvPr>
          <p:cNvSpPr>
            <a:spLocks noGrp="1" noRot="1" noMove="1" noResize="1" noEditPoints="1" noAdjustHandles="1" noChangeArrowheads="1" noChangeShapeType="1"/>
          </p:cNvSpPr>
          <p:nvPr>
            <p:ph sz="half" idx="2" hasCustomPrompt="1"/>
          </p:nvPr>
        </p:nvSpPr>
        <p:spPr>
          <a:xfrm>
            <a:off x="6211892" y="1638301"/>
            <a:ext cx="5688008" cy="4038600"/>
          </a:xfrm>
        </p:spPr>
        <p:txBody>
          <a:bodyPr/>
          <a:lstStyle>
            <a:lvl1pPr>
              <a:defRPr/>
            </a:lvl1pPr>
          </a:lstStyle>
          <a:p>
            <a:pPr lvl="0"/>
            <a:r>
              <a:rPr lang="en-US"/>
              <a:t>Insert content here</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1 Placeholder">
            <a:extLst>
              <a:ext uri="{FF2B5EF4-FFF2-40B4-BE49-F238E27FC236}">
                <a16:creationId xmlns:a16="http://schemas.microsoft.com/office/drawing/2014/main" id="{BBF77ABD-CA9D-F0FB-47F7-ABF58A85B72B}"/>
              </a:ext>
            </a:extLst>
          </p:cNvPr>
          <p:cNvSpPr>
            <a:spLocks noGrp="1" noRot="1" noMove="1" noResize="1" noEditPoints="1" noAdjustHandles="1" noChangeArrowheads="1" noChangeShapeType="1"/>
          </p:cNvSpPr>
          <p:nvPr>
            <p:ph sz="half" idx="1" hasCustomPrompt="1"/>
          </p:nvPr>
        </p:nvSpPr>
        <p:spPr>
          <a:xfrm>
            <a:off x="292100" y="1638301"/>
            <a:ext cx="5688010" cy="4038600"/>
          </a:xfrm>
        </p:spPr>
        <p:txBody>
          <a:bodyPr/>
          <a:lstStyle>
            <a:lvl1pPr>
              <a:defRPr/>
            </a:lvl1pPr>
          </a:lstStyle>
          <a:p>
            <a:pPr lvl="0"/>
            <a:r>
              <a:rPr lang="en-US"/>
              <a:t>Insert content here</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ubtitle Placeholder">
            <a:extLst>
              <a:ext uri="{FF2B5EF4-FFF2-40B4-BE49-F238E27FC236}">
                <a16:creationId xmlns:a16="http://schemas.microsoft.com/office/drawing/2014/main" id="{4DF2806F-470A-D63D-6287-2D96392FDBED}"/>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2" name="Title Placeholder">
            <a:extLst>
              <a:ext uri="{FF2B5EF4-FFF2-40B4-BE49-F238E27FC236}">
                <a16:creationId xmlns:a16="http://schemas.microsoft.com/office/drawing/2014/main" id="{330527F2-4E92-075E-0582-2535F1B4C690}"/>
              </a:ext>
            </a:extLst>
          </p:cNvPr>
          <p:cNvSpPr>
            <a:spLocks noGrp="1" noRot="1" noMove="1" noResize="1" noEditPoints="1" noAdjustHandles="1" noChangeArrowheads="1" noChangeShapeType="1"/>
          </p:cNvSpPr>
          <p:nvPr>
            <p:ph type="title" hasCustomPrompt="1"/>
          </p:nvPr>
        </p:nvSpPr>
        <p:spPr/>
        <p:txBody>
          <a:bodyPr/>
          <a:lstStyle/>
          <a:p>
            <a:r>
              <a:rPr lang="en-US"/>
              <a:t>Insert your slide title in Arial Bold 20pt</a:t>
            </a:r>
            <a:endParaRPr lang="en-GB"/>
          </a:p>
        </p:txBody>
      </p:sp>
    </p:spTree>
    <p:extLst>
      <p:ext uri="{BB962C8B-B14F-4D97-AF65-F5344CB8AC3E}">
        <p14:creationId xmlns:p14="http://schemas.microsoft.com/office/powerpoint/2010/main" val="739385405"/>
      </p:ext>
    </p:extLst>
  </p:cSld>
  <p:clrMapOvr>
    <a:masterClrMapping/>
  </p:clrMapOvr>
  <p:extLst>
    <p:ext uri="{DCECCB84-F9BA-43D5-87BE-67443E8EF086}">
      <p15:sldGuideLst xmlns:p15="http://schemas.microsoft.com/office/powerpoint/2012/main">
        <p15:guide id="2" pos="7680">
          <p15:clr>
            <a:srgbClr val="FBAE40"/>
          </p15:clr>
        </p15:guide>
        <p15:guide id="4" pos="3768">
          <p15:clr>
            <a:srgbClr val="A4A3A4"/>
          </p15:clr>
        </p15:guide>
        <p15:guide id="5" pos="3912">
          <p15:clr>
            <a:srgbClr val="A4A3A4"/>
          </p15:clr>
        </p15:guide>
        <p15:guide id="6" pos="7495">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8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2" y="0"/>
            <a:ext cx="5844319" cy="6266365"/>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7"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7465673" y="321957"/>
            <a:ext cx="4924345" cy="4924347"/>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88559" y="5985328"/>
            <a:ext cx="11582399"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88557" y="579495"/>
            <a:ext cx="5527627" cy="436543"/>
          </a:xfrm>
        </p:spPr>
        <p:txBody>
          <a:bodyPr/>
          <a:lstStyle>
            <a:lvl1pPr marL="0" indent="0">
              <a:spcBef>
                <a:spcPts val="0"/>
              </a:spcBef>
              <a:spcAft>
                <a:spcPts val="0"/>
              </a:spcAft>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88557" y="178971"/>
            <a:ext cx="5527627"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55952590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9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7"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5770566"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88559" y="5985328"/>
            <a:ext cx="11582399"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88557" y="579495"/>
            <a:ext cx="5527627" cy="436543"/>
          </a:xfrm>
        </p:spPr>
        <p:txBody>
          <a:bodyPr/>
          <a:lstStyle>
            <a:lvl1pPr marL="0" indent="0">
              <a:spcBef>
                <a:spcPts val="0"/>
              </a:spcBef>
              <a:spcAft>
                <a:spcPts val="0"/>
              </a:spcAft>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88557" y="178971"/>
            <a:ext cx="5527627"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429114042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20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7"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3"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userDrawn="1"/>
        </p:nvSpPr>
        <p:spPr>
          <a:xfrm>
            <a:off x="8835026" y="6517928"/>
            <a:ext cx="2601239"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a:solidFill>
                  <a:schemeClr val="tx1"/>
                </a:solidFill>
              </a:rPr>
              <a:t>© 2023 Nielsen Consumer LLC. All Rights Reserved.</a:t>
            </a:r>
          </a:p>
        </p:txBody>
      </p:sp>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88559" y="5985328"/>
            <a:ext cx="5537253"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88559" y="579495"/>
            <a:ext cx="5537253" cy="436543"/>
          </a:xfrm>
        </p:spPr>
        <p:txBody>
          <a:bodyPr/>
          <a:lstStyle>
            <a:lvl1pPr marL="0" indent="0">
              <a:spcBef>
                <a:spcPts val="0"/>
              </a:spcBef>
              <a:spcAft>
                <a:spcPts val="0"/>
              </a:spcAft>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88559" y="178971"/>
            <a:ext cx="5537253" cy="397352"/>
          </a:xfrm>
          <a:prstGeom prst="rect">
            <a:avLst/>
          </a:prstGeom>
        </p:spPr>
        <p:txBody>
          <a:bodyPr anchor="ctr"/>
          <a:lstStyle>
            <a:lvl1pPr>
              <a:defRPr sz="2000"/>
            </a:lvl1pPr>
          </a:lstStyle>
          <a:p>
            <a:r>
              <a:rPr lang="en-US"/>
              <a:t>Insert your slide title in Arial bold 20pt</a:t>
            </a:r>
          </a:p>
        </p:txBody>
      </p:sp>
      <p:pic>
        <p:nvPicPr>
          <p:cNvPr id="2" name="Picture 1">
            <a:extLst>
              <a:ext uri="{FF2B5EF4-FFF2-40B4-BE49-F238E27FC236}">
                <a16:creationId xmlns:a16="http://schemas.microsoft.com/office/drawing/2014/main" id="{58EA3DE5-4BCF-5EA8-CB4A-7A6B8468D9E0}"/>
              </a:ext>
            </a:extLst>
          </p:cNvPr>
          <p:cNvPicPr>
            <a:picLocks noChangeAspect="1"/>
          </p:cNvPicPr>
          <p:nvPr userDrawn="1"/>
        </p:nvPicPr>
        <p:blipFill>
          <a:blip r:embed="rId2"/>
          <a:srcRect/>
          <a:stretch/>
        </p:blipFill>
        <p:spPr>
          <a:xfrm>
            <a:off x="288558" y="6505614"/>
            <a:ext cx="1372075" cy="249129"/>
          </a:xfrm>
          <a:prstGeom prst="rect">
            <a:avLst/>
          </a:prstGeom>
        </p:spPr>
      </p:pic>
    </p:spTree>
    <p:extLst>
      <p:ext uri="{BB962C8B-B14F-4D97-AF65-F5344CB8AC3E}">
        <p14:creationId xmlns:p14="http://schemas.microsoft.com/office/powerpoint/2010/main" val="212135901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21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7"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3" y="1825625"/>
            <a:ext cx="5527627"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6359575" y="178971"/>
            <a:ext cx="5552611"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userDrawn="1"/>
        </p:nvCxnSpPr>
        <p:spPr>
          <a:xfrm>
            <a:off x="278933"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6359573" y="576323"/>
            <a:ext cx="5580747" cy="439715"/>
          </a:xfrm>
        </p:spPr>
        <p:txBody>
          <a:bodyPr/>
          <a:lstStyle>
            <a:lvl1pPr marL="0" indent="0">
              <a:spcBef>
                <a:spcPts val="0"/>
              </a:spcBef>
              <a:spcAft>
                <a:spcPts val="0"/>
              </a:spcAft>
              <a:buNone/>
              <a:defRPr sz="160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userDrawn="1"/>
        </p:nvSpPr>
        <p:spPr>
          <a:xfrm>
            <a:off x="8835026" y="6517928"/>
            <a:ext cx="2601239"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88559" y="5985328"/>
            <a:ext cx="5537253"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88559" y="579495"/>
            <a:ext cx="5537253" cy="436543"/>
          </a:xfrm>
        </p:spPr>
        <p:txBody>
          <a:bodyPr/>
          <a:lstStyle>
            <a:lvl1pPr marL="0" indent="0">
              <a:spcBef>
                <a:spcPts val="0"/>
              </a:spcBef>
              <a:spcAft>
                <a:spcPts val="0"/>
              </a:spcAft>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88559" y="178971"/>
            <a:ext cx="5537253" cy="397352"/>
          </a:xfrm>
          <a:prstGeom prst="rect">
            <a:avLst/>
          </a:prstGeom>
        </p:spPr>
        <p:txBody>
          <a:bodyPr anchor="ctr"/>
          <a:lstStyle>
            <a:lvl1pPr>
              <a:defRPr sz="2000"/>
            </a:lvl1pPr>
          </a:lstStyle>
          <a:p>
            <a:r>
              <a:rPr lang="en-US"/>
              <a:t>Insert your slide title in Arial bold 20pt</a:t>
            </a:r>
          </a:p>
        </p:txBody>
      </p:sp>
      <p:pic>
        <p:nvPicPr>
          <p:cNvPr id="2" name="Picture 1">
            <a:extLst>
              <a:ext uri="{FF2B5EF4-FFF2-40B4-BE49-F238E27FC236}">
                <a16:creationId xmlns:a16="http://schemas.microsoft.com/office/drawing/2014/main" id="{33F35284-521C-13C5-21E6-FBEDFB5E1411}"/>
              </a:ext>
            </a:extLst>
          </p:cNvPr>
          <p:cNvPicPr>
            <a:picLocks noChangeAspect="1"/>
          </p:cNvPicPr>
          <p:nvPr userDrawn="1"/>
        </p:nvPicPr>
        <p:blipFill>
          <a:blip r:embed="rId2"/>
          <a:srcRect/>
          <a:stretch/>
        </p:blipFill>
        <p:spPr>
          <a:xfrm>
            <a:off x="288558" y="6505614"/>
            <a:ext cx="1372075" cy="249129"/>
          </a:xfrm>
          <a:prstGeom prst="rect">
            <a:avLst/>
          </a:prstGeom>
        </p:spPr>
      </p:pic>
    </p:spTree>
    <p:extLst>
      <p:ext uri="{BB962C8B-B14F-4D97-AF65-F5344CB8AC3E}">
        <p14:creationId xmlns:p14="http://schemas.microsoft.com/office/powerpoint/2010/main" val="114779086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2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7"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3" y="1825625"/>
            <a:ext cx="5527627"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userDrawn="1"/>
        </p:nvCxnSpPr>
        <p:spPr>
          <a:xfrm>
            <a:off x="278933"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userDrawn="1"/>
        </p:nvSpPr>
        <p:spPr>
          <a:xfrm>
            <a:off x="8835026" y="6517928"/>
            <a:ext cx="2601239"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88559" y="5985328"/>
            <a:ext cx="5537253"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6359575" y="178971"/>
            <a:ext cx="5552611"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6359573" y="576323"/>
            <a:ext cx="5580747" cy="439715"/>
          </a:xfrm>
        </p:spPr>
        <p:txBody>
          <a:bodyPr/>
          <a:lstStyle>
            <a:lvl1pPr marL="0" indent="0">
              <a:spcBef>
                <a:spcPts val="0"/>
              </a:spcBef>
              <a:spcAft>
                <a:spcPts val="0"/>
              </a:spcAft>
              <a:buNone/>
              <a:defRPr sz="160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88559" y="579495"/>
            <a:ext cx="5537253" cy="436543"/>
          </a:xfrm>
        </p:spPr>
        <p:txBody>
          <a:bodyPr/>
          <a:lstStyle>
            <a:lvl1pPr marL="0" indent="0">
              <a:spcBef>
                <a:spcPts val="0"/>
              </a:spcBef>
              <a:spcAft>
                <a:spcPts val="0"/>
              </a:spcAft>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88559" y="178971"/>
            <a:ext cx="5537253" cy="397352"/>
          </a:xfrm>
          <a:prstGeom prst="rect">
            <a:avLst/>
          </a:prstGeom>
        </p:spPr>
        <p:txBody>
          <a:bodyPr anchor="ctr"/>
          <a:lstStyle>
            <a:lvl1pPr>
              <a:defRPr sz="2000"/>
            </a:lvl1pPr>
          </a:lstStyle>
          <a:p>
            <a:r>
              <a:rPr lang="en-US"/>
              <a:t>Insert your slide title in Arial bold 20pt</a:t>
            </a:r>
          </a:p>
        </p:txBody>
      </p:sp>
      <p:pic>
        <p:nvPicPr>
          <p:cNvPr id="2" name="Picture 1">
            <a:extLst>
              <a:ext uri="{FF2B5EF4-FFF2-40B4-BE49-F238E27FC236}">
                <a16:creationId xmlns:a16="http://schemas.microsoft.com/office/drawing/2014/main" id="{63A34B5B-ED3F-16E0-EBAE-0E18A3FD094F}"/>
              </a:ext>
            </a:extLst>
          </p:cNvPr>
          <p:cNvPicPr>
            <a:picLocks noChangeAspect="1"/>
          </p:cNvPicPr>
          <p:nvPr userDrawn="1"/>
        </p:nvPicPr>
        <p:blipFill>
          <a:blip r:embed="rId2"/>
          <a:srcRect/>
          <a:stretch/>
        </p:blipFill>
        <p:spPr>
          <a:xfrm>
            <a:off x="288558" y="6505614"/>
            <a:ext cx="1372075" cy="249129"/>
          </a:xfrm>
          <a:prstGeom prst="rect">
            <a:avLst/>
          </a:prstGeom>
        </p:spPr>
      </p:pic>
    </p:spTree>
    <p:extLst>
      <p:ext uri="{BB962C8B-B14F-4D97-AF65-F5344CB8AC3E}">
        <p14:creationId xmlns:p14="http://schemas.microsoft.com/office/powerpoint/2010/main" val="388943645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3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7"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3" y="1825625"/>
            <a:ext cx="5527627"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270D49C1-E8FD-4100-6077-590D74316FB9}"/>
              </a:ext>
            </a:extLst>
          </p:cNvPr>
          <p:cNvSpPr txBox="1"/>
          <p:nvPr userDrawn="1"/>
        </p:nvSpPr>
        <p:spPr>
          <a:xfrm>
            <a:off x="8835026" y="6517928"/>
            <a:ext cx="2601239"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88559" y="5985328"/>
            <a:ext cx="11582399"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6359575" y="178971"/>
            <a:ext cx="5552611"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6359573" y="576323"/>
            <a:ext cx="5580747" cy="439715"/>
          </a:xfrm>
        </p:spPr>
        <p:txBody>
          <a:bodyPr/>
          <a:lstStyle>
            <a:lvl1pPr marL="0" indent="0">
              <a:spcBef>
                <a:spcPts val="0"/>
              </a:spcBef>
              <a:spcAft>
                <a:spcPts val="0"/>
              </a:spcAft>
              <a:buNone/>
              <a:defRPr sz="160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88559" y="579495"/>
            <a:ext cx="5537253" cy="436543"/>
          </a:xfrm>
        </p:spPr>
        <p:txBody>
          <a:bodyPr/>
          <a:lstStyle>
            <a:lvl1pPr marL="0" indent="0">
              <a:spcBef>
                <a:spcPts val="0"/>
              </a:spcBef>
              <a:spcAft>
                <a:spcPts val="0"/>
              </a:spcAft>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88559" y="178971"/>
            <a:ext cx="5537253" cy="397352"/>
          </a:xfrm>
          <a:prstGeom prst="rect">
            <a:avLst/>
          </a:prstGeom>
        </p:spPr>
        <p:txBody>
          <a:bodyPr anchor="ctr"/>
          <a:lstStyle>
            <a:lvl1pPr>
              <a:defRPr sz="2000"/>
            </a:lvl1pPr>
          </a:lstStyle>
          <a:p>
            <a:r>
              <a:rPr lang="en-US"/>
              <a:t>Insert your slide title in Arial bold 20pt</a:t>
            </a:r>
          </a:p>
        </p:txBody>
      </p:sp>
      <p:pic>
        <p:nvPicPr>
          <p:cNvPr id="2" name="Picture 1">
            <a:extLst>
              <a:ext uri="{FF2B5EF4-FFF2-40B4-BE49-F238E27FC236}">
                <a16:creationId xmlns:a16="http://schemas.microsoft.com/office/drawing/2014/main" id="{F085206A-304E-26F5-226B-4A65931903B9}"/>
              </a:ext>
            </a:extLst>
          </p:cNvPr>
          <p:cNvPicPr>
            <a:picLocks noChangeAspect="1"/>
          </p:cNvPicPr>
          <p:nvPr userDrawn="1"/>
        </p:nvPicPr>
        <p:blipFill>
          <a:blip r:embed="rId2"/>
          <a:srcRect/>
          <a:stretch/>
        </p:blipFill>
        <p:spPr>
          <a:xfrm>
            <a:off x="288558" y="6505614"/>
            <a:ext cx="1372075" cy="249129"/>
          </a:xfrm>
          <a:prstGeom prst="rect">
            <a:avLst/>
          </a:prstGeom>
        </p:spPr>
      </p:pic>
    </p:spTree>
    <p:extLst>
      <p:ext uri="{BB962C8B-B14F-4D97-AF65-F5344CB8AC3E}">
        <p14:creationId xmlns:p14="http://schemas.microsoft.com/office/powerpoint/2010/main" val="82863910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4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7"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3" y="1825625"/>
            <a:ext cx="5527627"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Box 13">
            <a:extLst>
              <a:ext uri="{FF2B5EF4-FFF2-40B4-BE49-F238E27FC236}">
                <a16:creationId xmlns:a16="http://schemas.microsoft.com/office/drawing/2014/main" id="{EE2DAE71-2983-34FD-663C-6E97AE5A8A97}"/>
              </a:ext>
            </a:extLst>
          </p:cNvPr>
          <p:cNvSpPr txBox="1"/>
          <p:nvPr userDrawn="1"/>
        </p:nvSpPr>
        <p:spPr>
          <a:xfrm>
            <a:off x="8835026" y="6517928"/>
            <a:ext cx="2601239"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88559" y="5985328"/>
            <a:ext cx="11582399"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6359575" y="178971"/>
            <a:ext cx="5552611"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6359573" y="576323"/>
            <a:ext cx="5580747" cy="439715"/>
          </a:xfrm>
        </p:spPr>
        <p:txBody>
          <a:bodyPr/>
          <a:lstStyle>
            <a:lvl1pPr marL="0" indent="0">
              <a:spcBef>
                <a:spcPts val="0"/>
              </a:spcBef>
              <a:spcAft>
                <a:spcPts val="0"/>
              </a:spcAft>
              <a:buNone/>
              <a:defRPr sz="160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88559" y="579495"/>
            <a:ext cx="5537253" cy="436543"/>
          </a:xfrm>
        </p:spPr>
        <p:txBody>
          <a:bodyPr/>
          <a:lstStyle>
            <a:lvl1pPr marL="0" indent="0">
              <a:spcBef>
                <a:spcPts val="0"/>
              </a:spcBef>
              <a:spcAft>
                <a:spcPts val="0"/>
              </a:spcAft>
              <a:buNone/>
              <a:defRPr sz="160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88559" y="178971"/>
            <a:ext cx="5537253" cy="397352"/>
          </a:xfrm>
          <a:prstGeom prst="rect">
            <a:avLst/>
          </a:prstGeom>
        </p:spPr>
        <p:txBody>
          <a:bodyPr anchor="ctr"/>
          <a:lstStyle>
            <a:lvl1pPr>
              <a:defRPr sz="2000">
                <a:solidFill>
                  <a:schemeClr val="tx1"/>
                </a:solidFill>
              </a:defRPr>
            </a:lvl1pPr>
          </a:lstStyle>
          <a:p>
            <a:r>
              <a:rPr lang="en-US"/>
              <a:t>Insert your slide title in Arial bold 20pt</a:t>
            </a:r>
          </a:p>
        </p:txBody>
      </p:sp>
      <p:pic>
        <p:nvPicPr>
          <p:cNvPr id="2" name="Picture 1">
            <a:extLst>
              <a:ext uri="{FF2B5EF4-FFF2-40B4-BE49-F238E27FC236}">
                <a16:creationId xmlns:a16="http://schemas.microsoft.com/office/drawing/2014/main" id="{085E2C3E-82A6-3279-92DA-B688B46D8856}"/>
              </a:ext>
            </a:extLst>
          </p:cNvPr>
          <p:cNvPicPr>
            <a:picLocks noChangeAspect="1"/>
          </p:cNvPicPr>
          <p:nvPr userDrawn="1"/>
        </p:nvPicPr>
        <p:blipFill>
          <a:blip r:embed="rId2"/>
          <a:srcRect/>
          <a:stretch/>
        </p:blipFill>
        <p:spPr>
          <a:xfrm>
            <a:off x="288558" y="6505614"/>
            <a:ext cx="1372075" cy="249129"/>
          </a:xfrm>
          <a:prstGeom prst="rect">
            <a:avLst/>
          </a:prstGeom>
        </p:spPr>
      </p:pic>
    </p:spTree>
    <p:extLst>
      <p:ext uri="{BB962C8B-B14F-4D97-AF65-F5344CB8AC3E}">
        <p14:creationId xmlns:p14="http://schemas.microsoft.com/office/powerpoint/2010/main" val="141260829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5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7"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3" y="1825625"/>
            <a:ext cx="5527627"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011486C1-A975-5880-4C54-03DD13A9F7F3}"/>
              </a:ext>
            </a:extLst>
          </p:cNvPr>
          <p:cNvSpPr txBox="1"/>
          <p:nvPr userDrawn="1"/>
        </p:nvSpPr>
        <p:spPr>
          <a:xfrm>
            <a:off x="8835026" y="6517928"/>
            <a:ext cx="2601239"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88559" y="5985328"/>
            <a:ext cx="11582399"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6359575" y="178971"/>
            <a:ext cx="5552611"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6359573" y="576323"/>
            <a:ext cx="5580747" cy="439715"/>
          </a:xfrm>
        </p:spPr>
        <p:txBody>
          <a:bodyPr/>
          <a:lstStyle>
            <a:lvl1pPr marL="0" indent="0">
              <a:spcBef>
                <a:spcPts val="0"/>
              </a:spcBef>
              <a:spcAft>
                <a:spcPts val="0"/>
              </a:spcAft>
              <a:buNone/>
              <a:defRPr sz="160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88559" y="579495"/>
            <a:ext cx="5537253" cy="436543"/>
          </a:xfrm>
        </p:spPr>
        <p:txBody>
          <a:bodyPr/>
          <a:lstStyle>
            <a:lvl1pPr marL="0" indent="0">
              <a:spcBef>
                <a:spcPts val="0"/>
              </a:spcBef>
              <a:spcAft>
                <a:spcPts val="0"/>
              </a:spcAft>
              <a:buNone/>
              <a:defRPr sz="160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88559" y="178971"/>
            <a:ext cx="5537253" cy="397352"/>
          </a:xfrm>
          <a:prstGeom prst="rect">
            <a:avLst/>
          </a:prstGeom>
        </p:spPr>
        <p:txBody>
          <a:bodyPr anchor="ctr"/>
          <a:lstStyle>
            <a:lvl1pPr>
              <a:defRPr sz="2000">
                <a:solidFill>
                  <a:schemeClr val="tx1"/>
                </a:solidFill>
              </a:defRPr>
            </a:lvl1pPr>
          </a:lstStyle>
          <a:p>
            <a:r>
              <a:rPr lang="en-US"/>
              <a:t>Insert your slide title in Arial bold 20pt</a:t>
            </a:r>
          </a:p>
        </p:txBody>
      </p:sp>
      <p:pic>
        <p:nvPicPr>
          <p:cNvPr id="2" name="Picture 1">
            <a:extLst>
              <a:ext uri="{FF2B5EF4-FFF2-40B4-BE49-F238E27FC236}">
                <a16:creationId xmlns:a16="http://schemas.microsoft.com/office/drawing/2014/main" id="{AF6B12E2-9D52-375C-6DE3-5B4DEB8BCD26}"/>
              </a:ext>
            </a:extLst>
          </p:cNvPr>
          <p:cNvPicPr>
            <a:picLocks noChangeAspect="1"/>
          </p:cNvPicPr>
          <p:nvPr userDrawn="1"/>
        </p:nvPicPr>
        <p:blipFill>
          <a:blip r:embed="rId2"/>
          <a:srcRect/>
          <a:stretch/>
        </p:blipFill>
        <p:spPr>
          <a:xfrm>
            <a:off x="288558" y="6505614"/>
            <a:ext cx="1372075" cy="249129"/>
          </a:xfrm>
          <a:prstGeom prst="rect">
            <a:avLst/>
          </a:prstGeom>
        </p:spPr>
      </p:pic>
    </p:spTree>
    <p:extLst>
      <p:ext uri="{BB962C8B-B14F-4D97-AF65-F5344CB8AC3E}">
        <p14:creationId xmlns:p14="http://schemas.microsoft.com/office/powerpoint/2010/main" val="98970676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6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7"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3" y="1825625"/>
            <a:ext cx="5527627"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B3CE258B-CBCD-8DC5-1665-1A4555B76CDA}"/>
              </a:ext>
            </a:extLst>
          </p:cNvPr>
          <p:cNvSpPr txBox="1"/>
          <p:nvPr userDrawn="1"/>
        </p:nvSpPr>
        <p:spPr>
          <a:xfrm>
            <a:off x="8835026" y="6517928"/>
            <a:ext cx="2601239"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88559" y="5985328"/>
            <a:ext cx="11582399"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6359575" y="178971"/>
            <a:ext cx="5552611"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6359573" y="576323"/>
            <a:ext cx="5580747" cy="439715"/>
          </a:xfrm>
        </p:spPr>
        <p:txBody>
          <a:bodyPr/>
          <a:lstStyle>
            <a:lvl1pPr marL="0" indent="0">
              <a:spcBef>
                <a:spcPts val="0"/>
              </a:spcBef>
              <a:spcAft>
                <a:spcPts val="0"/>
              </a:spcAft>
              <a:buNone/>
              <a:defRPr sz="160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88559" y="579495"/>
            <a:ext cx="5537253" cy="436543"/>
          </a:xfrm>
        </p:spPr>
        <p:txBody>
          <a:bodyPr/>
          <a:lstStyle>
            <a:lvl1pPr marL="0" indent="0">
              <a:spcBef>
                <a:spcPts val="0"/>
              </a:spcBef>
              <a:spcAft>
                <a:spcPts val="0"/>
              </a:spcAft>
              <a:buNone/>
              <a:defRPr sz="160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88559" y="178971"/>
            <a:ext cx="5537253" cy="397352"/>
          </a:xfrm>
          <a:prstGeom prst="rect">
            <a:avLst/>
          </a:prstGeom>
        </p:spPr>
        <p:txBody>
          <a:bodyPr anchor="ctr"/>
          <a:lstStyle>
            <a:lvl1pPr>
              <a:defRPr sz="2000">
                <a:solidFill>
                  <a:schemeClr val="tx1"/>
                </a:solidFill>
              </a:defRPr>
            </a:lvl1pPr>
          </a:lstStyle>
          <a:p>
            <a:r>
              <a:rPr lang="en-US"/>
              <a:t>Insert your slide title in Arial bold 20pt</a:t>
            </a:r>
          </a:p>
        </p:txBody>
      </p:sp>
      <p:pic>
        <p:nvPicPr>
          <p:cNvPr id="2" name="Picture 1">
            <a:extLst>
              <a:ext uri="{FF2B5EF4-FFF2-40B4-BE49-F238E27FC236}">
                <a16:creationId xmlns:a16="http://schemas.microsoft.com/office/drawing/2014/main" id="{7BF6D8C8-F02A-FE3D-A84D-7F9941AEBFB2}"/>
              </a:ext>
            </a:extLst>
          </p:cNvPr>
          <p:cNvPicPr>
            <a:picLocks noChangeAspect="1"/>
          </p:cNvPicPr>
          <p:nvPr userDrawn="1"/>
        </p:nvPicPr>
        <p:blipFill>
          <a:blip r:embed="rId2"/>
          <a:srcRect/>
          <a:stretch/>
        </p:blipFill>
        <p:spPr>
          <a:xfrm>
            <a:off x="288558" y="6505614"/>
            <a:ext cx="1372075" cy="249129"/>
          </a:xfrm>
          <a:prstGeom prst="rect">
            <a:avLst/>
          </a:prstGeom>
        </p:spPr>
      </p:pic>
    </p:spTree>
    <p:extLst>
      <p:ext uri="{BB962C8B-B14F-4D97-AF65-F5344CB8AC3E}">
        <p14:creationId xmlns:p14="http://schemas.microsoft.com/office/powerpoint/2010/main" val="99400600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7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userDrawn="1"/>
        </p:nvGrpSpPr>
        <p:grpSpPr>
          <a:xfrm>
            <a:off x="3936001" y="1448419"/>
            <a:ext cx="8256000" cy="4327900"/>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userDrawn="1"/>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9" y="1351231"/>
            <a:ext cx="3684352" cy="436543"/>
          </a:xfrm>
        </p:spPr>
        <p:txBody>
          <a:bodyPr anchor="b" anchorCtr="0"/>
          <a:lstStyle>
            <a:lvl1pPr marL="0" indent="0">
              <a:buNone/>
              <a:defRPr sz="1600" b="1">
                <a:solidFill>
                  <a:schemeClr val="bg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5143500" y="1559545"/>
            <a:ext cx="5842000" cy="3771900"/>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88559" y="5985328"/>
            <a:ext cx="11582399"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88559" y="579495"/>
            <a:ext cx="11582400" cy="436543"/>
          </a:xfrm>
        </p:spPr>
        <p:txBody>
          <a:bodyPr/>
          <a:lstStyle>
            <a:lvl1pPr marL="0" indent="0">
              <a:spcBef>
                <a:spcPts val="0"/>
              </a:spcBef>
              <a:spcAft>
                <a:spcPts val="0"/>
              </a:spcAft>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88559"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4315893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7" name="Slide Number Placeholder">
            <a:extLst>
              <a:ext uri="{FF2B5EF4-FFF2-40B4-BE49-F238E27FC236}">
                <a16:creationId xmlns:a16="http://schemas.microsoft.com/office/drawing/2014/main" id="{E94EA2D6-F376-E5FB-864F-2472964B1215}"/>
              </a:ext>
            </a:extLst>
          </p:cNvPr>
          <p:cNvSpPr>
            <a:spLocks noGrp="1" noRot="1" noMove="1" noResize="1" noEditPoints="1" noAdjustHandles="1" noChangeArrowheads="1" noChangeShapeType="1"/>
          </p:cNvSpPr>
          <p:nvPr>
            <p:ph type="sldNum" sz="quarter" idx="12"/>
          </p:nvPr>
        </p:nvSpPr>
        <p:spPr/>
        <p:txBody>
          <a:bodyPr/>
          <a:lstStyle/>
          <a:p>
            <a:fld id="{3E04DF46-C0DC-4ADC-9A6F-918CC4703A43}" type="slidenum">
              <a:rPr lang="en-GB" smtClean="0"/>
              <a:t>‹#›</a:t>
            </a:fld>
            <a:endParaRPr lang="en-GB"/>
          </a:p>
        </p:txBody>
      </p:sp>
      <p:sp>
        <p:nvSpPr>
          <p:cNvPr id="6" name="Footer Placeholder">
            <a:extLst>
              <a:ext uri="{FF2B5EF4-FFF2-40B4-BE49-F238E27FC236}">
                <a16:creationId xmlns:a16="http://schemas.microsoft.com/office/drawing/2014/main" id="{4898322A-6CDF-75C0-CCAE-9F91633E2F52}"/>
              </a:ext>
            </a:extLst>
          </p:cNvPr>
          <p:cNvSpPr>
            <a:spLocks noGrp="1" noRot="1" noMove="1" noResize="1" noEditPoints="1" noAdjustHandles="1" noChangeArrowheads="1" noChangeShapeType="1"/>
          </p:cNvSpPr>
          <p:nvPr>
            <p:ph type="ftr" sz="quarter" idx="11"/>
          </p:nvPr>
        </p:nvSpPr>
        <p:spPr/>
        <p:txBody>
          <a:bodyPr/>
          <a:lstStyle/>
          <a:p>
            <a:endParaRPr lang="en-GB"/>
          </a:p>
        </p:txBody>
      </p:sp>
      <p:sp>
        <p:nvSpPr>
          <p:cNvPr id="5" name="Date Placeholder">
            <a:extLst>
              <a:ext uri="{FF2B5EF4-FFF2-40B4-BE49-F238E27FC236}">
                <a16:creationId xmlns:a16="http://schemas.microsoft.com/office/drawing/2014/main" id="{339D1539-DC5B-675F-DCC6-5BBCE25FC740}"/>
              </a:ext>
            </a:extLst>
          </p:cNvPr>
          <p:cNvSpPr>
            <a:spLocks noGrp="1" noRot="1" noMove="1" noResize="1" noEditPoints="1" noAdjustHandles="1" noChangeArrowheads="1" noChangeShapeType="1"/>
          </p:cNvSpPr>
          <p:nvPr>
            <p:ph type="dt" sz="half" idx="10"/>
          </p:nvPr>
        </p:nvSpPr>
        <p:spPr/>
        <p:txBody>
          <a:bodyPr/>
          <a:lstStyle/>
          <a:p>
            <a:fld id="{B789455A-F4F5-4ADB-BA98-24336C9EA3E7}" type="datetime1">
              <a:rPr lang="en-GB" smtClean="0"/>
              <a:t>18/11/2024</a:t>
            </a:fld>
            <a:endParaRPr lang="en-GB"/>
          </a:p>
        </p:txBody>
      </p:sp>
      <p:sp>
        <p:nvSpPr>
          <p:cNvPr id="9" name="Source Placeholder">
            <a:extLst>
              <a:ext uri="{FF2B5EF4-FFF2-40B4-BE49-F238E27FC236}">
                <a16:creationId xmlns:a16="http://schemas.microsoft.com/office/drawing/2014/main" id="{2EA71DC4-3628-4313-321C-9A95F89CAB2F}"/>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4" name="Content 2 Placeholder">
            <a:extLst>
              <a:ext uri="{FF2B5EF4-FFF2-40B4-BE49-F238E27FC236}">
                <a16:creationId xmlns:a16="http://schemas.microsoft.com/office/drawing/2014/main" id="{5D43A841-AD92-4556-21E4-9939D57FC0A6}"/>
              </a:ext>
            </a:extLst>
          </p:cNvPr>
          <p:cNvSpPr>
            <a:spLocks noGrp="1" noRot="1" noMove="1" noResize="1" noEditPoints="1" noAdjustHandles="1" noChangeArrowheads="1" noChangeShapeType="1"/>
          </p:cNvSpPr>
          <p:nvPr>
            <p:ph sz="half" idx="2" hasCustomPrompt="1"/>
          </p:nvPr>
        </p:nvSpPr>
        <p:spPr>
          <a:xfrm>
            <a:off x="6211892" y="3771899"/>
            <a:ext cx="5688008" cy="1905001"/>
          </a:xfrm>
        </p:spPr>
        <p:txBody>
          <a:bodyPr/>
          <a:lstStyle>
            <a:lvl1pPr>
              <a:defRPr/>
            </a:lvl1pPr>
          </a:lstStyle>
          <a:p>
            <a:pPr lvl="0"/>
            <a:r>
              <a:rPr lang="en-US"/>
              <a:t>Insert content here</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Image/Content 2 Placeholder">
            <a:extLst>
              <a:ext uri="{FF2B5EF4-FFF2-40B4-BE49-F238E27FC236}">
                <a16:creationId xmlns:a16="http://schemas.microsoft.com/office/drawing/2014/main" id="{F551C892-6720-FE2B-D337-A46B9C4D713A}"/>
              </a:ext>
            </a:extLst>
          </p:cNvPr>
          <p:cNvSpPr>
            <a:spLocks noGrp="1" noRot="1" noMove="1" noResize="1" noEditPoints="1" noAdjustHandles="1" noChangeArrowheads="1" noChangeShapeType="1"/>
          </p:cNvSpPr>
          <p:nvPr>
            <p:ph sz="half" idx="16" hasCustomPrompt="1"/>
          </p:nvPr>
        </p:nvSpPr>
        <p:spPr>
          <a:xfrm>
            <a:off x="6211892" y="1638300"/>
            <a:ext cx="5688009" cy="1905000"/>
          </a:xfrm>
          <a:solidFill>
            <a:srgbClr val="F0F0F0"/>
          </a:solidFill>
        </p:spPr>
        <p:txBody>
          <a:bodyPr anchor="ctr">
            <a:noAutofit/>
          </a:bodyPr>
          <a:lstStyle>
            <a:lvl1pPr marL="0" indent="0" algn="ctr">
              <a:buNone/>
              <a:defRPr/>
            </a:lvl1pPr>
          </a:lstStyle>
          <a:p>
            <a:pPr lvl="0"/>
            <a:r>
              <a:rPr lang="en-GB"/>
              <a:t>Insert content</a:t>
            </a:r>
          </a:p>
        </p:txBody>
      </p:sp>
      <p:sp>
        <p:nvSpPr>
          <p:cNvPr id="3" name="Content 1 Placeholder">
            <a:extLst>
              <a:ext uri="{FF2B5EF4-FFF2-40B4-BE49-F238E27FC236}">
                <a16:creationId xmlns:a16="http://schemas.microsoft.com/office/drawing/2014/main" id="{BBF77ABD-CA9D-F0FB-47F7-ABF58A85B72B}"/>
              </a:ext>
            </a:extLst>
          </p:cNvPr>
          <p:cNvSpPr>
            <a:spLocks noGrp="1" noRot="1" noMove="1" noResize="1" noEditPoints="1" noAdjustHandles="1" noChangeArrowheads="1" noChangeShapeType="1"/>
          </p:cNvSpPr>
          <p:nvPr>
            <p:ph sz="half" idx="1" hasCustomPrompt="1"/>
          </p:nvPr>
        </p:nvSpPr>
        <p:spPr>
          <a:xfrm>
            <a:off x="292100" y="3771899"/>
            <a:ext cx="5688010" cy="1905001"/>
          </a:xfrm>
        </p:spPr>
        <p:txBody>
          <a:bodyPr/>
          <a:lstStyle>
            <a:lvl1pPr>
              <a:defRPr/>
            </a:lvl1pPr>
          </a:lstStyle>
          <a:p>
            <a:pPr lvl="0"/>
            <a:r>
              <a:rPr lang="en-US"/>
              <a:t>Insert content here</a:t>
            </a:r>
          </a:p>
          <a:p>
            <a:pPr lvl="1"/>
            <a:r>
              <a:rPr lang="en-US"/>
              <a:t>Second level</a:t>
            </a:r>
          </a:p>
          <a:p>
            <a:pPr lvl="2"/>
            <a:r>
              <a:rPr lang="en-US"/>
              <a:t>Third level</a:t>
            </a:r>
          </a:p>
          <a:p>
            <a:pPr lvl="3"/>
            <a:r>
              <a:rPr lang="en-US"/>
              <a:t>Fourth level</a:t>
            </a:r>
          </a:p>
          <a:p>
            <a:pPr lvl="4"/>
            <a:r>
              <a:rPr lang="en-US"/>
              <a:t>Fifth level</a:t>
            </a:r>
            <a:endParaRPr lang="en-GB"/>
          </a:p>
        </p:txBody>
      </p:sp>
      <p:sp>
        <p:nvSpPr>
          <p:cNvPr id="8" name="Image/Content 1 Placeholder">
            <a:extLst>
              <a:ext uri="{FF2B5EF4-FFF2-40B4-BE49-F238E27FC236}">
                <a16:creationId xmlns:a16="http://schemas.microsoft.com/office/drawing/2014/main" id="{A3759FC6-112A-A989-2E57-F664AD59A35E}"/>
              </a:ext>
            </a:extLst>
          </p:cNvPr>
          <p:cNvSpPr>
            <a:spLocks noGrp="1" noRot="1" noMove="1" noResize="1" noEditPoints="1" noAdjustHandles="1" noChangeArrowheads="1" noChangeShapeType="1"/>
          </p:cNvSpPr>
          <p:nvPr>
            <p:ph sz="half" idx="15" hasCustomPrompt="1"/>
          </p:nvPr>
        </p:nvSpPr>
        <p:spPr>
          <a:xfrm>
            <a:off x="292100" y="1638300"/>
            <a:ext cx="5688009" cy="1905000"/>
          </a:xfrm>
          <a:solidFill>
            <a:srgbClr val="F0F0F0"/>
          </a:solidFill>
        </p:spPr>
        <p:txBody>
          <a:bodyPr anchor="ctr">
            <a:noAutofit/>
          </a:bodyPr>
          <a:lstStyle>
            <a:lvl1pPr marL="0" indent="0" algn="ctr">
              <a:buNone/>
              <a:defRPr/>
            </a:lvl1pPr>
          </a:lstStyle>
          <a:p>
            <a:pPr lvl="0"/>
            <a:r>
              <a:rPr lang="en-GB"/>
              <a:t>Insert content</a:t>
            </a:r>
          </a:p>
        </p:txBody>
      </p:sp>
      <p:sp>
        <p:nvSpPr>
          <p:cNvPr id="10" name="Subtitle Placeholder">
            <a:extLst>
              <a:ext uri="{FF2B5EF4-FFF2-40B4-BE49-F238E27FC236}">
                <a16:creationId xmlns:a16="http://schemas.microsoft.com/office/drawing/2014/main" id="{4DF2806F-470A-D63D-6287-2D96392FDBED}"/>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2" name="Title Placeholder">
            <a:extLst>
              <a:ext uri="{FF2B5EF4-FFF2-40B4-BE49-F238E27FC236}">
                <a16:creationId xmlns:a16="http://schemas.microsoft.com/office/drawing/2014/main" id="{330527F2-4E92-075E-0582-2535F1B4C690}"/>
              </a:ext>
            </a:extLst>
          </p:cNvPr>
          <p:cNvSpPr>
            <a:spLocks noGrp="1" noRot="1" noMove="1" noResize="1" noEditPoints="1" noAdjustHandles="1" noChangeArrowheads="1" noChangeShapeType="1"/>
          </p:cNvSpPr>
          <p:nvPr>
            <p:ph type="title" hasCustomPrompt="1"/>
          </p:nvPr>
        </p:nvSpPr>
        <p:spPr/>
        <p:txBody>
          <a:bodyPr/>
          <a:lstStyle/>
          <a:p>
            <a:r>
              <a:rPr lang="en-US"/>
              <a:t>Insert your slide title in Arial Bold 20pt</a:t>
            </a:r>
            <a:endParaRPr lang="en-GB"/>
          </a:p>
        </p:txBody>
      </p:sp>
    </p:spTree>
    <p:extLst>
      <p:ext uri="{BB962C8B-B14F-4D97-AF65-F5344CB8AC3E}">
        <p14:creationId xmlns:p14="http://schemas.microsoft.com/office/powerpoint/2010/main" val="1625251919"/>
      </p:ext>
    </p:extLst>
  </p:cSld>
  <p:clrMapOvr>
    <a:masterClrMapping/>
  </p:clrMapOvr>
  <p:extLst>
    <p:ext uri="{DCECCB84-F9BA-43D5-87BE-67443E8EF086}">
      <p15:sldGuideLst xmlns:p15="http://schemas.microsoft.com/office/powerpoint/2012/main">
        <p15:guide id="2" pos="7680">
          <p15:clr>
            <a:srgbClr val="FBAE40"/>
          </p15:clr>
        </p15:guide>
        <p15:guide id="4" pos="3768">
          <p15:clr>
            <a:srgbClr val="A4A3A4"/>
          </p15:clr>
        </p15:guide>
        <p15:guide id="5" pos="3912">
          <p15:clr>
            <a:srgbClr val="A4A3A4"/>
          </p15:clr>
        </p15:guide>
        <p15:guide id="6" pos="7495">
          <p15:clr>
            <a:srgbClr val="FBAE40"/>
          </p15:clr>
        </p15:guide>
        <p15:guide id="7" orient="horz" pos="2232">
          <p15:clr>
            <a:srgbClr val="A4A3A4"/>
          </p15:clr>
        </p15:guide>
        <p15:guide id="8" orient="horz" pos="2376">
          <p15:clr>
            <a:srgbClr val="A4A3A4"/>
          </p15:clr>
        </p15:guide>
        <p15:guide id="9" orient="horz" pos="2304">
          <p15:clr>
            <a:srgbClr val="A4A3A4"/>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8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5807441"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5807441" cy="436543"/>
          </a:xfrm>
        </p:spPr>
        <p:txBody>
          <a:bodyPr anchor="b" anchorCtr="0"/>
          <a:lstStyle>
            <a:lvl1pPr marL="0" indent="0">
              <a:buNone/>
              <a:defRPr sz="1600" b="1">
                <a:solidFill>
                  <a:schemeClr val="bg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710052" y="1197507"/>
            <a:ext cx="3096000" cy="4787820"/>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8227612" y="1288629"/>
            <a:ext cx="2057400" cy="445008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88559" y="5985328"/>
            <a:ext cx="11582399"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88559" y="579495"/>
            <a:ext cx="11582400" cy="436543"/>
          </a:xfrm>
        </p:spPr>
        <p:txBody>
          <a:bodyPr/>
          <a:lstStyle>
            <a:lvl1pPr marL="0" indent="0">
              <a:spcBef>
                <a:spcPts val="0"/>
              </a:spcBef>
              <a:spcAft>
                <a:spcPts val="0"/>
              </a:spcAft>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88559"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64133979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9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88559" y="5985328"/>
            <a:ext cx="11582399"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Tree>
    <p:extLst>
      <p:ext uri="{BB962C8B-B14F-4D97-AF65-F5344CB8AC3E}">
        <p14:creationId xmlns:p14="http://schemas.microsoft.com/office/powerpoint/2010/main" val="179680464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matchingName="Inside - White/title/body text">
  <p:cSld name="Inside - White/title/body text">
    <p:spTree>
      <p:nvGrpSpPr>
        <p:cNvPr id="1" name="Shape 188"/>
        <p:cNvGrpSpPr/>
        <p:nvPr/>
      </p:nvGrpSpPr>
      <p:grpSpPr>
        <a:xfrm>
          <a:off x="0" y="0"/>
          <a:ext cx="0" cy="0"/>
          <a:chOff x="0" y="0"/>
          <a:chExt cx="0" cy="0"/>
        </a:xfrm>
      </p:grpSpPr>
      <p:sp>
        <p:nvSpPr>
          <p:cNvPr id="189" name="Google Shape;189;p12"/>
          <p:cNvSpPr/>
          <p:nvPr/>
        </p:nvSpPr>
        <p:spPr>
          <a:xfrm>
            <a:off x="0" y="67"/>
            <a:ext cx="6810000" cy="6878400"/>
          </a:xfrm>
          <a:prstGeom prst="rtTriangle">
            <a:avLst/>
          </a:prstGeom>
          <a:solidFill>
            <a:srgbClr val="F3F3F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sp>
        <p:nvSpPr>
          <p:cNvPr id="190" name="Google Shape;190;p12"/>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SzPts val="1900"/>
              <a:buNone/>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endParaRPr/>
          </a:p>
        </p:txBody>
      </p:sp>
      <p:sp>
        <p:nvSpPr>
          <p:cNvPr id="191" name="Google Shape;191;p12"/>
          <p:cNvSpPr txBox="1">
            <a:spLocks noGrp="1"/>
          </p:cNvSpPr>
          <p:nvPr>
            <p:ph type="body" idx="1"/>
          </p:nvPr>
        </p:nvSpPr>
        <p:spPr>
          <a:xfrm>
            <a:off x="472867" y="1536633"/>
            <a:ext cx="11246400" cy="4555200"/>
          </a:xfrm>
          <a:prstGeom prst="rect">
            <a:avLst/>
          </a:prstGeom>
        </p:spPr>
        <p:txBody>
          <a:bodyPr spcFirstLastPara="1" wrap="square" lIns="0" tIns="91425" rIns="0" bIns="91425" anchor="t" anchorCtr="0">
            <a:noAutofit/>
          </a:bodyPr>
          <a:lstStyle>
            <a:lvl1pPr marL="609570" lvl="0" indent="-397913" rtl="0">
              <a:spcBef>
                <a:spcPts val="0"/>
              </a:spcBef>
              <a:spcAft>
                <a:spcPts val="0"/>
              </a:spcAft>
              <a:buSzPts val="1100"/>
              <a:buChar char="■"/>
              <a:defRPr/>
            </a:lvl1pPr>
            <a:lvl2pPr marL="1219140" lvl="1" indent="-389448" rtl="0">
              <a:spcBef>
                <a:spcPts val="2133"/>
              </a:spcBef>
              <a:spcAft>
                <a:spcPts val="0"/>
              </a:spcAft>
              <a:buSzPts val="1000"/>
              <a:buChar char="⎼"/>
              <a:defRPr/>
            </a:lvl2pPr>
            <a:lvl3pPr marL="1828709" lvl="2" indent="-389448" rtl="0">
              <a:spcBef>
                <a:spcPts val="2133"/>
              </a:spcBef>
              <a:spcAft>
                <a:spcPts val="0"/>
              </a:spcAft>
              <a:buSzPts val="1000"/>
              <a:buChar char="○"/>
              <a:defRPr/>
            </a:lvl3pPr>
            <a:lvl4pPr marL="2438278" lvl="3" indent="-389448" rtl="0">
              <a:spcBef>
                <a:spcPts val="2133"/>
              </a:spcBef>
              <a:spcAft>
                <a:spcPts val="0"/>
              </a:spcAft>
              <a:buSzPts val="1000"/>
              <a:buChar char="■"/>
              <a:defRPr/>
            </a:lvl4pPr>
            <a:lvl5pPr marL="3047848" lvl="4" indent="-389448" rtl="0">
              <a:spcBef>
                <a:spcPts val="2133"/>
              </a:spcBef>
              <a:spcAft>
                <a:spcPts val="0"/>
              </a:spcAft>
              <a:buSzPts val="1000"/>
              <a:buChar char="⎼"/>
              <a:defRPr/>
            </a:lvl5pPr>
            <a:lvl6pPr marL="3657418" lvl="5" indent="-389448" rtl="0">
              <a:spcBef>
                <a:spcPts val="2133"/>
              </a:spcBef>
              <a:spcAft>
                <a:spcPts val="0"/>
              </a:spcAft>
              <a:buSzPts val="1000"/>
              <a:buChar char="○"/>
              <a:defRPr/>
            </a:lvl6pPr>
            <a:lvl7pPr marL="4266987" lvl="6" indent="-389448" rtl="0">
              <a:spcBef>
                <a:spcPts val="2133"/>
              </a:spcBef>
              <a:spcAft>
                <a:spcPts val="0"/>
              </a:spcAft>
              <a:buSzPts val="1000"/>
              <a:buChar char="■"/>
              <a:defRPr/>
            </a:lvl7pPr>
            <a:lvl8pPr marL="4876557" lvl="7" indent="-389448" rtl="0">
              <a:spcBef>
                <a:spcPts val="2133"/>
              </a:spcBef>
              <a:spcAft>
                <a:spcPts val="0"/>
              </a:spcAft>
              <a:buSzPts val="1000"/>
              <a:buChar char="⎼"/>
              <a:defRPr/>
            </a:lvl8pPr>
            <a:lvl9pPr marL="5486126" lvl="8" indent="-389448" rtl="0">
              <a:spcBef>
                <a:spcPts val="2133"/>
              </a:spcBef>
              <a:spcAft>
                <a:spcPts val="2133"/>
              </a:spcAft>
              <a:buSzPts val="1000"/>
              <a:buChar char="○"/>
              <a:defRPr/>
            </a:lvl9pPr>
          </a:lstStyle>
          <a:p>
            <a:endParaRPr/>
          </a:p>
        </p:txBody>
      </p:sp>
      <p:sp>
        <p:nvSpPr>
          <p:cNvPr id="192" name="Google Shape;192;p12"/>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a:solidFill>
                  <a:srgbClr val="888888"/>
                </a:solidFill>
                <a:latin typeface="Montserrat Light"/>
                <a:ea typeface="Montserrat Light"/>
                <a:cs typeface="Montserrat Light"/>
                <a:sym typeface="Montserrat Light"/>
              </a:rPr>
              <a:t>© 2021 Nielsen Consumer LLC. All Rights Reserved.</a:t>
            </a:r>
            <a:endParaRPr sz="667" i="0" u="none" strike="noStrike" cap="none">
              <a:solidFill>
                <a:srgbClr val="888888"/>
              </a:solidFill>
              <a:latin typeface="Montserrat Light"/>
              <a:ea typeface="Montserrat Light"/>
              <a:cs typeface="Montserrat Light"/>
              <a:sym typeface="Montserrat Light"/>
            </a:endParaRPr>
          </a:p>
        </p:txBody>
      </p:sp>
      <p:sp>
        <p:nvSpPr>
          <p:cNvPr id="193" name="Google Shape;193;p12"/>
          <p:cNvSpPr txBox="1">
            <a:spLocks noGrp="1"/>
          </p:cNvSpPr>
          <p:nvPr>
            <p:ph type="subTitle" idx="2"/>
          </p:nvPr>
        </p:nvSpPr>
        <p:spPr>
          <a:xfrm>
            <a:off x="472867" y="827400"/>
            <a:ext cx="11246400" cy="5124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chemeClr val="accent5"/>
              </a:buClr>
              <a:buSzPts val="1500"/>
              <a:buNone/>
              <a:defRPr sz="2000">
                <a:solidFill>
                  <a:schemeClr val="accent5"/>
                </a:solidFill>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endParaRPr/>
          </a:p>
        </p:txBody>
      </p:sp>
      <p:sp>
        <p:nvSpPr>
          <p:cNvPr id="194" name="Google Shape;194;p12"/>
          <p:cNvSpPr txBox="1">
            <a:spLocks noGrp="1"/>
          </p:cNvSpPr>
          <p:nvPr>
            <p:ph type="sldNum" idx="12"/>
          </p:nvPr>
        </p:nvSpPr>
        <p:spPr>
          <a:xfrm>
            <a:off x="11195011" y="6333189"/>
            <a:ext cx="731600" cy="524800"/>
          </a:xfrm>
          <a:prstGeom prst="rect">
            <a:avLst/>
          </a:prstGeom>
          <a:noFill/>
          <a:ln>
            <a:noFill/>
          </a:ln>
        </p:spPr>
        <p:txBody>
          <a:bodyPr spcFirstLastPara="1" wrap="square" lIns="91425" tIns="91425" rIns="91425" bIns="91425" anchor="ctr" anchorCtr="0">
            <a:noAutofit/>
          </a:bodyPr>
          <a:lstStyle>
            <a:lvl1pPr lvl="0" algn="r" rtl="0">
              <a:buNone/>
              <a:defRPr sz="1333">
                <a:latin typeface="Montserrat Light"/>
                <a:ea typeface="Montserrat Light"/>
                <a:cs typeface="Montserrat Light"/>
                <a:sym typeface="Montserrat Light"/>
              </a:defRPr>
            </a:lvl1pPr>
            <a:lvl2pPr lvl="1" algn="r" rtl="0">
              <a:buNone/>
              <a:defRPr sz="1333">
                <a:latin typeface="Montserrat Light"/>
                <a:ea typeface="Montserrat Light"/>
                <a:cs typeface="Montserrat Light"/>
                <a:sym typeface="Montserrat Light"/>
              </a:defRPr>
            </a:lvl2pPr>
            <a:lvl3pPr lvl="2" algn="r" rtl="0">
              <a:buNone/>
              <a:defRPr sz="1333">
                <a:latin typeface="Montserrat Light"/>
                <a:ea typeface="Montserrat Light"/>
                <a:cs typeface="Montserrat Light"/>
                <a:sym typeface="Montserrat Light"/>
              </a:defRPr>
            </a:lvl3pPr>
            <a:lvl4pPr lvl="3" algn="r" rtl="0">
              <a:buNone/>
              <a:defRPr sz="1333">
                <a:latin typeface="Montserrat Light"/>
                <a:ea typeface="Montserrat Light"/>
                <a:cs typeface="Montserrat Light"/>
                <a:sym typeface="Montserrat Light"/>
              </a:defRPr>
            </a:lvl4pPr>
            <a:lvl5pPr lvl="4" algn="r" rtl="0">
              <a:buNone/>
              <a:defRPr sz="1333">
                <a:latin typeface="Montserrat Light"/>
                <a:ea typeface="Montserrat Light"/>
                <a:cs typeface="Montserrat Light"/>
                <a:sym typeface="Montserrat Light"/>
              </a:defRPr>
            </a:lvl5pPr>
            <a:lvl6pPr lvl="5" algn="r" rtl="0">
              <a:buNone/>
              <a:defRPr sz="1333">
                <a:latin typeface="Montserrat Light"/>
                <a:ea typeface="Montserrat Light"/>
                <a:cs typeface="Montserrat Light"/>
                <a:sym typeface="Montserrat Light"/>
              </a:defRPr>
            </a:lvl6pPr>
            <a:lvl7pPr lvl="6" algn="r" rtl="0">
              <a:buNone/>
              <a:defRPr sz="1333">
                <a:latin typeface="Montserrat Light"/>
                <a:ea typeface="Montserrat Light"/>
                <a:cs typeface="Montserrat Light"/>
                <a:sym typeface="Montserrat Light"/>
              </a:defRPr>
            </a:lvl7pPr>
            <a:lvl8pPr lvl="7" algn="r" rtl="0">
              <a:buNone/>
              <a:defRPr sz="1333">
                <a:latin typeface="Montserrat Light"/>
                <a:ea typeface="Montserrat Light"/>
                <a:cs typeface="Montserrat Light"/>
                <a:sym typeface="Montserrat Light"/>
              </a:defRPr>
            </a:lvl8pPr>
            <a:lvl9pPr lvl="8" algn="r" rtl="0">
              <a:buNone/>
              <a:defRPr sz="1333">
                <a:latin typeface="Montserrat Light"/>
                <a:ea typeface="Montserrat Light"/>
                <a:cs typeface="Montserrat Light"/>
                <a:sym typeface="Montserrat Light"/>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195" name="Google Shape;195;p12"/>
          <p:cNvPicPr preferRelativeResize="0"/>
          <p:nvPr/>
        </p:nvPicPr>
        <p:blipFill>
          <a:blip r:embed="rId2">
            <a:alphaModFix/>
          </a:blip>
          <a:stretch>
            <a:fillRect/>
          </a:stretch>
        </p:blipFill>
        <p:spPr>
          <a:xfrm>
            <a:off x="1" y="2"/>
            <a:ext cx="472867" cy="474612"/>
          </a:xfrm>
          <a:prstGeom prst="rect">
            <a:avLst/>
          </a:prstGeom>
          <a:noFill/>
          <a:ln>
            <a:noFill/>
          </a:ln>
        </p:spPr>
      </p:pic>
      <p:sp>
        <p:nvSpPr>
          <p:cNvPr id="196" name="Google Shape;196;p12"/>
          <p:cNvSpPr txBox="1">
            <a:spLocks noGrp="1"/>
          </p:cNvSpPr>
          <p:nvPr>
            <p:ph type="subTitle" idx="3"/>
          </p:nvPr>
        </p:nvSpPr>
        <p:spPr>
          <a:xfrm>
            <a:off x="472867" y="6476016"/>
            <a:ext cx="10878800" cy="2464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chemeClr val="accent5"/>
              </a:buClr>
              <a:buSzPts val="600"/>
              <a:buNone/>
              <a:defRPr sz="800">
                <a:solidFill>
                  <a:schemeClr val="accent5"/>
                </a:solidFill>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endParaRPr/>
          </a:p>
        </p:txBody>
      </p:sp>
    </p:spTree>
    <p:extLst>
      <p:ext uri="{BB962C8B-B14F-4D97-AF65-F5344CB8AC3E}">
        <p14:creationId xmlns:p14="http://schemas.microsoft.com/office/powerpoint/2010/main" val="389228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quote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19250" y="-1"/>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60" y="1314883"/>
            <a:ext cx="8634723" cy="2532527"/>
          </a:xfrm>
          <a:prstGeom prst="rect">
            <a:avLst/>
          </a:prstGeom>
        </p:spPr>
        <p:txBody>
          <a:bodyPr anchor="b" anchorCtr="0">
            <a:noAutofit/>
          </a:bodyPr>
          <a:lstStyle>
            <a:lvl1pPr algn="l">
              <a:defRPr sz="4800">
                <a:solidFill>
                  <a:schemeClr val="bg1"/>
                </a:solidFill>
              </a:defRPr>
            </a:lvl1pPr>
          </a:lstStyle>
          <a:p>
            <a:r>
              <a:rPr lang="en-US"/>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9" y="3910757"/>
            <a:ext cx="8634723" cy="436211"/>
          </a:xfrm>
        </p:spPr>
        <p:txBody>
          <a:bodyPr>
            <a:noAutofit/>
          </a:bodyPr>
          <a:lstStyle>
            <a:lvl1pPr marL="0" indent="0" algn="l">
              <a:spcBef>
                <a:spcPts val="0"/>
              </a:spcBef>
              <a:spcAft>
                <a:spcPts val="0"/>
              </a:spcAft>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B60D9EE-C28D-6DB2-74C9-925C2BF28DFF}"/>
              </a:ext>
            </a:extLst>
          </p:cNvPr>
          <p:cNvSpPr txBox="1"/>
          <p:nvPr userDrawn="1"/>
        </p:nvSpPr>
        <p:spPr>
          <a:xfrm>
            <a:off x="8835026" y="6517928"/>
            <a:ext cx="2601239"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4 Nielsen Consumer LLC. All Rights Reserved.</a:t>
            </a:r>
          </a:p>
        </p:txBody>
      </p:sp>
      <p:pic>
        <p:nvPicPr>
          <p:cNvPr id="7" name="Picture 6">
            <a:extLst>
              <a:ext uri="{FF2B5EF4-FFF2-40B4-BE49-F238E27FC236}">
                <a16:creationId xmlns:a16="http://schemas.microsoft.com/office/drawing/2014/main" id="{CA06910C-3278-EC18-6D25-71265FCA2A6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90129" y="6495103"/>
            <a:ext cx="644652" cy="274320"/>
          </a:xfrm>
          <a:prstGeom prst="rect">
            <a:avLst/>
          </a:prstGeom>
        </p:spPr>
      </p:pic>
    </p:spTree>
    <p:extLst>
      <p:ext uri="{BB962C8B-B14F-4D97-AF65-F5344CB8AC3E}">
        <p14:creationId xmlns:p14="http://schemas.microsoft.com/office/powerpoint/2010/main" val="3527848532"/>
      </p:ext>
    </p:extLst>
  </p:cSld>
  <p:clrMapOvr>
    <a:overrideClrMapping bg1="lt1" tx1="dk1" bg2="lt2" tx2="dk2" accent1="accent1" accent2="accent2" accent3="accent3" accent4="accent4" accent5="accent5" accent6="accent6" hlink="hlink" folHlink="folHlink"/>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3yp_title_and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2F25C-611F-5946-A757-98CBE87CC8B7}"/>
              </a:ext>
            </a:extLst>
          </p:cNvPr>
          <p:cNvSpPr>
            <a:spLocks noGrp="1"/>
          </p:cNvSpPr>
          <p:nvPr>
            <p:ph type="title" hasCustomPrompt="1"/>
          </p:nvPr>
        </p:nvSpPr>
        <p:spPr>
          <a:xfrm>
            <a:off x="288559" y="178971"/>
            <a:ext cx="11582400" cy="397352"/>
          </a:xfrm>
          <a:prstGeom prst="rect">
            <a:avLst/>
          </a:prstGeom>
        </p:spPr>
        <p:txBody>
          <a:bodyPr anchor="ctr"/>
          <a:lstStyle>
            <a:lvl1pPr>
              <a:defRPr sz="2000"/>
            </a:lvl1pPr>
          </a:lstStyle>
          <a:p>
            <a:r>
              <a:rPr lang="en-US"/>
              <a:t>Insert your slide title in Arial bold 20pt</a:t>
            </a:r>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9" y="845697"/>
            <a:ext cx="11582400"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11" name="Text Placeholder 10">
            <a:extLst>
              <a:ext uri="{FF2B5EF4-FFF2-40B4-BE49-F238E27FC236}">
                <a16:creationId xmlns:a16="http://schemas.microsoft.com/office/drawing/2014/main" id="{D84B7C4B-5E7C-3B57-7A87-AA7A24A5F2B5}"/>
              </a:ext>
            </a:extLst>
          </p:cNvPr>
          <p:cNvSpPr>
            <a:spLocks noGrp="1"/>
          </p:cNvSpPr>
          <p:nvPr>
            <p:ph type="body" sz="quarter" idx="14" hasCustomPrompt="1"/>
          </p:nvPr>
        </p:nvSpPr>
        <p:spPr>
          <a:xfrm>
            <a:off x="288559" y="5985328"/>
            <a:ext cx="11582399"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cxnSp>
        <p:nvCxnSpPr>
          <p:cNvPr id="5" name="Straight Connector 4">
            <a:extLst>
              <a:ext uri="{FF2B5EF4-FFF2-40B4-BE49-F238E27FC236}">
                <a16:creationId xmlns:a16="http://schemas.microsoft.com/office/drawing/2014/main" id="{6FD4EA98-BF31-5C57-6FCA-CC2DE7D012B7}"/>
              </a:ext>
            </a:extLst>
          </p:cNvPr>
          <p:cNvCxnSpPr>
            <a:cxnSpLocks/>
          </p:cNvCxnSpPr>
          <p:nvPr userDrawn="1"/>
        </p:nvCxnSpPr>
        <p:spPr>
          <a:xfrm>
            <a:off x="278932" y="718607"/>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172078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4_divider_deep_blue">
    <p:bg>
      <p:bgRef idx="1001">
        <a:schemeClr val="bg2"/>
      </p:bgRef>
    </p:bg>
    <p:spTree>
      <p:nvGrpSpPr>
        <p:cNvPr id="1" name=""/>
        <p:cNvGrpSpPr/>
        <p:nvPr/>
      </p:nvGrpSpPr>
      <p:grpSpPr>
        <a:xfrm>
          <a:off x="0" y="0"/>
          <a:ext cx="0" cy="0"/>
          <a:chOff x="0" y="0"/>
          <a:chExt cx="0" cy="0"/>
        </a:xfrm>
      </p:grpSpPr>
      <p:sp>
        <p:nvSpPr>
          <p:cNvPr id="4" name="object 3">
            <a:extLst>
              <a:ext uri="{FF2B5EF4-FFF2-40B4-BE49-F238E27FC236}">
                <a16:creationId xmlns:a16="http://schemas.microsoft.com/office/drawing/2014/main" id="{3F6599BE-B6EF-C42F-E63F-0BE3E239339E}"/>
              </a:ext>
            </a:extLst>
          </p:cNvPr>
          <p:cNvSpPr/>
          <p:nvPr userDrawn="1"/>
        </p:nvSpPr>
        <p:spPr>
          <a:xfrm>
            <a:off x="1" y="523"/>
            <a:ext cx="1984905" cy="6858000"/>
          </a:xfrm>
          <a:custGeom>
            <a:avLst/>
            <a:gdLst/>
            <a:ahLst/>
            <a:cxnLst/>
            <a:rect l="l" t="t" r="r" b="b"/>
            <a:pathLst>
              <a:path w="2381885" h="8229600">
                <a:moveTo>
                  <a:pt x="0" y="8229600"/>
                </a:moveTo>
                <a:lnTo>
                  <a:pt x="2381722" y="8229600"/>
                </a:lnTo>
                <a:lnTo>
                  <a:pt x="2381711" y="0"/>
                </a:lnTo>
                <a:lnTo>
                  <a:pt x="0" y="0"/>
                </a:lnTo>
                <a:lnTo>
                  <a:pt x="0" y="8229600"/>
                </a:lnTo>
                <a:close/>
              </a:path>
            </a:pathLst>
          </a:custGeom>
          <a:solidFill>
            <a:srgbClr val="2C6CF6">
              <a:alpha val="11997"/>
            </a:srgbClr>
          </a:solidFill>
        </p:spPr>
        <p:txBody>
          <a:bodyPr wrap="square" lIns="0" tIns="0" rIns="0" bIns="0" rtlCol="0"/>
          <a:lstStyle/>
          <a:p>
            <a:endParaRPr sz="1800"/>
          </a:p>
        </p:txBody>
      </p:sp>
      <p:sp>
        <p:nvSpPr>
          <p:cNvPr id="7" name="object 4">
            <a:extLst>
              <a:ext uri="{FF2B5EF4-FFF2-40B4-BE49-F238E27FC236}">
                <a16:creationId xmlns:a16="http://schemas.microsoft.com/office/drawing/2014/main" id="{9F7796EA-FD3F-947C-072F-5C074AFC3C02}"/>
              </a:ext>
            </a:extLst>
          </p:cNvPr>
          <p:cNvSpPr/>
          <p:nvPr userDrawn="1"/>
        </p:nvSpPr>
        <p:spPr>
          <a:xfrm>
            <a:off x="4637351" y="523"/>
            <a:ext cx="8904287" cy="6858000"/>
          </a:xfrm>
          <a:custGeom>
            <a:avLst/>
            <a:gdLst/>
            <a:ahLst/>
            <a:cxnLst/>
            <a:rect l="l" t="t" r="r" b="b"/>
            <a:pathLst>
              <a:path w="10685144" h="8229600">
                <a:moveTo>
                  <a:pt x="7823267" y="0"/>
                </a:moveTo>
                <a:lnTo>
                  <a:pt x="2172476" y="0"/>
                </a:lnTo>
                <a:lnTo>
                  <a:pt x="2150060" y="25400"/>
                </a:lnTo>
                <a:lnTo>
                  <a:pt x="2077038" y="76200"/>
                </a:lnTo>
                <a:lnTo>
                  <a:pt x="1933924" y="177800"/>
                </a:lnTo>
                <a:lnTo>
                  <a:pt x="1898767" y="215900"/>
                </a:lnTo>
                <a:lnTo>
                  <a:pt x="1794824" y="292100"/>
                </a:lnTo>
                <a:lnTo>
                  <a:pt x="1760692" y="330200"/>
                </a:lnTo>
                <a:lnTo>
                  <a:pt x="1693213" y="381000"/>
                </a:lnTo>
                <a:lnTo>
                  <a:pt x="1659870" y="419100"/>
                </a:lnTo>
                <a:lnTo>
                  <a:pt x="1593988" y="469900"/>
                </a:lnTo>
                <a:lnTo>
                  <a:pt x="1561454" y="508000"/>
                </a:lnTo>
                <a:lnTo>
                  <a:pt x="1529192" y="533400"/>
                </a:lnTo>
                <a:lnTo>
                  <a:pt x="1497206" y="571500"/>
                </a:lnTo>
                <a:lnTo>
                  <a:pt x="1465497" y="596900"/>
                </a:lnTo>
                <a:lnTo>
                  <a:pt x="1434068" y="635000"/>
                </a:lnTo>
                <a:lnTo>
                  <a:pt x="1402920" y="660400"/>
                </a:lnTo>
                <a:lnTo>
                  <a:pt x="1372056" y="698500"/>
                </a:lnTo>
                <a:lnTo>
                  <a:pt x="1341477" y="736600"/>
                </a:lnTo>
                <a:lnTo>
                  <a:pt x="1311186" y="762000"/>
                </a:lnTo>
                <a:lnTo>
                  <a:pt x="1281184" y="800100"/>
                </a:lnTo>
                <a:lnTo>
                  <a:pt x="1251474" y="838200"/>
                </a:lnTo>
                <a:lnTo>
                  <a:pt x="1222058" y="863600"/>
                </a:lnTo>
                <a:lnTo>
                  <a:pt x="1192938" y="901700"/>
                </a:lnTo>
                <a:lnTo>
                  <a:pt x="1164116" y="939800"/>
                </a:lnTo>
                <a:lnTo>
                  <a:pt x="1135593" y="965200"/>
                </a:lnTo>
                <a:lnTo>
                  <a:pt x="1107372" y="1003300"/>
                </a:lnTo>
                <a:lnTo>
                  <a:pt x="1079455" y="1041400"/>
                </a:lnTo>
                <a:lnTo>
                  <a:pt x="1051844" y="1079500"/>
                </a:lnTo>
                <a:lnTo>
                  <a:pt x="1024542" y="1117600"/>
                </a:lnTo>
                <a:lnTo>
                  <a:pt x="997549" y="1143000"/>
                </a:lnTo>
                <a:lnTo>
                  <a:pt x="970868" y="1181100"/>
                </a:lnTo>
                <a:lnTo>
                  <a:pt x="944501" y="1219200"/>
                </a:lnTo>
                <a:lnTo>
                  <a:pt x="918451" y="1257300"/>
                </a:lnTo>
                <a:lnTo>
                  <a:pt x="892718" y="1295400"/>
                </a:lnTo>
                <a:lnTo>
                  <a:pt x="867306" y="1333500"/>
                </a:lnTo>
                <a:lnTo>
                  <a:pt x="842216" y="1371600"/>
                </a:lnTo>
                <a:lnTo>
                  <a:pt x="817450" y="1409700"/>
                </a:lnTo>
                <a:lnTo>
                  <a:pt x="793011" y="1447800"/>
                </a:lnTo>
                <a:lnTo>
                  <a:pt x="768900" y="1485900"/>
                </a:lnTo>
                <a:lnTo>
                  <a:pt x="745120" y="1524000"/>
                </a:lnTo>
                <a:lnTo>
                  <a:pt x="721672" y="1562100"/>
                </a:lnTo>
                <a:lnTo>
                  <a:pt x="698558" y="1600200"/>
                </a:lnTo>
                <a:lnTo>
                  <a:pt x="675781" y="1638300"/>
                </a:lnTo>
                <a:lnTo>
                  <a:pt x="653342" y="1676400"/>
                </a:lnTo>
                <a:lnTo>
                  <a:pt x="631244" y="1714500"/>
                </a:lnTo>
                <a:lnTo>
                  <a:pt x="609489" y="1752600"/>
                </a:lnTo>
                <a:lnTo>
                  <a:pt x="588078" y="1803400"/>
                </a:lnTo>
                <a:lnTo>
                  <a:pt x="567015" y="1841500"/>
                </a:lnTo>
                <a:lnTo>
                  <a:pt x="546299" y="1879600"/>
                </a:lnTo>
                <a:lnTo>
                  <a:pt x="525935" y="1917700"/>
                </a:lnTo>
                <a:lnTo>
                  <a:pt x="505923" y="1955800"/>
                </a:lnTo>
                <a:lnTo>
                  <a:pt x="486267" y="2006600"/>
                </a:lnTo>
                <a:lnTo>
                  <a:pt x="466967" y="2044700"/>
                </a:lnTo>
                <a:lnTo>
                  <a:pt x="448026" y="2082800"/>
                </a:lnTo>
                <a:lnTo>
                  <a:pt x="429446" y="2120900"/>
                </a:lnTo>
                <a:lnTo>
                  <a:pt x="411229" y="2171700"/>
                </a:lnTo>
                <a:lnTo>
                  <a:pt x="393377" y="2209800"/>
                </a:lnTo>
                <a:lnTo>
                  <a:pt x="375892" y="2247900"/>
                </a:lnTo>
                <a:lnTo>
                  <a:pt x="358777" y="2298700"/>
                </a:lnTo>
                <a:lnTo>
                  <a:pt x="342032" y="2336800"/>
                </a:lnTo>
                <a:lnTo>
                  <a:pt x="325661" y="2374900"/>
                </a:lnTo>
                <a:lnTo>
                  <a:pt x="309665" y="2425700"/>
                </a:lnTo>
                <a:lnTo>
                  <a:pt x="294046" y="2463800"/>
                </a:lnTo>
                <a:lnTo>
                  <a:pt x="278807" y="2514600"/>
                </a:lnTo>
                <a:lnTo>
                  <a:pt x="263949" y="2552700"/>
                </a:lnTo>
                <a:lnTo>
                  <a:pt x="249474" y="2603500"/>
                </a:lnTo>
                <a:lnTo>
                  <a:pt x="235385" y="2641600"/>
                </a:lnTo>
                <a:lnTo>
                  <a:pt x="221683" y="2679700"/>
                </a:lnTo>
                <a:lnTo>
                  <a:pt x="208370" y="2730500"/>
                </a:lnTo>
                <a:lnTo>
                  <a:pt x="195450" y="2768600"/>
                </a:lnTo>
                <a:lnTo>
                  <a:pt x="182922" y="2819400"/>
                </a:lnTo>
                <a:lnTo>
                  <a:pt x="170791" y="2870200"/>
                </a:lnTo>
                <a:lnTo>
                  <a:pt x="159057" y="2908300"/>
                </a:lnTo>
                <a:lnTo>
                  <a:pt x="147723" y="2959100"/>
                </a:lnTo>
                <a:lnTo>
                  <a:pt x="136790" y="2997200"/>
                </a:lnTo>
                <a:lnTo>
                  <a:pt x="126261" y="3048000"/>
                </a:lnTo>
                <a:lnTo>
                  <a:pt x="116138" y="3086100"/>
                </a:lnTo>
                <a:lnTo>
                  <a:pt x="106423" y="3136900"/>
                </a:lnTo>
                <a:lnTo>
                  <a:pt x="97118" y="3187700"/>
                </a:lnTo>
                <a:lnTo>
                  <a:pt x="88225" y="3225800"/>
                </a:lnTo>
                <a:lnTo>
                  <a:pt x="79745" y="3276600"/>
                </a:lnTo>
                <a:lnTo>
                  <a:pt x="71682" y="3314700"/>
                </a:lnTo>
                <a:lnTo>
                  <a:pt x="64037" y="3365500"/>
                </a:lnTo>
                <a:lnTo>
                  <a:pt x="56811" y="3416300"/>
                </a:lnTo>
                <a:lnTo>
                  <a:pt x="50008" y="3454400"/>
                </a:lnTo>
                <a:lnTo>
                  <a:pt x="43629" y="3505200"/>
                </a:lnTo>
                <a:lnTo>
                  <a:pt x="37676" y="3556000"/>
                </a:lnTo>
                <a:lnTo>
                  <a:pt x="32152" y="3606800"/>
                </a:lnTo>
                <a:lnTo>
                  <a:pt x="27058" y="3644900"/>
                </a:lnTo>
                <a:lnTo>
                  <a:pt x="22395" y="3695700"/>
                </a:lnTo>
                <a:lnTo>
                  <a:pt x="18168" y="3746500"/>
                </a:lnTo>
                <a:lnTo>
                  <a:pt x="14376" y="3797300"/>
                </a:lnTo>
                <a:lnTo>
                  <a:pt x="11023" y="3835400"/>
                </a:lnTo>
                <a:lnTo>
                  <a:pt x="8111" y="3886200"/>
                </a:lnTo>
                <a:lnTo>
                  <a:pt x="5641" y="3937000"/>
                </a:lnTo>
                <a:lnTo>
                  <a:pt x="3615" y="3987800"/>
                </a:lnTo>
                <a:lnTo>
                  <a:pt x="2037" y="4025900"/>
                </a:lnTo>
                <a:lnTo>
                  <a:pt x="906" y="4076700"/>
                </a:lnTo>
                <a:lnTo>
                  <a:pt x="227" y="4127500"/>
                </a:lnTo>
                <a:lnTo>
                  <a:pt x="0" y="4178300"/>
                </a:lnTo>
                <a:lnTo>
                  <a:pt x="227" y="4229100"/>
                </a:lnTo>
                <a:lnTo>
                  <a:pt x="906" y="4279900"/>
                </a:lnTo>
                <a:lnTo>
                  <a:pt x="2037" y="4318000"/>
                </a:lnTo>
                <a:lnTo>
                  <a:pt x="3615" y="4368800"/>
                </a:lnTo>
                <a:lnTo>
                  <a:pt x="5641" y="4419600"/>
                </a:lnTo>
                <a:lnTo>
                  <a:pt x="8111" y="4470400"/>
                </a:lnTo>
                <a:lnTo>
                  <a:pt x="11023" y="4521200"/>
                </a:lnTo>
                <a:lnTo>
                  <a:pt x="14376" y="4559300"/>
                </a:lnTo>
                <a:lnTo>
                  <a:pt x="18168" y="4610100"/>
                </a:lnTo>
                <a:lnTo>
                  <a:pt x="22395" y="4660900"/>
                </a:lnTo>
                <a:lnTo>
                  <a:pt x="27058" y="4711700"/>
                </a:lnTo>
                <a:lnTo>
                  <a:pt x="32152" y="4749800"/>
                </a:lnTo>
                <a:lnTo>
                  <a:pt x="37676" y="4800600"/>
                </a:lnTo>
                <a:lnTo>
                  <a:pt x="43629" y="4851400"/>
                </a:lnTo>
                <a:lnTo>
                  <a:pt x="50008" y="4889500"/>
                </a:lnTo>
                <a:lnTo>
                  <a:pt x="56811" y="4940300"/>
                </a:lnTo>
                <a:lnTo>
                  <a:pt x="64037" y="4991100"/>
                </a:lnTo>
                <a:lnTo>
                  <a:pt x="71682" y="5029200"/>
                </a:lnTo>
                <a:lnTo>
                  <a:pt x="79745" y="5080000"/>
                </a:lnTo>
                <a:lnTo>
                  <a:pt x="88225" y="5130800"/>
                </a:lnTo>
                <a:lnTo>
                  <a:pt x="97118" y="5168900"/>
                </a:lnTo>
                <a:lnTo>
                  <a:pt x="106423" y="5219700"/>
                </a:lnTo>
                <a:lnTo>
                  <a:pt x="116138" y="5270500"/>
                </a:lnTo>
                <a:lnTo>
                  <a:pt x="126261" y="5308600"/>
                </a:lnTo>
                <a:lnTo>
                  <a:pt x="136790" y="5359400"/>
                </a:lnTo>
                <a:lnTo>
                  <a:pt x="147723" y="5397500"/>
                </a:lnTo>
                <a:lnTo>
                  <a:pt x="159057" y="5448300"/>
                </a:lnTo>
                <a:lnTo>
                  <a:pt x="170791" y="5486400"/>
                </a:lnTo>
                <a:lnTo>
                  <a:pt x="182922" y="5537200"/>
                </a:lnTo>
                <a:lnTo>
                  <a:pt x="195450" y="5575300"/>
                </a:lnTo>
                <a:lnTo>
                  <a:pt x="208370" y="5626100"/>
                </a:lnTo>
                <a:lnTo>
                  <a:pt x="221683" y="5664200"/>
                </a:lnTo>
                <a:lnTo>
                  <a:pt x="235385" y="5715000"/>
                </a:lnTo>
                <a:lnTo>
                  <a:pt x="249474" y="5753100"/>
                </a:lnTo>
                <a:lnTo>
                  <a:pt x="263949" y="5803900"/>
                </a:lnTo>
                <a:lnTo>
                  <a:pt x="278807" y="5842000"/>
                </a:lnTo>
                <a:lnTo>
                  <a:pt x="294046" y="5892800"/>
                </a:lnTo>
                <a:lnTo>
                  <a:pt x="309665" y="5930900"/>
                </a:lnTo>
                <a:lnTo>
                  <a:pt x="325661" y="5969000"/>
                </a:lnTo>
                <a:lnTo>
                  <a:pt x="342032" y="6019800"/>
                </a:lnTo>
                <a:lnTo>
                  <a:pt x="358777" y="6057900"/>
                </a:lnTo>
                <a:lnTo>
                  <a:pt x="375892" y="6096000"/>
                </a:lnTo>
                <a:lnTo>
                  <a:pt x="393377" y="6146800"/>
                </a:lnTo>
                <a:lnTo>
                  <a:pt x="411229" y="6184900"/>
                </a:lnTo>
                <a:lnTo>
                  <a:pt x="429446" y="6223000"/>
                </a:lnTo>
                <a:lnTo>
                  <a:pt x="448026" y="6273800"/>
                </a:lnTo>
                <a:lnTo>
                  <a:pt x="466967" y="6311900"/>
                </a:lnTo>
                <a:lnTo>
                  <a:pt x="486267" y="6350000"/>
                </a:lnTo>
                <a:lnTo>
                  <a:pt x="505923" y="6388100"/>
                </a:lnTo>
                <a:lnTo>
                  <a:pt x="525935" y="6438900"/>
                </a:lnTo>
                <a:lnTo>
                  <a:pt x="546299" y="6477000"/>
                </a:lnTo>
                <a:lnTo>
                  <a:pt x="567015" y="6515100"/>
                </a:lnTo>
                <a:lnTo>
                  <a:pt x="588078" y="6553200"/>
                </a:lnTo>
                <a:lnTo>
                  <a:pt x="609489" y="6591300"/>
                </a:lnTo>
                <a:lnTo>
                  <a:pt x="631244" y="6642100"/>
                </a:lnTo>
                <a:lnTo>
                  <a:pt x="653342" y="6680200"/>
                </a:lnTo>
                <a:lnTo>
                  <a:pt x="675781" y="6718300"/>
                </a:lnTo>
                <a:lnTo>
                  <a:pt x="698558" y="6756400"/>
                </a:lnTo>
                <a:lnTo>
                  <a:pt x="721672" y="6794500"/>
                </a:lnTo>
                <a:lnTo>
                  <a:pt x="745120" y="6832600"/>
                </a:lnTo>
                <a:lnTo>
                  <a:pt x="768900" y="6870700"/>
                </a:lnTo>
                <a:lnTo>
                  <a:pt x="793011" y="6908800"/>
                </a:lnTo>
                <a:lnTo>
                  <a:pt x="817450" y="6946900"/>
                </a:lnTo>
                <a:lnTo>
                  <a:pt x="842216" y="6985000"/>
                </a:lnTo>
                <a:lnTo>
                  <a:pt x="867306" y="7023100"/>
                </a:lnTo>
                <a:lnTo>
                  <a:pt x="892718" y="7061200"/>
                </a:lnTo>
                <a:lnTo>
                  <a:pt x="918451" y="7099300"/>
                </a:lnTo>
                <a:lnTo>
                  <a:pt x="944501" y="7137400"/>
                </a:lnTo>
                <a:lnTo>
                  <a:pt x="970868" y="7175500"/>
                </a:lnTo>
                <a:lnTo>
                  <a:pt x="997549" y="7200900"/>
                </a:lnTo>
                <a:lnTo>
                  <a:pt x="1024542" y="7239000"/>
                </a:lnTo>
                <a:lnTo>
                  <a:pt x="1051844" y="7277100"/>
                </a:lnTo>
                <a:lnTo>
                  <a:pt x="1079455" y="7315200"/>
                </a:lnTo>
                <a:lnTo>
                  <a:pt x="1107372" y="7353300"/>
                </a:lnTo>
                <a:lnTo>
                  <a:pt x="1135593" y="7378700"/>
                </a:lnTo>
                <a:lnTo>
                  <a:pt x="1164116" y="7416800"/>
                </a:lnTo>
                <a:lnTo>
                  <a:pt x="1192938" y="7454900"/>
                </a:lnTo>
                <a:lnTo>
                  <a:pt x="1222058" y="7493000"/>
                </a:lnTo>
                <a:lnTo>
                  <a:pt x="1251474" y="7518400"/>
                </a:lnTo>
                <a:lnTo>
                  <a:pt x="1281184" y="7556500"/>
                </a:lnTo>
                <a:lnTo>
                  <a:pt x="1311186" y="7594600"/>
                </a:lnTo>
                <a:lnTo>
                  <a:pt x="1341477" y="7620000"/>
                </a:lnTo>
                <a:lnTo>
                  <a:pt x="1372056" y="7658100"/>
                </a:lnTo>
                <a:lnTo>
                  <a:pt x="1402920" y="7683500"/>
                </a:lnTo>
                <a:lnTo>
                  <a:pt x="1434068" y="7721600"/>
                </a:lnTo>
                <a:lnTo>
                  <a:pt x="1465497" y="7747000"/>
                </a:lnTo>
                <a:lnTo>
                  <a:pt x="1497206" y="7785100"/>
                </a:lnTo>
                <a:lnTo>
                  <a:pt x="1529192" y="7810500"/>
                </a:lnTo>
                <a:lnTo>
                  <a:pt x="1561454" y="7848600"/>
                </a:lnTo>
                <a:lnTo>
                  <a:pt x="1593988" y="7874000"/>
                </a:lnTo>
                <a:lnTo>
                  <a:pt x="1626795" y="7912100"/>
                </a:lnTo>
                <a:lnTo>
                  <a:pt x="1659870" y="7937500"/>
                </a:lnTo>
                <a:lnTo>
                  <a:pt x="1693213" y="7975600"/>
                </a:lnTo>
                <a:lnTo>
                  <a:pt x="1794824" y="8051800"/>
                </a:lnTo>
                <a:lnTo>
                  <a:pt x="1829216" y="8089900"/>
                </a:lnTo>
                <a:lnTo>
                  <a:pt x="1933924" y="8166100"/>
                </a:lnTo>
                <a:lnTo>
                  <a:pt x="1969331" y="8204200"/>
                </a:lnTo>
                <a:lnTo>
                  <a:pt x="2004987" y="8229600"/>
                </a:lnTo>
                <a:lnTo>
                  <a:pt x="10684988" y="8229600"/>
                </a:lnTo>
                <a:lnTo>
                  <a:pt x="10684988" y="8204200"/>
                </a:lnTo>
                <a:lnTo>
                  <a:pt x="9304082" y="6807200"/>
                </a:lnTo>
                <a:lnTo>
                  <a:pt x="4806332" y="6807200"/>
                </a:lnTo>
                <a:lnTo>
                  <a:pt x="4759008" y="6794500"/>
                </a:lnTo>
                <a:lnTo>
                  <a:pt x="4711924" y="6794500"/>
                </a:lnTo>
                <a:lnTo>
                  <a:pt x="4665089" y="6781800"/>
                </a:lnTo>
                <a:lnTo>
                  <a:pt x="4618510" y="6781800"/>
                </a:lnTo>
                <a:lnTo>
                  <a:pt x="4572194" y="6769100"/>
                </a:lnTo>
                <a:lnTo>
                  <a:pt x="4526150" y="6769100"/>
                </a:lnTo>
                <a:lnTo>
                  <a:pt x="4344838" y="6718300"/>
                </a:lnTo>
                <a:lnTo>
                  <a:pt x="4300264" y="6718300"/>
                </a:lnTo>
                <a:lnTo>
                  <a:pt x="4256008" y="6692900"/>
                </a:lnTo>
                <a:lnTo>
                  <a:pt x="4039751" y="6629400"/>
                </a:lnTo>
                <a:lnTo>
                  <a:pt x="3997559" y="6604000"/>
                </a:lnTo>
                <a:lnTo>
                  <a:pt x="3955737" y="6591300"/>
                </a:lnTo>
                <a:lnTo>
                  <a:pt x="3914293" y="6565900"/>
                </a:lnTo>
                <a:lnTo>
                  <a:pt x="3873235" y="6553200"/>
                </a:lnTo>
                <a:lnTo>
                  <a:pt x="3792308" y="6502400"/>
                </a:lnTo>
                <a:lnTo>
                  <a:pt x="3752454" y="6489700"/>
                </a:lnTo>
                <a:lnTo>
                  <a:pt x="3674004" y="6438900"/>
                </a:lnTo>
                <a:lnTo>
                  <a:pt x="3597281" y="6388100"/>
                </a:lnTo>
                <a:lnTo>
                  <a:pt x="3522347" y="6337300"/>
                </a:lnTo>
                <a:lnTo>
                  <a:pt x="3449263" y="6286500"/>
                </a:lnTo>
                <a:lnTo>
                  <a:pt x="3378090" y="6235700"/>
                </a:lnTo>
                <a:lnTo>
                  <a:pt x="3343240" y="6210300"/>
                </a:lnTo>
                <a:lnTo>
                  <a:pt x="3308890" y="6172200"/>
                </a:lnTo>
                <a:lnTo>
                  <a:pt x="3275049" y="6146800"/>
                </a:lnTo>
                <a:lnTo>
                  <a:pt x="3241724" y="6121400"/>
                </a:lnTo>
                <a:lnTo>
                  <a:pt x="3208922" y="6083300"/>
                </a:lnTo>
                <a:lnTo>
                  <a:pt x="3176652" y="6057900"/>
                </a:lnTo>
                <a:lnTo>
                  <a:pt x="3144921" y="6019800"/>
                </a:lnTo>
                <a:lnTo>
                  <a:pt x="3113736" y="5994400"/>
                </a:lnTo>
                <a:lnTo>
                  <a:pt x="3083106" y="5956300"/>
                </a:lnTo>
                <a:lnTo>
                  <a:pt x="3053038" y="5918200"/>
                </a:lnTo>
                <a:lnTo>
                  <a:pt x="3023539" y="5892800"/>
                </a:lnTo>
                <a:lnTo>
                  <a:pt x="2994618" y="5854700"/>
                </a:lnTo>
                <a:lnTo>
                  <a:pt x="2966281" y="5816600"/>
                </a:lnTo>
                <a:lnTo>
                  <a:pt x="2938537" y="5778500"/>
                </a:lnTo>
                <a:lnTo>
                  <a:pt x="2911394" y="5740400"/>
                </a:lnTo>
                <a:lnTo>
                  <a:pt x="2884858" y="5702300"/>
                </a:lnTo>
                <a:lnTo>
                  <a:pt x="2858937" y="5676900"/>
                </a:lnTo>
                <a:lnTo>
                  <a:pt x="2833640" y="5638800"/>
                </a:lnTo>
                <a:lnTo>
                  <a:pt x="2808974" y="5600700"/>
                </a:lnTo>
                <a:lnTo>
                  <a:pt x="2784946" y="5562600"/>
                </a:lnTo>
                <a:lnTo>
                  <a:pt x="2761564" y="5511800"/>
                </a:lnTo>
                <a:lnTo>
                  <a:pt x="2738837" y="5473700"/>
                </a:lnTo>
                <a:lnTo>
                  <a:pt x="2716770" y="5435600"/>
                </a:lnTo>
                <a:lnTo>
                  <a:pt x="2695373" y="5397500"/>
                </a:lnTo>
                <a:lnTo>
                  <a:pt x="2674652" y="5359400"/>
                </a:lnTo>
                <a:lnTo>
                  <a:pt x="2654616" y="5321300"/>
                </a:lnTo>
                <a:lnTo>
                  <a:pt x="2635271" y="5270500"/>
                </a:lnTo>
                <a:lnTo>
                  <a:pt x="2616627" y="5232400"/>
                </a:lnTo>
                <a:lnTo>
                  <a:pt x="2598689" y="5194300"/>
                </a:lnTo>
                <a:lnTo>
                  <a:pt x="2581467" y="5143500"/>
                </a:lnTo>
                <a:lnTo>
                  <a:pt x="2564967" y="5105400"/>
                </a:lnTo>
                <a:lnTo>
                  <a:pt x="2549198" y="5054600"/>
                </a:lnTo>
                <a:lnTo>
                  <a:pt x="2534167" y="5016500"/>
                </a:lnTo>
                <a:lnTo>
                  <a:pt x="2519881" y="4978400"/>
                </a:lnTo>
                <a:lnTo>
                  <a:pt x="2506348" y="4927600"/>
                </a:lnTo>
                <a:lnTo>
                  <a:pt x="2493576" y="4889500"/>
                </a:lnTo>
                <a:lnTo>
                  <a:pt x="2481573" y="4838700"/>
                </a:lnTo>
                <a:lnTo>
                  <a:pt x="2470346" y="4787900"/>
                </a:lnTo>
                <a:lnTo>
                  <a:pt x="2459903" y="4749800"/>
                </a:lnTo>
                <a:lnTo>
                  <a:pt x="2450251" y="4699000"/>
                </a:lnTo>
                <a:lnTo>
                  <a:pt x="2441399" y="4660900"/>
                </a:lnTo>
                <a:lnTo>
                  <a:pt x="2433353" y="4610100"/>
                </a:lnTo>
                <a:lnTo>
                  <a:pt x="2426121" y="4559300"/>
                </a:lnTo>
                <a:lnTo>
                  <a:pt x="2419712" y="4508500"/>
                </a:lnTo>
                <a:lnTo>
                  <a:pt x="2414133" y="4470400"/>
                </a:lnTo>
                <a:lnTo>
                  <a:pt x="2409391" y="4419600"/>
                </a:lnTo>
                <a:lnTo>
                  <a:pt x="2405494" y="4368800"/>
                </a:lnTo>
                <a:lnTo>
                  <a:pt x="2402449" y="4318000"/>
                </a:lnTo>
                <a:lnTo>
                  <a:pt x="2400265" y="4279900"/>
                </a:lnTo>
                <a:lnTo>
                  <a:pt x="2398949" y="4229100"/>
                </a:lnTo>
                <a:lnTo>
                  <a:pt x="2398509" y="4178300"/>
                </a:lnTo>
                <a:lnTo>
                  <a:pt x="2398949" y="4127500"/>
                </a:lnTo>
                <a:lnTo>
                  <a:pt x="2400265" y="4076700"/>
                </a:lnTo>
                <a:lnTo>
                  <a:pt x="2402449" y="4025900"/>
                </a:lnTo>
                <a:lnTo>
                  <a:pt x="2405494" y="3987800"/>
                </a:lnTo>
                <a:lnTo>
                  <a:pt x="2409391" y="3937000"/>
                </a:lnTo>
                <a:lnTo>
                  <a:pt x="2414133" y="3886200"/>
                </a:lnTo>
                <a:lnTo>
                  <a:pt x="2419712" y="3835400"/>
                </a:lnTo>
                <a:lnTo>
                  <a:pt x="2426121" y="3797300"/>
                </a:lnTo>
                <a:lnTo>
                  <a:pt x="2433353" y="3746500"/>
                </a:lnTo>
                <a:lnTo>
                  <a:pt x="2441399" y="3695700"/>
                </a:lnTo>
                <a:lnTo>
                  <a:pt x="2450251" y="3657600"/>
                </a:lnTo>
                <a:lnTo>
                  <a:pt x="2459903" y="3606800"/>
                </a:lnTo>
                <a:lnTo>
                  <a:pt x="2470346" y="3556000"/>
                </a:lnTo>
                <a:lnTo>
                  <a:pt x="2481573" y="3517900"/>
                </a:lnTo>
                <a:lnTo>
                  <a:pt x="2493576" y="3467100"/>
                </a:lnTo>
                <a:lnTo>
                  <a:pt x="2506348" y="3429000"/>
                </a:lnTo>
                <a:lnTo>
                  <a:pt x="2519881" y="3378200"/>
                </a:lnTo>
                <a:lnTo>
                  <a:pt x="2534167" y="3340100"/>
                </a:lnTo>
                <a:lnTo>
                  <a:pt x="2549198" y="3289300"/>
                </a:lnTo>
                <a:lnTo>
                  <a:pt x="2564967" y="3251200"/>
                </a:lnTo>
                <a:lnTo>
                  <a:pt x="2581467" y="3213100"/>
                </a:lnTo>
                <a:lnTo>
                  <a:pt x="2598689" y="3162300"/>
                </a:lnTo>
                <a:lnTo>
                  <a:pt x="2616627" y="3124200"/>
                </a:lnTo>
                <a:lnTo>
                  <a:pt x="2635271" y="3086100"/>
                </a:lnTo>
                <a:lnTo>
                  <a:pt x="2654616" y="3035300"/>
                </a:lnTo>
                <a:lnTo>
                  <a:pt x="2674652" y="2997200"/>
                </a:lnTo>
                <a:lnTo>
                  <a:pt x="2695373" y="2959100"/>
                </a:lnTo>
                <a:lnTo>
                  <a:pt x="2716770" y="2921000"/>
                </a:lnTo>
                <a:lnTo>
                  <a:pt x="2738837" y="2882900"/>
                </a:lnTo>
                <a:lnTo>
                  <a:pt x="2761564" y="2832100"/>
                </a:lnTo>
                <a:lnTo>
                  <a:pt x="2784946" y="2794000"/>
                </a:lnTo>
                <a:lnTo>
                  <a:pt x="2808974" y="2755900"/>
                </a:lnTo>
                <a:lnTo>
                  <a:pt x="2833640" y="2717800"/>
                </a:lnTo>
                <a:lnTo>
                  <a:pt x="2858937" y="2679700"/>
                </a:lnTo>
                <a:lnTo>
                  <a:pt x="2884858" y="2641600"/>
                </a:lnTo>
                <a:lnTo>
                  <a:pt x="2911394" y="2603500"/>
                </a:lnTo>
                <a:lnTo>
                  <a:pt x="2938537" y="2578100"/>
                </a:lnTo>
                <a:lnTo>
                  <a:pt x="2966281" y="2540000"/>
                </a:lnTo>
                <a:lnTo>
                  <a:pt x="2994618" y="2501900"/>
                </a:lnTo>
                <a:lnTo>
                  <a:pt x="3023539" y="2463800"/>
                </a:lnTo>
                <a:lnTo>
                  <a:pt x="3053038" y="2438400"/>
                </a:lnTo>
                <a:lnTo>
                  <a:pt x="3083106" y="2400300"/>
                </a:lnTo>
                <a:lnTo>
                  <a:pt x="3113736" y="2362200"/>
                </a:lnTo>
                <a:lnTo>
                  <a:pt x="3144921" y="2336800"/>
                </a:lnTo>
                <a:lnTo>
                  <a:pt x="3176652" y="2298700"/>
                </a:lnTo>
                <a:lnTo>
                  <a:pt x="3208922" y="2273300"/>
                </a:lnTo>
                <a:lnTo>
                  <a:pt x="3241724" y="2235200"/>
                </a:lnTo>
                <a:lnTo>
                  <a:pt x="3275049" y="2209800"/>
                </a:lnTo>
                <a:lnTo>
                  <a:pt x="3308890" y="2184400"/>
                </a:lnTo>
                <a:lnTo>
                  <a:pt x="3343240" y="2146300"/>
                </a:lnTo>
                <a:lnTo>
                  <a:pt x="3378090" y="2120900"/>
                </a:lnTo>
                <a:lnTo>
                  <a:pt x="3449263" y="2070100"/>
                </a:lnTo>
                <a:lnTo>
                  <a:pt x="3485570" y="2044700"/>
                </a:lnTo>
                <a:lnTo>
                  <a:pt x="3522347" y="2006600"/>
                </a:lnTo>
                <a:lnTo>
                  <a:pt x="3597281" y="1955800"/>
                </a:lnTo>
                <a:lnTo>
                  <a:pt x="3635423" y="1943100"/>
                </a:lnTo>
                <a:lnTo>
                  <a:pt x="3713017" y="1892300"/>
                </a:lnTo>
                <a:lnTo>
                  <a:pt x="3792308" y="1841500"/>
                </a:lnTo>
                <a:lnTo>
                  <a:pt x="3832571" y="1828800"/>
                </a:lnTo>
                <a:lnTo>
                  <a:pt x="3873235" y="1803400"/>
                </a:lnTo>
                <a:lnTo>
                  <a:pt x="3914293" y="1790700"/>
                </a:lnTo>
                <a:lnTo>
                  <a:pt x="3955737" y="1765300"/>
                </a:lnTo>
                <a:lnTo>
                  <a:pt x="3997559" y="1752600"/>
                </a:lnTo>
                <a:lnTo>
                  <a:pt x="4039751" y="1727200"/>
                </a:lnTo>
                <a:lnTo>
                  <a:pt x="4168478" y="1689100"/>
                </a:lnTo>
                <a:lnTo>
                  <a:pt x="4212077" y="1663700"/>
                </a:lnTo>
                <a:lnTo>
                  <a:pt x="4389721" y="1612900"/>
                </a:lnTo>
                <a:lnTo>
                  <a:pt x="4434906" y="1612900"/>
                </a:lnTo>
                <a:lnTo>
                  <a:pt x="4526150" y="1587500"/>
                </a:lnTo>
                <a:lnTo>
                  <a:pt x="4572194" y="1587500"/>
                </a:lnTo>
                <a:lnTo>
                  <a:pt x="4665089" y="1562100"/>
                </a:lnTo>
                <a:lnTo>
                  <a:pt x="4759008" y="1562100"/>
                </a:lnTo>
                <a:lnTo>
                  <a:pt x="4806332" y="1549400"/>
                </a:lnTo>
                <a:lnTo>
                  <a:pt x="9266251" y="1549400"/>
                </a:lnTo>
                <a:lnTo>
                  <a:pt x="9250619" y="1524000"/>
                </a:lnTo>
                <a:lnTo>
                  <a:pt x="9226838" y="1485900"/>
                </a:lnTo>
                <a:lnTo>
                  <a:pt x="9202727" y="1447800"/>
                </a:lnTo>
                <a:lnTo>
                  <a:pt x="9178288" y="1409700"/>
                </a:lnTo>
                <a:lnTo>
                  <a:pt x="9153522" y="1371600"/>
                </a:lnTo>
                <a:lnTo>
                  <a:pt x="9128433" y="1333500"/>
                </a:lnTo>
                <a:lnTo>
                  <a:pt x="9103020" y="1295400"/>
                </a:lnTo>
                <a:lnTo>
                  <a:pt x="9077288" y="1257300"/>
                </a:lnTo>
                <a:lnTo>
                  <a:pt x="9051238" y="1219200"/>
                </a:lnTo>
                <a:lnTo>
                  <a:pt x="9024871" y="1181100"/>
                </a:lnTo>
                <a:lnTo>
                  <a:pt x="8998190" y="1143000"/>
                </a:lnTo>
                <a:lnTo>
                  <a:pt x="8971197" y="1117600"/>
                </a:lnTo>
                <a:lnTo>
                  <a:pt x="8943895" y="1079500"/>
                </a:lnTo>
                <a:lnTo>
                  <a:pt x="8916284" y="1041400"/>
                </a:lnTo>
                <a:lnTo>
                  <a:pt x="8888367" y="1003300"/>
                </a:lnTo>
                <a:lnTo>
                  <a:pt x="8860146" y="965200"/>
                </a:lnTo>
                <a:lnTo>
                  <a:pt x="8831624" y="939800"/>
                </a:lnTo>
                <a:lnTo>
                  <a:pt x="8802801" y="901700"/>
                </a:lnTo>
                <a:lnTo>
                  <a:pt x="8773681" y="863600"/>
                </a:lnTo>
                <a:lnTo>
                  <a:pt x="8744265" y="838200"/>
                </a:lnTo>
                <a:lnTo>
                  <a:pt x="8714556" y="800100"/>
                </a:lnTo>
                <a:lnTo>
                  <a:pt x="8684554" y="762000"/>
                </a:lnTo>
                <a:lnTo>
                  <a:pt x="8654263" y="736600"/>
                </a:lnTo>
                <a:lnTo>
                  <a:pt x="8623685" y="698500"/>
                </a:lnTo>
                <a:lnTo>
                  <a:pt x="8592820" y="660400"/>
                </a:lnTo>
                <a:lnTo>
                  <a:pt x="8561673" y="635000"/>
                </a:lnTo>
                <a:lnTo>
                  <a:pt x="8530243" y="596900"/>
                </a:lnTo>
                <a:lnTo>
                  <a:pt x="8498535" y="571500"/>
                </a:lnTo>
                <a:lnTo>
                  <a:pt x="8466549" y="533400"/>
                </a:lnTo>
                <a:lnTo>
                  <a:pt x="8434287" y="508000"/>
                </a:lnTo>
                <a:lnTo>
                  <a:pt x="8401752" y="469900"/>
                </a:lnTo>
                <a:lnTo>
                  <a:pt x="8335871" y="419100"/>
                </a:lnTo>
                <a:lnTo>
                  <a:pt x="8302528" y="381000"/>
                </a:lnTo>
                <a:lnTo>
                  <a:pt x="8235049" y="330200"/>
                </a:lnTo>
                <a:lnTo>
                  <a:pt x="8200917" y="292100"/>
                </a:lnTo>
                <a:lnTo>
                  <a:pt x="8096975" y="215900"/>
                </a:lnTo>
                <a:lnTo>
                  <a:pt x="8061819" y="177800"/>
                </a:lnTo>
                <a:lnTo>
                  <a:pt x="7918705" y="76200"/>
                </a:lnTo>
                <a:lnTo>
                  <a:pt x="7845683" y="25400"/>
                </a:lnTo>
                <a:lnTo>
                  <a:pt x="7823267" y="0"/>
                </a:lnTo>
                <a:close/>
              </a:path>
              <a:path w="10685144" h="8229600">
                <a:moveTo>
                  <a:pt x="9266251" y="1549400"/>
                </a:moveTo>
                <a:lnTo>
                  <a:pt x="5189435" y="1549400"/>
                </a:lnTo>
                <a:lnTo>
                  <a:pt x="5236760" y="1562100"/>
                </a:lnTo>
                <a:lnTo>
                  <a:pt x="5330680" y="1562100"/>
                </a:lnTo>
                <a:lnTo>
                  <a:pt x="5423577" y="1587500"/>
                </a:lnTo>
                <a:lnTo>
                  <a:pt x="5469622" y="1587500"/>
                </a:lnTo>
                <a:lnTo>
                  <a:pt x="5560867" y="1612900"/>
                </a:lnTo>
                <a:lnTo>
                  <a:pt x="5606052" y="1612900"/>
                </a:lnTo>
                <a:lnTo>
                  <a:pt x="5783698" y="1663700"/>
                </a:lnTo>
                <a:lnTo>
                  <a:pt x="5827297" y="1689100"/>
                </a:lnTo>
                <a:lnTo>
                  <a:pt x="5956023" y="1727200"/>
                </a:lnTo>
                <a:lnTo>
                  <a:pt x="5998216" y="1752600"/>
                </a:lnTo>
                <a:lnTo>
                  <a:pt x="6040038" y="1765300"/>
                </a:lnTo>
                <a:lnTo>
                  <a:pt x="6081482" y="1790700"/>
                </a:lnTo>
                <a:lnTo>
                  <a:pt x="6122539" y="1803400"/>
                </a:lnTo>
                <a:lnTo>
                  <a:pt x="6163203" y="1828800"/>
                </a:lnTo>
                <a:lnTo>
                  <a:pt x="6203466" y="1841500"/>
                </a:lnTo>
                <a:lnTo>
                  <a:pt x="6282756" y="1892300"/>
                </a:lnTo>
                <a:lnTo>
                  <a:pt x="6360350" y="1943100"/>
                </a:lnTo>
                <a:lnTo>
                  <a:pt x="6398491" y="1955800"/>
                </a:lnTo>
                <a:lnTo>
                  <a:pt x="6473424" y="2006600"/>
                </a:lnTo>
                <a:lnTo>
                  <a:pt x="6510200" y="2044700"/>
                </a:lnTo>
                <a:lnTo>
                  <a:pt x="6546507" y="2070100"/>
                </a:lnTo>
                <a:lnTo>
                  <a:pt x="6617678" y="2120900"/>
                </a:lnTo>
                <a:lnTo>
                  <a:pt x="6652528" y="2146300"/>
                </a:lnTo>
                <a:lnTo>
                  <a:pt x="6686877" y="2184400"/>
                </a:lnTo>
                <a:lnTo>
                  <a:pt x="6720718" y="2209800"/>
                </a:lnTo>
                <a:lnTo>
                  <a:pt x="6754042" y="2235200"/>
                </a:lnTo>
                <a:lnTo>
                  <a:pt x="6786843" y="2273300"/>
                </a:lnTo>
                <a:lnTo>
                  <a:pt x="6819113" y="2298700"/>
                </a:lnTo>
                <a:lnTo>
                  <a:pt x="6850843" y="2336800"/>
                </a:lnTo>
                <a:lnTo>
                  <a:pt x="6882027" y="2362200"/>
                </a:lnTo>
                <a:lnTo>
                  <a:pt x="6912656" y="2400300"/>
                </a:lnTo>
                <a:lnTo>
                  <a:pt x="6942724" y="2438400"/>
                </a:lnTo>
                <a:lnTo>
                  <a:pt x="6972222" y="2463800"/>
                </a:lnTo>
                <a:lnTo>
                  <a:pt x="7001142" y="2501900"/>
                </a:lnTo>
                <a:lnTo>
                  <a:pt x="7029478" y="2540000"/>
                </a:lnTo>
                <a:lnTo>
                  <a:pt x="7057221" y="2578100"/>
                </a:lnTo>
                <a:lnTo>
                  <a:pt x="7084364" y="2603500"/>
                </a:lnTo>
                <a:lnTo>
                  <a:pt x="7110899" y="2641600"/>
                </a:lnTo>
                <a:lnTo>
                  <a:pt x="7136818" y="2679700"/>
                </a:lnTo>
                <a:lnTo>
                  <a:pt x="7162115" y="2717800"/>
                </a:lnTo>
                <a:lnTo>
                  <a:pt x="7186780" y="2755900"/>
                </a:lnTo>
                <a:lnTo>
                  <a:pt x="7210807" y="2794000"/>
                </a:lnTo>
                <a:lnTo>
                  <a:pt x="7234188" y="2832100"/>
                </a:lnTo>
                <a:lnTo>
                  <a:pt x="7256915" y="2882900"/>
                </a:lnTo>
                <a:lnTo>
                  <a:pt x="7278981" y="2921000"/>
                </a:lnTo>
                <a:lnTo>
                  <a:pt x="7300378" y="2959100"/>
                </a:lnTo>
                <a:lnTo>
                  <a:pt x="7321097" y="2997200"/>
                </a:lnTo>
                <a:lnTo>
                  <a:pt x="7341133" y="3035300"/>
                </a:lnTo>
                <a:lnTo>
                  <a:pt x="7360477" y="3086100"/>
                </a:lnTo>
                <a:lnTo>
                  <a:pt x="7379120" y="3124200"/>
                </a:lnTo>
                <a:lnTo>
                  <a:pt x="7397057" y="3162300"/>
                </a:lnTo>
                <a:lnTo>
                  <a:pt x="7414279" y="3213100"/>
                </a:lnTo>
                <a:lnTo>
                  <a:pt x="7430778" y="3251200"/>
                </a:lnTo>
                <a:lnTo>
                  <a:pt x="7446546" y="3289300"/>
                </a:lnTo>
                <a:lnTo>
                  <a:pt x="7461577" y="3340100"/>
                </a:lnTo>
                <a:lnTo>
                  <a:pt x="7475862" y="3378200"/>
                </a:lnTo>
                <a:lnTo>
                  <a:pt x="7489394" y="3429000"/>
                </a:lnTo>
                <a:lnTo>
                  <a:pt x="7502166" y="3467100"/>
                </a:lnTo>
                <a:lnTo>
                  <a:pt x="7514168" y="3517900"/>
                </a:lnTo>
                <a:lnTo>
                  <a:pt x="7525395" y="3556000"/>
                </a:lnTo>
                <a:lnTo>
                  <a:pt x="7535837" y="3606800"/>
                </a:lnTo>
                <a:lnTo>
                  <a:pt x="7545489" y="3657600"/>
                </a:lnTo>
                <a:lnTo>
                  <a:pt x="7554341" y="3695700"/>
                </a:lnTo>
                <a:lnTo>
                  <a:pt x="7562386" y="3746500"/>
                </a:lnTo>
                <a:lnTo>
                  <a:pt x="7569617" y="3797300"/>
                </a:lnTo>
                <a:lnTo>
                  <a:pt x="7576026" y="3835400"/>
                </a:lnTo>
                <a:lnTo>
                  <a:pt x="7581605" y="3886200"/>
                </a:lnTo>
                <a:lnTo>
                  <a:pt x="7586347" y="3937000"/>
                </a:lnTo>
                <a:lnTo>
                  <a:pt x="7590244" y="3987800"/>
                </a:lnTo>
                <a:lnTo>
                  <a:pt x="7593288" y="4025900"/>
                </a:lnTo>
                <a:lnTo>
                  <a:pt x="7595472" y="4076700"/>
                </a:lnTo>
                <a:lnTo>
                  <a:pt x="7596788" y="4127500"/>
                </a:lnTo>
                <a:lnTo>
                  <a:pt x="7597228" y="4178300"/>
                </a:lnTo>
                <a:lnTo>
                  <a:pt x="7596788" y="4229100"/>
                </a:lnTo>
                <a:lnTo>
                  <a:pt x="7595472" y="4279900"/>
                </a:lnTo>
                <a:lnTo>
                  <a:pt x="7593288" y="4318000"/>
                </a:lnTo>
                <a:lnTo>
                  <a:pt x="7590244" y="4368800"/>
                </a:lnTo>
                <a:lnTo>
                  <a:pt x="7586347" y="4419600"/>
                </a:lnTo>
                <a:lnTo>
                  <a:pt x="7581605" y="4470400"/>
                </a:lnTo>
                <a:lnTo>
                  <a:pt x="7576026" y="4508500"/>
                </a:lnTo>
                <a:lnTo>
                  <a:pt x="7569617" y="4559300"/>
                </a:lnTo>
                <a:lnTo>
                  <a:pt x="7562386" y="4610100"/>
                </a:lnTo>
                <a:lnTo>
                  <a:pt x="7554341" y="4660900"/>
                </a:lnTo>
                <a:lnTo>
                  <a:pt x="7545489" y="4699000"/>
                </a:lnTo>
                <a:lnTo>
                  <a:pt x="7535837" y="4749800"/>
                </a:lnTo>
                <a:lnTo>
                  <a:pt x="7525395" y="4787900"/>
                </a:lnTo>
                <a:lnTo>
                  <a:pt x="7514168" y="4838700"/>
                </a:lnTo>
                <a:lnTo>
                  <a:pt x="7502166" y="4889500"/>
                </a:lnTo>
                <a:lnTo>
                  <a:pt x="7489394" y="4927600"/>
                </a:lnTo>
                <a:lnTo>
                  <a:pt x="7475862" y="4978400"/>
                </a:lnTo>
                <a:lnTo>
                  <a:pt x="7461577" y="5016500"/>
                </a:lnTo>
                <a:lnTo>
                  <a:pt x="7446546" y="5054600"/>
                </a:lnTo>
                <a:lnTo>
                  <a:pt x="7430778" y="5105400"/>
                </a:lnTo>
                <a:lnTo>
                  <a:pt x="7414279" y="5143500"/>
                </a:lnTo>
                <a:lnTo>
                  <a:pt x="7397057" y="5194300"/>
                </a:lnTo>
                <a:lnTo>
                  <a:pt x="7379120" y="5232400"/>
                </a:lnTo>
                <a:lnTo>
                  <a:pt x="7360477" y="5270500"/>
                </a:lnTo>
                <a:lnTo>
                  <a:pt x="7341133" y="5321300"/>
                </a:lnTo>
                <a:lnTo>
                  <a:pt x="7321097" y="5359400"/>
                </a:lnTo>
                <a:lnTo>
                  <a:pt x="7300378" y="5397500"/>
                </a:lnTo>
                <a:lnTo>
                  <a:pt x="7278981" y="5435600"/>
                </a:lnTo>
                <a:lnTo>
                  <a:pt x="7256915" y="5473700"/>
                </a:lnTo>
                <a:lnTo>
                  <a:pt x="7234188" y="5511800"/>
                </a:lnTo>
                <a:lnTo>
                  <a:pt x="7210807" y="5562600"/>
                </a:lnTo>
                <a:lnTo>
                  <a:pt x="7186780" y="5600700"/>
                </a:lnTo>
                <a:lnTo>
                  <a:pt x="7162115" y="5638800"/>
                </a:lnTo>
                <a:lnTo>
                  <a:pt x="7136818" y="5676900"/>
                </a:lnTo>
                <a:lnTo>
                  <a:pt x="7110899" y="5702300"/>
                </a:lnTo>
                <a:lnTo>
                  <a:pt x="7084364" y="5740400"/>
                </a:lnTo>
                <a:lnTo>
                  <a:pt x="7057221" y="5778500"/>
                </a:lnTo>
                <a:lnTo>
                  <a:pt x="7029478" y="5816600"/>
                </a:lnTo>
                <a:lnTo>
                  <a:pt x="7001142" y="5854700"/>
                </a:lnTo>
                <a:lnTo>
                  <a:pt x="6972222" y="5892800"/>
                </a:lnTo>
                <a:lnTo>
                  <a:pt x="6942724" y="5918200"/>
                </a:lnTo>
                <a:lnTo>
                  <a:pt x="6912656" y="5956300"/>
                </a:lnTo>
                <a:lnTo>
                  <a:pt x="6882027" y="5994400"/>
                </a:lnTo>
                <a:lnTo>
                  <a:pt x="6850843" y="6019800"/>
                </a:lnTo>
                <a:lnTo>
                  <a:pt x="6819113" y="6057900"/>
                </a:lnTo>
                <a:lnTo>
                  <a:pt x="6786843" y="6083300"/>
                </a:lnTo>
                <a:lnTo>
                  <a:pt x="6754042" y="6121400"/>
                </a:lnTo>
                <a:lnTo>
                  <a:pt x="6720718" y="6146800"/>
                </a:lnTo>
                <a:lnTo>
                  <a:pt x="6686877" y="6172200"/>
                </a:lnTo>
                <a:lnTo>
                  <a:pt x="6652528" y="6210300"/>
                </a:lnTo>
                <a:lnTo>
                  <a:pt x="6617678" y="6235700"/>
                </a:lnTo>
                <a:lnTo>
                  <a:pt x="6546507" y="6286500"/>
                </a:lnTo>
                <a:lnTo>
                  <a:pt x="6473424" y="6337300"/>
                </a:lnTo>
                <a:lnTo>
                  <a:pt x="6398491" y="6388100"/>
                </a:lnTo>
                <a:lnTo>
                  <a:pt x="6321769" y="6438900"/>
                </a:lnTo>
                <a:lnTo>
                  <a:pt x="6243319" y="6489700"/>
                </a:lnTo>
                <a:lnTo>
                  <a:pt x="6203466" y="6502400"/>
                </a:lnTo>
                <a:lnTo>
                  <a:pt x="6122539" y="6553200"/>
                </a:lnTo>
                <a:lnTo>
                  <a:pt x="6081482" y="6565900"/>
                </a:lnTo>
                <a:lnTo>
                  <a:pt x="6040038" y="6591300"/>
                </a:lnTo>
                <a:lnTo>
                  <a:pt x="5998216" y="6604000"/>
                </a:lnTo>
                <a:lnTo>
                  <a:pt x="5956023" y="6629400"/>
                </a:lnTo>
                <a:lnTo>
                  <a:pt x="5739766" y="6692900"/>
                </a:lnTo>
                <a:lnTo>
                  <a:pt x="5695510" y="6718300"/>
                </a:lnTo>
                <a:lnTo>
                  <a:pt x="5650936" y="6718300"/>
                </a:lnTo>
                <a:lnTo>
                  <a:pt x="5469622" y="6769100"/>
                </a:lnTo>
                <a:lnTo>
                  <a:pt x="5423577" y="6769100"/>
                </a:lnTo>
                <a:lnTo>
                  <a:pt x="5377260" y="6781800"/>
                </a:lnTo>
                <a:lnTo>
                  <a:pt x="5330680" y="6781800"/>
                </a:lnTo>
                <a:lnTo>
                  <a:pt x="5283845" y="6794500"/>
                </a:lnTo>
                <a:lnTo>
                  <a:pt x="5236760" y="6794500"/>
                </a:lnTo>
                <a:lnTo>
                  <a:pt x="5189435" y="6807200"/>
                </a:lnTo>
                <a:lnTo>
                  <a:pt x="9304082" y="6807200"/>
                </a:lnTo>
                <a:lnTo>
                  <a:pt x="9278975" y="6781800"/>
                </a:lnTo>
                <a:lnTo>
                  <a:pt x="9303589" y="6743700"/>
                </a:lnTo>
                <a:lnTo>
                  <a:pt x="9327819" y="6705600"/>
                </a:lnTo>
                <a:lnTo>
                  <a:pt x="9351661" y="6654800"/>
                </a:lnTo>
                <a:lnTo>
                  <a:pt x="9375113" y="6616700"/>
                </a:lnTo>
                <a:lnTo>
                  <a:pt x="9398173" y="6578600"/>
                </a:lnTo>
                <a:lnTo>
                  <a:pt x="9420838" y="6527800"/>
                </a:lnTo>
                <a:lnTo>
                  <a:pt x="9443105" y="6489700"/>
                </a:lnTo>
                <a:lnTo>
                  <a:pt x="9464973" y="6438900"/>
                </a:lnTo>
                <a:lnTo>
                  <a:pt x="9486438" y="6400800"/>
                </a:lnTo>
                <a:lnTo>
                  <a:pt x="9507499" y="6362700"/>
                </a:lnTo>
                <a:lnTo>
                  <a:pt x="9528152" y="6311900"/>
                </a:lnTo>
                <a:lnTo>
                  <a:pt x="9548395" y="6273800"/>
                </a:lnTo>
                <a:lnTo>
                  <a:pt x="9568226" y="6223000"/>
                </a:lnTo>
                <a:lnTo>
                  <a:pt x="9587642" y="6184900"/>
                </a:lnTo>
                <a:lnTo>
                  <a:pt x="9606641" y="6134100"/>
                </a:lnTo>
                <a:lnTo>
                  <a:pt x="9625220" y="6083300"/>
                </a:lnTo>
                <a:lnTo>
                  <a:pt x="9643377" y="6045200"/>
                </a:lnTo>
                <a:lnTo>
                  <a:pt x="9661109" y="5994400"/>
                </a:lnTo>
                <a:lnTo>
                  <a:pt x="9678413" y="5956300"/>
                </a:lnTo>
                <a:lnTo>
                  <a:pt x="9695288" y="5905500"/>
                </a:lnTo>
                <a:lnTo>
                  <a:pt x="9711730" y="5854700"/>
                </a:lnTo>
                <a:lnTo>
                  <a:pt x="9727738" y="5816600"/>
                </a:lnTo>
                <a:lnTo>
                  <a:pt x="9743308" y="5765800"/>
                </a:lnTo>
                <a:lnTo>
                  <a:pt x="9758439" y="5715000"/>
                </a:lnTo>
                <a:lnTo>
                  <a:pt x="9773127" y="5676900"/>
                </a:lnTo>
                <a:lnTo>
                  <a:pt x="9787371" y="5626100"/>
                </a:lnTo>
                <a:lnTo>
                  <a:pt x="9801167" y="5575300"/>
                </a:lnTo>
                <a:lnTo>
                  <a:pt x="9814514" y="5524500"/>
                </a:lnTo>
                <a:lnTo>
                  <a:pt x="9827408" y="5486400"/>
                </a:lnTo>
                <a:lnTo>
                  <a:pt x="9839847" y="5435600"/>
                </a:lnTo>
                <a:lnTo>
                  <a:pt x="9851830" y="5384800"/>
                </a:lnTo>
                <a:lnTo>
                  <a:pt x="9863352" y="5334000"/>
                </a:lnTo>
                <a:lnTo>
                  <a:pt x="9874412" y="5283200"/>
                </a:lnTo>
                <a:lnTo>
                  <a:pt x="9885008" y="5245100"/>
                </a:lnTo>
                <a:lnTo>
                  <a:pt x="9895136" y="5194300"/>
                </a:lnTo>
                <a:lnTo>
                  <a:pt x="9904795" y="5143500"/>
                </a:lnTo>
                <a:lnTo>
                  <a:pt x="9913981" y="5092700"/>
                </a:lnTo>
                <a:lnTo>
                  <a:pt x="9922692" y="5041900"/>
                </a:lnTo>
                <a:lnTo>
                  <a:pt x="9930927" y="4991100"/>
                </a:lnTo>
                <a:lnTo>
                  <a:pt x="9938681" y="4940300"/>
                </a:lnTo>
                <a:lnTo>
                  <a:pt x="9945954" y="4889500"/>
                </a:lnTo>
                <a:lnTo>
                  <a:pt x="9952741" y="4838700"/>
                </a:lnTo>
                <a:lnTo>
                  <a:pt x="9959042" y="4787900"/>
                </a:lnTo>
                <a:lnTo>
                  <a:pt x="9964853" y="4737100"/>
                </a:lnTo>
                <a:lnTo>
                  <a:pt x="9970171" y="4686300"/>
                </a:lnTo>
                <a:lnTo>
                  <a:pt x="9974995" y="4635500"/>
                </a:lnTo>
                <a:lnTo>
                  <a:pt x="9979322" y="4584700"/>
                </a:lnTo>
                <a:lnTo>
                  <a:pt x="9983149" y="4533900"/>
                </a:lnTo>
                <a:lnTo>
                  <a:pt x="9986474" y="4483100"/>
                </a:lnTo>
                <a:lnTo>
                  <a:pt x="9989294" y="4432300"/>
                </a:lnTo>
                <a:lnTo>
                  <a:pt x="9991607" y="4381500"/>
                </a:lnTo>
                <a:lnTo>
                  <a:pt x="9993411" y="4330700"/>
                </a:lnTo>
                <a:lnTo>
                  <a:pt x="9994702" y="4279900"/>
                </a:lnTo>
                <a:lnTo>
                  <a:pt x="9995478" y="4229100"/>
                </a:lnTo>
                <a:lnTo>
                  <a:pt x="9995738" y="4178300"/>
                </a:lnTo>
                <a:lnTo>
                  <a:pt x="9995511" y="4127500"/>
                </a:lnTo>
                <a:lnTo>
                  <a:pt x="9994831" y="4076700"/>
                </a:lnTo>
                <a:lnTo>
                  <a:pt x="9993701" y="4025900"/>
                </a:lnTo>
                <a:lnTo>
                  <a:pt x="9992122" y="3987800"/>
                </a:lnTo>
                <a:lnTo>
                  <a:pt x="9990096" y="3937000"/>
                </a:lnTo>
                <a:lnTo>
                  <a:pt x="9987626" y="3886200"/>
                </a:lnTo>
                <a:lnTo>
                  <a:pt x="9984714" y="3835400"/>
                </a:lnTo>
                <a:lnTo>
                  <a:pt x="9981361" y="3797300"/>
                </a:lnTo>
                <a:lnTo>
                  <a:pt x="9977569" y="3746500"/>
                </a:lnTo>
                <a:lnTo>
                  <a:pt x="9973342" y="3695700"/>
                </a:lnTo>
                <a:lnTo>
                  <a:pt x="9968680" y="3644900"/>
                </a:lnTo>
                <a:lnTo>
                  <a:pt x="9963585" y="3606800"/>
                </a:lnTo>
                <a:lnTo>
                  <a:pt x="9958061" y="3556000"/>
                </a:lnTo>
                <a:lnTo>
                  <a:pt x="9952108" y="3505200"/>
                </a:lnTo>
                <a:lnTo>
                  <a:pt x="9945729" y="3454400"/>
                </a:lnTo>
                <a:lnTo>
                  <a:pt x="9938926" y="3416300"/>
                </a:lnTo>
                <a:lnTo>
                  <a:pt x="9931700" y="3365500"/>
                </a:lnTo>
                <a:lnTo>
                  <a:pt x="9924055" y="3314700"/>
                </a:lnTo>
                <a:lnTo>
                  <a:pt x="9915992" y="3276600"/>
                </a:lnTo>
                <a:lnTo>
                  <a:pt x="9907512" y="3225800"/>
                </a:lnTo>
                <a:lnTo>
                  <a:pt x="9898619" y="3187700"/>
                </a:lnTo>
                <a:lnTo>
                  <a:pt x="9889314" y="3136900"/>
                </a:lnTo>
                <a:lnTo>
                  <a:pt x="9879599" y="3086100"/>
                </a:lnTo>
                <a:lnTo>
                  <a:pt x="9869476" y="3048000"/>
                </a:lnTo>
                <a:lnTo>
                  <a:pt x="9858947" y="2997200"/>
                </a:lnTo>
                <a:lnTo>
                  <a:pt x="9848015" y="2959100"/>
                </a:lnTo>
                <a:lnTo>
                  <a:pt x="9836680" y="2908300"/>
                </a:lnTo>
                <a:lnTo>
                  <a:pt x="9824946" y="2870200"/>
                </a:lnTo>
                <a:lnTo>
                  <a:pt x="9812815" y="2819400"/>
                </a:lnTo>
                <a:lnTo>
                  <a:pt x="9800288" y="2768600"/>
                </a:lnTo>
                <a:lnTo>
                  <a:pt x="9787367" y="2730500"/>
                </a:lnTo>
                <a:lnTo>
                  <a:pt x="9774055" y="2679700"/>
                </a:lnTo>
                <a:lnTo>
                  <a:pt x="9760353" y="2641600"/>
                </a:lnTo>
                <a:lnTo>
                  <a:pt x="9746263" y="2603500"/>
                </a:lnTo>
                <a:lnTo>
                  <a:pt x="9731789" y="2552700"/>
                </a:lnTo>
                <a:lnTo>
                  <a:pt x="9716931" y="2514600"/>
                </a:lnTo>
                <a:lnTo>
                  <a:pt x="9701691" y="2463800"/>
                </a:lnTo>
                <a:lnTo>
                  <a:pt x="9686072" y="2425700"/>
                </a:lnTo>
                <a:lnTo>
                  <a:pt x="9670076" y="2374900"/>
                </a:lnTo>
                <a:lnTo>
                  <a:pt x="9653705" y="2336800"/>
                </a:lnTo>
                <a:lnTo>
                  <a:pt x="9636961" y="2298700"/>
                </a:lnTo>
                <a:lnTo>
                  <a:pt x="9619845" y="2247900"/>
                </a:lnTo>
                <a:lnTo>
                  <a:pt x="9602360" y="2209800"/>
                </a:lnTo>
                <a:lnTo>
                  <a:pt x="9584509" y="2171700"/>
                </a:lnTo>
                <a:lnTo>
                  <a:pt x="9566292" y="2120900"/>
                </a:lnTo>
                <a:lnTo>
                  <a:pt x="9547712" y="2082800"/>
                </a:lnTo>
                <a:lnTo>
                  <a:pt x="9528771" y="2044700"/>
                </a:lnTo>
                <a:lnTo>
                  <a:pt x="9509471" y="2006600"/>
                </a:lnTo>
                <a:lnTo>
                  <a:pt x="9489814" y="1955800"/>
                </a:lnTo>
                <a:lnTo>
                  <a:pt x="9469803" y="1917700"/>
                </a:lnTo>
                <a:lnTo>
                  <a:pt x="9449439" y="1879600"/>
                </a:lnTo>
                <a:lnTo>
                  <a:pt x="9428723" y="1841500"/>
                </a:lnTo>
                <a:lnTo>
                  <a:pt x="9407660" y="1803400"/>
                </a:lnTo>
                <a:lnTo>
                  <a:pt x="9386249" y="1752600"/>
                </a:lnTo>
                <a:lnTo>
                  <a:pt x="9364494" y="1714500"/>
                </a:lnTo>
                <a:lnTo>
                  <a:pt x="9342396" y="1676400"/>
                </a:lnTo>
                <a:lnTo>
                  <a:pt x="9319957" y="1638300"/>
                </a:lnTo>
                <a:lnTo>
                  <a:pt x="9297180" y="1600200"/>
                </a:lnTo>
                <a:lnTo>
                  <a:pt x="9274067" y="1562100"/>
                </a:lnTo>
                <a:lnTo>
                  <a:pt x="9266251" y="1549400"/>
                </a:lnTo>
                <a:close/>
              </a:path>
            </a:pathLst>
          </a:custGeom>
          <a:solidFill>
            <a:srgbClr val="2C6CF6">
              <a:alpha val="11997"/>
            </a:srgbClr>
          </a:solidFill>
        </p:spPr>
        <p:txBody>
          <a:bodyPr wrap="square" lIns="0" tIns="0" rIns="0" bIns="0" rtlCol="0"/>
          <a:lstStyle/>
          <a:p>
            <a:endParaRPr sz="180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5" y="6435204"/>
            <a:ext cx="901875" cy="365125"/>
          </a:xfrm>
          <a:prstGeom prst="rect">
            <a:avLst/>
          </a:prstGeom>
          <a:ln>
            <a:noFill/>
          </a:ln>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a:p>
        </p:txBody>
      </p:sp>
      <p:sp>
        <p:nvSpPr>
          <p:cNvPr id="2" name="TextBox 1">
            <a:extLst>
              <a:ext uri="{FF2B5EF4-FFF2-40B4-BE49-F238E27FC236}">
                <a16:creationId xmlns:a16="http://schemas.microsoft.com/office/drawing/2014/main" id="{96FAE4D6-0FBC-D546-E065-843A050CC164}"/>
              </a:ext>
            </a:extLst>
          </p:cNvPr>
          <p:cNvSpPr txBox="1"/>
          <p:nvPr userDrawn="1"/>
        </p:nvSpPr>
        <p:spPr>
          <a:xfrm>
            <a:off x="8835026" y="6517928"/>
            <a:ext cx="2601239" cy="200055"/>
          </a:xfrm>
          <a:prstGeom prst="rect">
            <a:avLst/>
          </a:prstGeom>
          <a:noFill/>
          <a:ln>
            <a:noFill/>
          </a:ln>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a:solidFill>
                  <a:schemeClr val="tx1"/>
                </a:solidFill>
              </a:rPr>
              <a:t>© 2023 Nielsen Consumer LLC. All Rights Reserved.</a:t>
            </a:r>
          </a:p>
        </p:txBody>
      </p:sp>
      <p:pic>
        <p:nvPicPr>
          <p:cNvPr id="3" name="Picture 2">
            <a:extLst>
              <a:ext uri="{FF2B5EF4-FFF2-40B4-BE49-F238E27FC236}">
                <a16:creationId xmlns:a16="http://schemas.microsoft.com/office/drawing/2014/main" id="{21901150-267C-0CB6-0970-C8AA9D74E62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9" y="6495103"/>
            <a:ext cx="644652" cy="274320"/>
          </a:xfrm>
          <a:prstGeom prst="rect">
            <a:avLst/>
          </a:prstGeom>
        </p:spPr>
      </p:pic>
      <p:grpSp>
        <p:nvGrpSpPr>
          <p:cNvPr id="9" name="Group 8">
            <a:extLst>
              <a:ext uri="{FF2B5EF4-FFF2-40B4-BE49-F238E27FC236}">
                <a16:creationId xmlns:a16="http://schemas.microsoft.com/office/drawing/2014/main" id="{16772E64-848D-E11A-25E5-C0C9EF0FD4A4}"/>
              </a:ext>
            </a:extLst>
          </p:cNvPr>
          <p:cNvGrpSpPr/>
          <p:nvPr userDrawn="1"/>
        </p:nvGrpSpPr>
        <p:grpSpPr>
          <a:xfrm>
            <a:off x="2669838" y="1522425"/>
            <a:ext cx="6852327" cy="2755944"/>
            <a:chOff x="288558" y="1942832"/>
            <a:chExt cx="6852326" cy="2755944"/>
          </a:xfrm>
        </p:grpSpPr>
        <p:sp>
          <p:nvSpPr>
            <p:cNvPr id="5" name="TextBox 4">
              <a:extLst>
                <a:ext uri="{FF2B5EF4-FFF2-40B4-BE49-F238E27FC236}">
                  <a16:creationId xmlns:a16="http://schemas.microsoft.com/office/drawing/2014/main" id="{9E788ED0-C34D-9A83-6510-E8B6FB8024CD}"/>
                </a:ext>
              </a:extLst>
            </p:cNvPr>
            <p:cNvSpPr txBox="1"/>
            <p:nvPr userDrawn="1"/>
          </p:nvSpPr>
          <p:spPr>
            <a:xfrm>
              <a:off x="288558" y="2118244"/>
              <a:ext cx="6852326" cy="2580532"/>
            </a:xfrm>
            <a:prstGeom prst="rect">
              <a:avLst/>
            </a:prstGeom>
            <a:noFill/>
          </p:spPr>
          <p:txBody>
            <a:bodyPr wrap="square" lIns="0" rIns="0" rtlCol="0" anchor="b">
              <a:noAutofit/>
            </a:bodyPr>
            <a:lstStyle/>
            <a:p>
              <a:pPr algn="l">
                <a:spcAft>
                  <a:spcPts val="600"/>
                </a:spcAft>
              </a:pPr>
              <a:r>
                <a:rPr lang="en-US" sz="4400" i="0">
                  <a:solidFill>
                    <a:schemeClr val="tx1">
                      <a:lumMod val="20000"/>
                      <a:lumOff val="80000"/>
                    </a:schemeClr>
                  </a:solidFill>
                  <a:latin typeface="Georgia" panose="02040502050405020303" pitchFamily="18" charset="0"/>
                </a:rPr>
                <a:t>We’re entering a new era </a:t>
              </a:r>
              <a:br>
                <a:rPr lang="en-US" sz="4400" i="0">
                  <a:solidFill>
                    <a:schemeClr val="tx1">
                      <a:lumMod val="20000"/>
                      <a:lumOff val="80000"/>
                    </a:schemeClr>
                  </a:solidFill>
                  <a:latin typeface="Georgia" panose="02040502050405020303" pitchFamily="18" charset="0"/>
                </a:rPr>
              </a:br>
              <a:r>
                <a:rPr lang="en-US" sz="4400" i="0">
                  <a:solidFill>
                    <a:schemeClr val="tx1">
                      <a:lumMod val="20000"/>
                      <a:lumOff val="80000"/>
                    </a:schemeClr>
                  </a:solidFill>
                  <a:latin typeface="Georgia" panose="02040502050405020303" pitchFamily="18" charset="0"/>
                </a:rPr>
                <a:t>of consumer understanding and growth.</a:t>
              </a:r>
            </a:p>
          </p:txBody>
        </p:sp>
        <p:sp>
          <p:nvSpPr>
            <p:cNvPr id="12" name="TextBox 11">
              <a:extLst>
                <a:ext uri="{FF2B5EF4-FFF2-40B4-BE49-F238E27FC236}">
                  <a16:creationId xmlns:a16="http://schemas.microsoft.com/office/drawing/2014/main" id="{937A824E-6B9D-B23E-7B8D-61847F61E6EC}"/>
                </a:ext>
              </a:extLst>
            </p:cNvPr>
            <p:cNvSpPr txBox="1"/>
            <p:nvPr userDrawn="1"/>
          </p:nvSpPr>
          <p:spPr>
            <a:xfrm>
              <a:off x="1581150" y="1942832"/>
              <a:ext cx="2652445" cy="809439"/>
            </a:xfrm>
            <a:prstGeom prst="rect">
              <a:avLst/>
            </a:prstGeom>
            <a:noFill/>
          </p:spPr>
          <p:txBody>
            <a:bodyPr wrap="square" lIns="0" rIns="0" rtlCol="0" anchor="b">
              <a:noAutofit/>
            </a:bodyPr>
            <a:lstStyle/>
            <a:p>
              <a:pPr algn="ctr">
                <a:spcAft>
                  <a:spcPts val="600"/>
                </a:spcAft>
              </a:pPr>
              <a:r>
                <a:rPr lang="en-US" sz="4400" b="0" i="1">
                  <a:solidFill>
                    <a:schemeClr val="accent1"/>
                  </a:solidFill>
                  <a:latin typeface="Georgia" panose="02040502050405020303" pitchFamily="18" charset="0"/>
                </a:rPr>
                <a:t>creating</a:t>
              </a:r>
            </a:p>
          </p:txBody>
        </p:sp>
        <p:sp>
          <p:nvSpPr>
            <p:cNvPr id="13" name="Rectangle 12">
              <a:extLst>
                <a:ext uri="{FF2B5EF4-FFF2-40B4-BE49-F238E27FC236}">
                  <a16:creationId xmlns:a16="http://schemas.microsoft.com/office/drawing/2014/main" id="{6524184D-A190-2364-6543-7DC2B8C40CBF}"/>
                </a:ext>
              </a:extLst>
            </p:cNvPr>
            <p:cNvSpPr/>
            <p:nvPr userDrawn="1"/>
          </p:nvSpPr>
          <p:spPr>
            <a:xfrm>
              <a:off x="1783422" y="3030111"/>
              <a:ext cx="22479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a:p>
          </p:txBody>
        </p:sp>
      </p:grpSp>
    </p:spTree>
    <p:extLst>
      <p:ext uri="{BB962C8B-B14F-4D97-AF65-F5344CB8AC3E}">
        <p14:creationId xmlns:p14="http://schemas.microsoft.com/office/powerpoint/2010/main" val="580194878"/>
      </p:ext>
    </p:extLst>
  </p:cSld>
  <p:clrMapOvr>
    <a:overrideClrMapping bg1="dk1" tx1="lt1" bg2="dk2" tx2="lt2" accent1="accent1" accent2="accent2" accent3="accent3" accent4="accent4" accent5="accent5" accent6="accent6" hlink="hlink" folHlink="folHlink"/>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3" y="1671357"/>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userDrawn="1"/>
        </p:nvCxnSpPr>
        <p:spPr>
          <a:xfrm>
            <a:off x="4259855" y="6395755"/>
            <a:ext cx="76339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6"/>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60" y="3515513"/>
            <a:ext cx="3503953" cy="436211"/>
          </a:xfrm>
        </p:spPr>
        <p:txBody>
          <a:bodyPr>
            <a:noAutofit/>
          </a:bodyPr>
          <a:lstStyle>
            <a:lvl1pPr marL="0" indent="0" algn="l">
              <a:spcBef>
                <a:spcPts val="0"/>
              </a:spcBef>
              <a:spcAft>
                <a:spcPts val="0"/>
              </a:spcAft>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3" y="5985328"/>
            <a:ext cx="7595265"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4" name="TextBox 3">
            <a:extLst>
              <a:ext uri="{FF2B5EF4-FFF2-40B4-BE49-F238E27FC236}">
                <a16:creationId xmlns:a16="http://schemas.microsoft.com/office/drawing/2014/main" id="{0174E624-3EAC-7468-3A1E-B592623A7CE9}"/>
              </a:ext>
            </a:extLst>
          </p:cNvPr>
          <p:cNvSpPr txBox="1"/>
          <p:nvPr userDrawn="1"/>
        </p:nvSpPr>
        <p:spPr>
          <a:xfrm>
            <a:off x="8835026" y="6517928"/>
            <a:ext cx="2601239"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F4FFC67C-2CFB-218E-E17B-FD82A61FA4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9" y="6495537"/>
            <a:ext cx="644652" cy="273455"/>
          </a:xfrm>
          <a:prstGeom prst="rect">
            <a:avLst/>
          </a:prstGeom>
        </p:spPr>
      </p:pic>
      <p:sp>
        <p:nvSpPr>
          <p:cNvPr id="2" name="Text Placeholder 6">
            <a:extLst>
              <a:ext uri="{FF2B5EF4-FFF2-40B4-BE49-F238E27FC236}">
                <a16:creationId xmlns:a16="http://schemas.microsoft.com/office/drawing/2014/main" id="{61C79840-3403-A742-3277-345AD86F5844}"/>
              </a:ext>
            </a:extLst>
          </p:cNvPr>
          <p:cNvSpPr>
            <a:spLocks noGrp="1" noChangeAspect="1"/>
          </p:cNvSpPr>
          <p:nvPr>
            <p:ph type="body" sz="quarter" idx="16" hasCustomPrompt="1"/>
          </p:nvPr>
        </p:nvSpPr>
        <p:spPr>
          <a:xfrm>
            <a:off x="4275692" y="788546"/>
            <a:ext cx="7595267"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392913248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3_cover_photo_circle_blue">
    <p:bg>
      <p:bgPr>
        <a:solidFill>
          <a:schemeClr val="bg2"/>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63ECA90-9529-197A-1509-7BDA74743E1F}"/>
              </a:ext>
            </a:extLst>
          </p:cNvPr>
          <p:cNvPicPr>
            <a:picLocks noChangeAspect="1"/>
          </p:cNvPicPr>
          <p:nvPr userDrawn="1"/>
        </p:nvPicPr>
        <p:blipFill>
          <a:blip r:embed="rId2"/>
          <a:src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60" y="635035"/>
            <a:ext cx="6689729" cy="2387600"/>
          </a:xfrm>
          <a:prstGeom prst="rect">
            <a:avLst/>
          </a:prstGeo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60" y="3114709"/>
            <a:ext cx="6689729" cy="837883"/>
          </a:xfrm>
        </p:spPr>
        <p:txBody>
          <a:bodyPr>
            <a:noAutofit/>
          </a:bodyPr>
          <a:lstStyle>
            <a:lvl1pPr marL="0" indent="0" algn="l">
              <a:spcBef>
                <a:spcPts val="0"/>
              </a:spcBef>
              <a:spcAft>
                <a:spcPts val="0"/>
              </a:spcAft>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pic>
        <p:nvPicPr>
          <p:cNvPr id="15" name="Picture 14">
            <a:extLst>
              <a:ext uri="{FF2B5EF4-FFF2-40B4-BE49-F238E27FC236}">
                <a16:creationId xmlns:a16="http://schemas.microsoft.com/office/drawing/2014/main" id="{B13FFCF2-AF1F-04A2-F663-6DDE4D2FD09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2" y="5695246"/>
            <a:ext cx="1219199" cy="517172"/>
          </a:xfrm>
          <a:prstGeom prst="rect">
            <a:avLst/>
          </a:prstGeom>
        </p:spPr>
      </p:pic>
      <p:sp>
        <p:nvSpPr>
          <p:cNvPr id="2" name="Text Placeholder 17">
            <a:extLst>
              <a:ext uri="{FF2B5EF4-FFF2-40B4-BE49-F238E27FC236}">
                <a16:creationId xmlns:a16="http://schemas.microsoft.com/office/drawing/2014/main" id="{1CD72098-8A9C-6DDA-623D-88ACA639D84A}"/>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189" indent="0">
              <a:buNone/>
              <a:defRPr sz="1200" b="1">
                <a:solidFill>
                  <a:schemeClr val="bg1"/>
                </a:solidFill>
              </a:defRPr>
            </a:lvl2pPr>
            <a:lvl3pPr marL="914377" indent="0">
              <a:buNone/>
              <a:defRPr sz="1200" b="1">
                <a:solidFill>
                  <a:schemeClr val="bg1"/>
                </a:solidFill>
              </a:defRPr>
            </a:lvl3pPr>
            <a:lvl4pPr marL="1371566" indent="0">
              <a:buNone/>
              <a:defRPr sz="1200" b="1">
                <a:solidFill>
                  <a:schemeClr val="bg1"/>
                </a:solidFill>
              </a:defRPr>
            </a:lvl4pPr>
            <a:lvl5pPr marL="1828754" indent="0">
              <a:buNone/>
              <a:defRPr sz="1200" b="1">
                <a:solidFill>
                  <a:schemeClr val="bg1"/>
                </a:solidFill>
              </a:defRPr>
            </a:lvl5pPr>
          </a:lstStyle>
          <a:p>
            <a:pPr lvl="0"/>
            <a:r>
              <a:rPr lang="en-US"/>
              <a:t>First name Last name</a:t>
            </a:r>
          </a:p>
        </p:txBody>
      </p:sp>
      <p:sp>
        <p:nvSpPr>
          <p:cNvPr id="10" name="Text Placeholder 17">
            <a:extLst>
              <a:ext uri="{FF2B5EF4-FFF2-40B4-BE49-F238E27FC236}">
                <a16:creationId xmlns:a16="http://schemas.microsoft.com/office/drawing/2014/main" id="{5D2957D4-81EB-DC26-6463-5EADF1A25509}"/>
              </a:ext>
            </a:extLst>
          </p:cNvPr>
          <p:cNvSpPr>
            <a:spLocks noGrp="1"/>
          </p:cNvSpPr>
          <p:nvPr>
            <p:ph type="body" sz="quarter" idx="11" hasCustomPrompt="1"/>
          </p:nvPr>
        </p:nvSpPr>
        <p:spPr>
          <a:xfrm>
            <a:off x="288559" y="4560604"/>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189" indent="0">
              <a:buNone/>
              <a:defRPr sz="1200" b="1">
                <a:solidFill>
                  <a:schemeClr val="bg1"/>
                </a:solidFill>
              </a:defRPr>
            </a:lvl2pPr>
            <a:lvl3pPr marL="914377" indent="0">
              <a:buNone/>
              <a:defRPr sz="1200" b="1">
                <a:solidFill>
                  <a:schemeClr val="bg1"/>
                </a:solidFill>
              </a:defRPr>
            </a:lvl3pPr>
            <a:lvl4pPr marL="1371566" indent="0">
              <a:buNone/>
              <a:defRPr sz="1200" b="1">
                <a:solidFill>
                  <a:schemeClr val="bg1"/>
                </a:solidFill>
              </a:defRPr>
            </a:lvl4pPr>
            <a:lvl5pPr marL="1828754" indent="0">
              <a:buNone/>
              <a:defRPr sz="1200" b="1">
                <a:solidFill>
                  <a:schemeClr val="bg1"/>
                </a:solidFill>
              </a:defRPr>
            </a:lvl5pPr>
          </a:lstStyle>
          <a:p>
            <a:pPr lvl="0"/>
            <a:r>
              <a:rPr lang="en-US"/>
              <a:t>Title/Department</a:t>
            </a:r>
          </a:p>
        </p:txBody>
      </p:sp>
      <p:sp>
        <p:nvSpPr>
          <p:cNvPr id="11" name="Text Placeholder 17">
            <a:extLst>
              <a:ext uri="{FF2B5EF4-FFF2-40B4-BE49-F238E27FC236}">
                <a16:creationId xmlns:a16="http://schemas.microsoft.com/office/drawing/2014/main" id="{D6FB9EEA-C3E3-431A-8CBC-F0DB2F54B537}"/>
              </a:ext>
            </a:extLst>
          </p:cNvPr>
          <p:cNvSpPr>
            <a:spLocks noGrp="1"/>
          </p:cNvSpPr>
          <p:nvPr>
            <p:ph type="body" sz="quarter" idx="13" hasCustomPrompt="1"/>
          </p:nvPr>
        </p:nvSpPr>
        <p:spPr>
          <a:xfrm>
            <a:off x="288559" y="5110169"/>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189" indent="0">
              <a:buNone/>
              <a:defRPr sz="1200" b="1">
                <a:solidFill>
                  <a:schemeClr val="bg1"/>
                </a:solidFill>
              </a:defRPr>
            </a:lvl2pPr>
            <a:lvl3pPr marL="914377" indent="0">
              <a:buNone/>
              <a:defRPr sz="1200" b="1">
                <a:solidFill>
                  <a:schemeClr val="bg1"/>
                </a:solidFill>
              </a:defRPr>
            </a:lvl3pPr>
            <a:lvl4pPr marL="1371566" indent="0">
              <a:buNone/>
              <a:defRPr sz="1200" b="1">
                <a:solidFill>
                  <a:schemeClr val="bg1"/>
                </a:solidFill>
              </a:defRPr>
            </a:lvl4pPr>
            <a:lvl5pPr marL="1828754"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1774454068"/>
      </p:ext>
    </p:extLst>
  </p:cSld>
  <p:clrMapOvr>
    <a:overrideClrMapping bg1="lt1" tx1="dk1" bg2="lt2" tx2="dk2" accent1="accent1" accent2="accent2" accent3="accent3" accent4="accent4" accent5="accent5" accent6="accent6" hlink="hlink" folHlink="folHlink"/>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C01E13-2841-183D-558F-34B596FDBD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83B7497-E19D-7FCD-3E08-204D457A98E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9BFB82-EC12-5AC6-7A6D-7BEDF2A6CCB7}"/>
              </a:ext>
            </a:extLst>
          </p:cNvPr>
          <p:cNvSpPr>
            <a:spLocks noGrp="1"/>
          </p:cNvSpPr>
          <p:nvPr>
            <p:ph type="dt" sz="half" idx="10"/>
          </p:nvPr>
        </p:nvSpPr>
        <p:spPr/>
        <p:txBody>
          <a:bodyPr/>
          <a:lstStyle/>
          <a:p>
            <a:fld id="{45714BFE-25BA-4C5B-A3D0-92878FF731DD}" type="datetimeFigureOut">
              <a:rPr lang="en-US" smtClean="0"/>
              <a:t>11/18/2024</a:t>
            </a:fld>
            <a:endParaRPr lang="en-US"/>
          </a:p>
        </p:txBody>
      </p:sp>
      <p:sp>
        <p:nvSpPr>
          <p:cNvPr id="5" name="Footer Placeholder 4">
            <a:extLst>
              <a:ext uri="{FF2B5EF4-FFF2-40B4-BE49-F238E27FC236}">
                <a16:creationId xmlns:a16="http://schemas.microsoft.com/office/drawing/2014/main" id="{9E83999E-1E2B-4924-AAA3-4BEE115BF8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ED20E5-77E6-FEB5-9FD5-13F8C9FDD68E}"/>
              </a:ext>
            </a:extLst>
          </p:cNvPr>
          <p:cNvSpPr>
            <a:spLocks noGrp="1"/>
          </p:cNvSpPr>
          <p:nvPr>
            <p:ph type="sldNum" sz="quarter" idx="12"/>
          </p:nvPr>
        </p:nvSpPr>
        <p:spPr/>
        <p:txBody>
          <a:bodyPr/>
          <a:lstStyle/>
          <a:p>
            <a:fld id="{E4442660-E195-4067-889F-EE99BD10F3A2}" type="slidenum">
              <a:rPr lang="en-US" smtClean="0"/>
              <a:t>‹#›</a:t>
            </a:fld>
            <a:endParaRPr lang="en-US"/>
          </a:p>
        </p:txBody>
      </p:sp>
    </p:spTree>
    <p:extLst>
      <p:ext uri="{BB962C8B-B14F-4D97-AF65-F5344CB8AC3E}">
        <p14:creationId xmlns:p14="http://schemas.microsoft.com/office/powerpoint/2010/main" val="17150431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Half Gray">
    <p:spTree>
      <p:nvGrpSpPr>
        <p:cNvPr id="1" name=""/>
        <p:cNvGrpSpPr/>
        <p:nvPr/>
      </p:nvGrpSpPr>
      <p:grpSpPr>
        <a:xfrm>
          <a:off x="0" y="0"/>
          <a:ext cx="0" cy="0"/>
          <a:chOff x="0" y="0"/>
          <a:chExt cx="0" cy="0"/>
        </a:xfrm>
      </p:grpSpPr>
      <p:sp>
        <p:nvSpPr>
          <p:cNvPr id="14" name="Block Bkgd">
            <a:extLst>
              <a:ext uri="{FF2B5EF4-FFF2-40B4-BE49-F238E27FC236}">
                <a16:creationId xmlns:a16="http://schemas.microsoft.com/office/drawing/2014/main" id="{EF28BEE6-A3B9-F3EC-053D-F000E1C03344}"/>
              </a:ext>
            </a:extLst>
          </p:cNvPr>
          <p:cNvSpPr>
            <a:spLocks noGrp="1" noRot="1" noMove="1" noResize="1" noEditPoints="1" noAdjustHandles="1" noChangeArrowheads="1" noChangeShapeType="1"/>
          </p:cNvSpPr>
          <p:nvPr userDrawn="1"/>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a:extLst>
              <a:ext uri="{FF2B5EF4-FFF2-40B4-BE49-F238E27FC236}">
                <a16:creationId xmlns:a16="http://schemas.microsoft.com/office/drawing/2014/main" id="{E94EA2D6-F376-E5FB-864F-2472964B1215}"/>
              </a:ext>
            </a:extLst>
          </p:cNvPr>
          <p:cNvSpPr>
            <a:spLocks noGrp="1" noRot="1" noMove="1" noResize="1" noEditPoints="1" noAdjustHandles="1" noChangeArrowheads="1" noChangeShapeType="1"/>
          </p:cNvSpPr>
          <p:nvPr>
            <p:ph type="sldNum" sz="quarter" idx="12"/>
          </p:nvPr>
        </p:nvSpPr>
        <p:spPr/>
        <p:txBody>
          <a:bodyPr/>
          <a:lstStyle/>
          <a:p>
            <a:fld id="{3E04DF46-C0DC-4ADC-9A6F-918CC4703A43}" type="slidenum">
              <a:rPr lang="en-GB" smtClean="0"/>
              <a:t>‹#›</a:t>
            </a:fld>
            <a:endParaRPr lang="en-GB"/>
          </a:p>
        </p:txBody>
      </p:sp>
      <p:sp>
        <p:nvSpPr>
          <p:cNvPr id="16" name="Copyright Line">
            <a:extLst>
              <a:ext uri="{FF2B5EF4-FFF2-40B4-BE49-F238E27FC236}">
                <a16:creationId xmlns:a16="http://schemas.microsoft.com/office/drawing/2014/main" id="{9C89E4B4-9DF8-8FBA-0988-31F1C70E4154}"/>
              </a:ext>
            </a:extLst>
          </p:cNvPr>
          <p:cNvSpPr txBox="1">
            <a:spLocks noGrp="1" noRot="1" noMove="1" noResize="1" noEditPoints="1" noAdjustHandles="1" noChangeArrowheads="1" noChangeShapeType="1"/>
          </p:cNvSpPr>
          <p:nvPr userDrawn="1"/>
        </p:nvSpPr>
        <p:spPr>
          <a:xfrm>
            <a:off x="9167809" y="6536551"/>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rgbClr val="BBBBBB"/>
                </a:solidFill>
              </a:rPr>
              <a:t>© </a:t>
            </a:r>
            <a:fld id="{92E70860-886D-4303-B2B5-BD1295E1FD39}" type="datetimeyyyy">
              <a:rPr lang="en-US" sz="700" smtClean="0">
                <a:solidFill>
                  <a:srgbClr val="BBBBBB"/>
                </a:solidFill>
              </a:rPr>
              <a:t>2024</a:t>
            </a:fld>
            <a:r>
              <a:rPr lang="en-US" sz="700">
                <a:solidFill>
                  <a:srgbClr val="BBBBBB"/>
                </a:solidFill>
              </a:rPr>
              <a:t> Nielsen Consumer LLC. All Rights Reserved.</a:t>
            </a:r>
          </a:p>
        </p:txBody>
      </p:sp>
      <p:sp>
        <p:nvSpPr>
          <p:cNvPr id="12" name="Confidential disclaimer">
            <a:extLst>
              <a:ext uri="{FF2B5EF4-FFF2-40B4-BE49-F238E27FC236}">
                <a16:creationId xmlns:a16="http://schemas.microsoft.com/office/drawing/2014/main" id="{96AB6125-A385-529E-E151-BDF1D0C7EF79}"/>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15" name="Footer Placeholder">
            <a:extLst>
              <a:ext uri="{FF2B5EF4-FFF2-40B4-BE49-F238E27FC236}">
                <a16:creationId xmlns:a16="http://schemas.microsoft.com/office/drawing/2014/main" id="{E1297F61-9D45-2558-68F0-C18078DF959B}"/>
              </a:ext>
            </a:extLst>
          </p:cNvPr>
          <p:cNvSpPr>
            <a:spLocks noGrp="1" noRot="1" noMove="1" noResize="1" noEditPoints="1" noAdjustHandles="1" noChangeArrowheads="1" noChangeShapeType="1"/>
          </p:cNvSpPr>
          <p:nvPr>
            <p:ph type="ftr" sz="quarter" idx="16"/>
          </p:nvPr>
        </p:nvSpPr>
        <p:spPr>
          <a:xfrm>
            <a:off x="3251200" y="6495102"/>
            <a:ext cx="2551110" cy="282957"/>
          </a:xfrm>
        </p:spPr>
        <p:txBody>
          <a:bodyPr/>
          <a:lstStyle/>
          <a:p>
            <a:endParaRPr lang="en-GB"/>
          </a:p>
        </p:txBody>
      </p:sp>
      <p:sp>
        <p:nvSpPr>
          <p:cNvPr id="5" name="Date Placeholder">
            <a:extLst>
              <a:ext uri="{FF2B5EF4-FFF2-40B4-BE49-F238E27FC236}">
                <a16:creationId xmlns:a16="http://schemas.microsoft.com/office/drawing/2014/main" id="{339D1539-DC5B-675F-DCC6-5BBCE25FC740}"/>
              </a:ext>
            </a:extLst>
          </p:cNvPr>
          <p:cNvSpPr>
            <a:spLocks noGrp="1" noRot="1" noMove="1" noResize="1" noEditPoints="1" noAdjustHandles="1" noChangeArrowheads="1" noChangeShapeType="1"/>
          </p:cNvSpPr>
          <p:nvPr>
            <p:ph type="dt" sz="half" idx="10"/>
          </p:nvPr>
        </p:nvSpPr>
        <p:spPr/>
        <p:txBody>
          <a:bodyPr/>
          <a:lstStyle/>
          <a:p>
            <a:fld id="{B789455A-F4F5-4ADB-BA98-24336C9EA3E7}" type="datetime1">
              <a:rPr lang="en-GB" smtClean="0"/>
              <a:t>18/11/2024</a:t>
            </a:fld>
            <a:endParaRPr lang="en-GB"/>
          </a:p>
        </p:txBody>
      </p:sp>
      <p:cxnSp>
        <p:nvCxnSpPr>
          <p:cNvPr id="17" name="Base Rule">
            <a:extLst>
              <a:ext uri="{FF2B5EF4-FFF2-40B4-BE49-F238E27FC236}">
                <a16:creationId xmlns:a16="http://schemas.microsoft.com/office/drawing/2014/main" id="{0DFE5D64-C53A-A500-F0A7-C09857B818AB}"/>
              </a:ext>
            </a:extLst>
          </p:cNvPr>
          <p:cNvCxnSpPr>
            <a:cxnSpLocks noGrp="1" noRot="1" noMove="1" noResize="1" noEditPoints="1" noAdjustHandles="1" noChangeArrowheads="1" noChangeShapeType="1"/>
          </p:cNvCxnSpPr>
          <p:nvPr userDrawn="1"/>
        </p:nvCxnSpPr>
        <p:spPr>
          <a:xfrm>
            <a:off x="292100" y="6395755"/>
            <a:ext cx="116078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ource Placeholder">
            <a:extLst>
              <a:ext uri="{FF2B5EF4-FFF2-40B4-BE49-F238E27FC236}">
                <a16:creationId xmlns:a16="http://schemas.microsoft.com/office/drawing/2014/main" id="{2EA71DC4-3628-4313-321C-9A95F89CAB2F}"/>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4" name="Content 2 Placeholder">
            <a:extLst>
              <a:ext uri="{FF2B5EF4-FFF2-40B4-BE49-F238E27FC236}">
                <a16:creationId xmlns:a16="http://schemas.microsoft.com/office/drawing/2014/main" id="{5D43A841-AD92-4556-21E4-9939D57FC0A6}"/>
              </a:ext>
            </a:extLst>
          </p:cNvPr>
          <p:cNvSpPr>
            <a:spLocks noGrp="1" noRot="1" noMove="1" noResize="1" noEditPoints="1" noAdjustHandles="1" noChangeArrowheads="1" noChangeShapeType="1"/>
          </p:cNvSpPr>
          <p:nvPr>
            <p:ph sz="half" idx="2" hasCustomPrompt="1"/>
          </p:nvPr>
        </p:nvSpPr>
        <p:spPr>
          <a:xfrm>
            <a:off x="6388100" y="1638301"/>
            <a:ext cx="5511800" cy="4038600"/>
          </a:xfrm>
        </p:spPr>
        <p:txBody>
          <a:bodyPr/>
          <a:lstStyle>
            <a:lvl1pPr>
              <a:defRPr/>
            </a:lvl1pPr>
          </a:lstStyle>
          <a:p>
            <a:pPr lvl="0"/>
            <a:r>
              <a:rPr lang="en-US"/>
              <a:t>Insert content here</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Subtitle 2 Placeholder">
            <a:extLst>
              <a:ext uri="{FF2B5EF4-FFF2-40B4-BE49-F238E27FC236}">
                <a16:creationId xmlns:a16="http://schemas.microsoft.com/office/drawing/2014/main" id="{9B24A1DB-1E99-30C3-D014-5A6DEDB3C66E}"/>
              </a:ext>
            </a:extLst>
          </p:cNvPr>
          <p:cNvSpPr>
            <a:spLocks noGrp="1" noRot="1" noMove="1" noResize="1" noEditPoints="1" noAdjustHandles="1" noChangeArrowheads="1" noChangeShapeType="1"/>
          </p:cNvSpPr>
          <p:nvPr>
            <p:ph type="body" sz="quarter" idx="15" hasCustomPrompt="1"/>
          </p:nvPr>
        </p:nvSpPr>
        <p:spPr>
          <a:xfrm>
            <a:off x="6388895" y="579495"/>
            <a:ext cx="5511005"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11" name="Title 2 Placeholder">
            <a:extLst>
              <a:ext uri="{FF2B5EF4-FFF2-40B4-BE49-F238E27FC236}">
                <a16:creationId xmlns:a16="http://schemas.microsoft.com/office/drawing/2014/main" id="{A1808D7B-A584-646A-5554-EA7041352FF8}"/>
              </a:ext>
            </a:extLst>
          </p:cNvPr>
          <p:cNvSpPr>
            <a:spLocks noGrp="1" noRot="1" noMove="1" noResize="1" noEditPoints="1" noAdjustHandles="1" noChangeArrowheads="1" noChangeShapeType="1"/>
          </p:cNvSpPr>
          <p:nvPr>
            <p:ph type="body" sz="quarter" idx="17" hasCustomPrompt="1"/>
          </p:nvPr>
        </p:nvSpPr>
        <p:spPr>
          <a:xfrm>
            <a:off x="6383895" y="274634"/>
            <a:ext cx="5514418" cy="295756"/>
          </a:xfrm>
        </p:spPr>
        <p:txBody>
          <a:bodyPr anchor="t" anchorCtr="0">
            <a:noAutofit/>
          </a:bodyPr>
          <a:lstStyle>
            <a:lvl1pPr marL="0" indent="0">
              <a:buFont typeface="Arial" panose="020B0604020202020204" pitchFamily="34" charset="0"/>
              <a:buNone/>
              <a:defRPr sz="2000" b="1"/>
            </a:lvl1pPr>
          </a:lstStyle>
          <a:p>
            <a:pPr lvl="0"/>
            <a:r>
              <a:rPr lang="en-US"/>
              <a:t>Insert your slide title in Arial Bold 20pt</a:t>
            </a:r>
          </a:p>
        </p:txBody>
      </p:sp>
      <p:sp>
        <p:nvSpPr>
          <p:cNvPr id="3" name="Content 1 Placeholder">
            <a:extLst>
              <a:ext uri="{FF2B5EF4-FFF2-40B4-BE49-F238E27FC236}">
                <a16:creationId xmlns:a16="http://schemas.microsoft.com/office/drawing/2014/main" id="{BBF77ABD-CA9D-F0FB-47F7-ABF58A85B72B}"/>
              </a:ext>
            </a:extLst>
          </p:cNvPr>
          <p:cNvSpPr>
            <a:spLocks noGrp="1" noRot="1" noMove="1" noResize="1" noEditPoints="1" noAdjustHandles="1" noChangeArrowheads="1" noChangeShapeType="1"/>
          </p:cNvSpPr>
          <p:nvPr>
            <p:ph sz="half" idx="1" hasCustomPrompt="1"/>
          </p:nvPr>
        </p:nvSpPr>
        <p:spPr>
          <a:xfrm>
            <a:off x="292100" y="1638301"/>
            <a:ext cx="5510210" cy="4038600"/>
          </a:xfrm>
        </p:spPr>
        <p:txBody>
          <a:bodyPr/>
          <a:lstStyle>
            <a:lvl1pPr>
              <a:defRPr/>
            </a:lvl1pPr>
          </a:lstStyle>
          <a:p>
            <a:pPr lvl="0"/>
            <a:r>
              <a:rPr lang="en-US"/>
              <a:t>Insert content here</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ubtitle 1 Placeholder">
            <a:extLst>
              <a:ext uri="{FF2B5EF4-FFF2-40B4-BE49-F238E27FC236}">
                <a16:creationId xmlns:a16="http://schemas.microsoft.com/office/drawing/2014/main" id="{4DF2806F-470A-D63D-6287-2D96392FDBED}"/>
              </a:ext>
            </a:extLst>
          </p:cNvPr>
          <p:cNvSpPr>
            <a:spLocks noGrp="1" noRot="1" noMove="1" noResize="1" noEditPoints="1" noAdjustHandles="1" noChangeArrowheads="1" noChangeShapeType="1"/>
          </p:cNvSpPr>
          <p:nvPr>
            <p:ph type="body" sz="quarter" idx="13" hasCustomPrompt="1"/>
          </p:nvPr>
        </p:nvSpPr>
        <p:spPr>
          <a:xfrm>
            <a:off x="292100" y="579495"/>
            <a:ext cx="5511005"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2" name="Title 1 Placeholder">
            <a:extLst>
              <a:ext uri="{FF2B5EF4-FFF2-40B4-BE49-F238E27FC236}">
                <a16:creationId xmlns:a16="http://schemas.microsoft.com/office/drawing/2014/main" id="{330527F2-4E92-075E-0582-2535F1B4C690}"/>
              </a:ext>
            </a:extLst>
          </p:cNvPr>
          <p:cNvSpPr>
            <a:spLocks noGrp="1" noRot="1" noMove="1" noResize="1" noEditPoints="1" noAdjustHandles="1" noChangeArrowheads="1" noChangeShapeType="1"/>
          </p:cNvSpPr>
          <p:nvPr>
            <p:ph type="title" hasCustomPrompt="1"/>
          </p:nvPr>
        </p:nvSpPr>
        <p:spPr>
          <a:xfrm>
            <a:off x="292100" y="304800"/>
            <a:ext cx="5513623" cy="265590"/>
          </a:xfrm>
        </p:spPr>
        <p:txBody>
          <a:bodyPr/>
          <a:lstStyle/>
          <a:p>
            <a:r>
              <a:rPr lang="en-US"/>
              <a:t>Insert your slide title in Arial Bold 20pt</a:t>
            </a:r>
            <a:endParaRPr lang="en-GB"/>
          </a:p>
        </p:txBody>
      </p:sp>
    </p:spTree>
    <p:extLst>
      <p:ext uri="{BB962C8B-B14F-4D97-AF65-F5344CB8AC3E}">
        <p14:creationId xmlns:p14="http://schemas.microsoft.com/office/powerpoint/2010/main" val="3059157504"/>
      </p:ext>
    </p:extLst>
  </p:cSld>
  <p:clrMapOvr>
    <a:masterClrMapping/>
  </p:clrMapOvr>
  <p:extLst>
    <p:ext uri="{DCECCB84-F9BA-43D5-87BE-67443E8EF086}">
      <p15:sldGuideLst xmlns:p15="http://schemas.microsoft.com/office/powerpoint/2012/main">
        <p15:guide id="2" pos="7680">
          <p15:clr>
            <a:srgbClr val="FBAE40"/>
          </p15:clr>
        </p15:guide>
        <p15:guide id="4" pos="3768">
          <p15:clr>
            <a:srgbClr val="A4A3A4"/>
          </p15:clr>
        </p15:guide>
        <p15:guide id="5" pos="3912">
          <p15:clr>
            <a:srgbClr val="A4A3A4"/>
          </p15:clr>
        </p15:guide>
        <p15:guide id="6" pos="749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Half Blue">
    <p:spTree>
      <p:nvGrpSpPr>
        <p:cNvPr id="1" name=""/>
        <p:cNvGrpSpPr/>
        <p:nvPr/>
      </p:nvGrpSpPr>
      <p:grpSpPr>
        <a:xfrm>
          <a:off x="0" y="0"/>
          <a:ext cx="0" cy="0"/>
          <a:chOff x="0" y="0"/>
          <a:chExt cx="0" cy="0"/>
        </a:xfrm>
      </p:grpSpPr>
      <p:sp>
        <p:nvSpPr>
          <p:cNvPr id="14" name="Block Bkgd">
            <a:extLst>
              <a:ext uri="{FF2B5EF4-FFF2-40B4-BE49-F238E27FC236}">
                <a16:creationId xmlns:a16="http://schemas.microsoft.com/office/drawing/2014/main" id="{EF28BEE6-A3B9-F3EC-053D-F000E1C03344}"/>
              </a:ext>
            </a:extLst>
          </p:cNvPr>
          <p:cNvSpPr>
            <a:spLocks noGrp="1" noRot="1" noMove="1" noResize="1" noEditPoints="1" noAdjustHandles="1" noChangeArrowheads="1" noChangeShapeType="1"/>
          </p:cNvSpPr>
          <p:nvPr userDrawn="1"/>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7" name="Slide Number Placeholder">
            <a:extLst>
              <a:ext uri="{FF2B5EF4-FFF2-40B4-BE49-F238E27FC236}">
                <a16:creationId xmlns:a16="http://schemas.microsoft.com/office/drawing/2014/main" id="{E94EA2D6-F376-E5FB-864F-2472964B1215}"/>
              </a:ext>
            </a:extLst>
          </p:cNvPr>
          <p:cNvSpPr>
            <a:spLocks noGrp="1" noRot="1" noMove="1" noResize="1" noEditPoints="1" noAdjustHandles="1" noChangeArrowheads="1" noChangeShapeType="1"/>
          </p:cNvSpPr>
          <p:nvPr>
            <p:ph type="sldNum" sz="quarter" idx="12"/>
          </p:nvPr>
        </p:nvSpPr>
        <p:spPr>
          <a:xfrm>
            <a:off x="11495577" y="6485399"/>
            <a:ext cx="404321" cy="282957"/>
          </a:xfrm>
        </p:spPr>
        <p:txBody>
          <a:bodyPr/>
          <a:lstStyle>
            <a:lvl1pPr>
              <a:defRPr>
                <a:solidFill>
                  <a:schemeClr val="bg1"/>
                </a:solidFill>
              </a:defRPr>
            </a:lvl1pPr>
          </a:lstStyle>
          <a:p>
            <a:fld id="{3E04DF46-C0DC-4ADC-9A6F-918CC4703A43}" type="slidenum">
              <a:rPr lang="en-GB" smtClean="0"/>
              <a:pPr/>
              <a:t>‹#›</a:t>
            </a:fld>
            <a:endParaRPr lang="en-GB"/>
          </a:p>
        </p:txBody>
      </p:sp>
      <p:sp>
        <p:nvSpPr>
          <p:cNvPr id="16" name="Copyright Line">
            <a:extLst>
              <a:ext uri="{FF2B5EF4-FFF2-40B4-BE49-F238E27FC236}">
                <a16:creationId xmlns:a16="http://schemas.microsoft.com/office/drawing/2014/main" id="{9C89E4B4-9DF8-8FBA-0988-31F1C70E4154}"/>
              </a:ext>
            </a:extLst>
          </p:cNvPr>
          <p:cNvSpPr txBox="1">
            <a:spLocks noGrp="1" noRot="1" noMove="1" noResize="1" noEditPoints="1" noAdjustHandles="1" noChangeArrowheads="1" noChangeShapeType="1"/>
          </p:cNvSpPr>
          <p:nvPr userDrawn="1"/>
        </p:nvSpPr>
        <p:spPr>
          <a:xfrm>
            <a:off x="9167809" y="6536551"/>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a:t>
            </a:r>
            <a:fld id="{92E70860-886D-4303-B2B5-BD1295E1FD39}" type="datetimeyyyy">
              <a:rPr lang="en-US" sz="700" smtClean="0">
                <a:solidFill>
                  <a:schemeClr val="tx1">
                    <a:lumMod val="40000"/>
                    <a:lumOff val="60000"/>
                  </a:schemeClr>
                </a:solidFill>
              </a:rPr>
              <a:t>2024</a:t>
            </a:fld>
            <a:r>
              <a:rPr lang="en-US" sz="700">
                <a:solidFill>
                  <a:schemeClr val="tx1">
                    <a:lumMod val="40000"/>
                    <a:lumOff val="60000"/>
                  </a:schemeClr>
                </a:solidFill>
              </a:rPr>
              <a:t> Nielsen Consumer LLC. All Rights Reserved.</a:t>
            </a:r>
          </a:p>
        </p:txBody>
      </p:sp>
      <p:sp>
        <p:nvSpPr>
          <p:cNvPr id="8" name="Confidential disclaimer">
            <a:extLst>
              <a:ext uri="{FF2B5EF4-FFF2-40B4-BE49-F238E27FC236}">
                <a16:creationId xmlns:a16="http://schemas.microsoft.com/office/drawing/2014/main" id="{23E65464-19C9-DB30-2F4C-D472D2E89EBF}"/>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15" name="Footer Placeholder">
            <a:extLst>
              <a:ext uri="{FF2B5EF4-FFF2-40B4-BE49-F238E27FC236}">
                <a16:creationId xmlns:a16="http://schemas.microsoft.com/office/drawing/2014/main" id="{E1297F61-9D45-2558-68F0-C18078DF959B}"/>
              </a:ext>
            </a:extLst>
          </p:cNvPr>
          <p:cNvSpPr>
            <a:spLocks noGrp="1" noRot="1" noMove="1" noResize="1" noEditPoints="1" noAdjustHandles="1" noChangeArrowheads="1" noChangeShapeType="1"/>
          </p:cNvSpPr>
          <p:nvPr>
            <p:ph type="ftr" sz="quarter" idx="16"/>
          </p:nvPr>
        </p:nvSpPr>
        <p:spPr>
          <a:xfrm>
            <a:off x="3251200" y="6485399"/>
            <a:ext cx="2551110" cy="282957"/>
          </a:xfrm>
        </p:spPr>
        <p:txBody>
          <a:bodyPr/>
          <a:lstStyle/>
          <a:p>
            <a:endParaRPr lang="en-GB"/>
          </a:p>
        </p:txBody>
      </p:sp>
      <p:sp>
        <p:nvSpPr>
          <p:cNvPr id="5" name="Date Placeholder">
            <a:extLst>
              <a:ext uri="{FF2B5EF4-FFF2-40B4-BE49-F238E27FC236}">
                <a16:creationId xmlns:a16="http://schemas.microsoft.com/office/drawing/2014/main" id="{339D1539-DC5B-675F-DCC6-5BBCE25FC740}"/>
              </a:ext>
            </a:extLst>
          </p:cNvPr>
          <p:cNvSpPr>
            <a:spLocks noGrp="1" noRot="1" noMove="1" noResize="1" noEditPoints="1" noAdjustHandles="1" noChangeArrowheads="1" noChangeShapeType="1"/>
          </p:cNvSpPr>
          <p:nvPr>
            <p:ph type="dt" sz="half" idx="10"/>
          </p:nvPr>
        </p:nvSpPr>
        <p:spPr>
          <a:xfrm>
            <a:off x="2265363" y="6485399"/>
            <a:ext cx="757238" cy="282957"/>
          </a:xfrm>
        </p:spPr>
        <p:txBody>
          <a:bodyPr/>
          <a:lstStyle/>
          <a:p>
            <a:fld id="{B789455A-F4F5-4ADB-BA98-24336C9EA3E7}" type="datetime1">
              <a:rPr lang="en-GB" smtClean="0"/>
              <a:t>18/11/2024</a:t>
            </a:fld>
            <a:endParaRPr lang="en-GB"/>
          </a:p>
        </p:txBody>
      </p:sp>
      <p:cxnSp>
        <p:nvCxnSpPr>
          <p:cNvPr id="17" name="Base Rule">
            <a:extLst>
              <a:ext uri="{FF2B5EF4-FFF2-40B4-BE49-F238E27FC236}">
                <a16:creationId xmlns:a16="http://schemas.microsoft.com/office/drawing/2014/main" id="{0DFE5D64-C53A-A500-F0A7-C09857B818AB}"/>
              </a:ext>
            </a:extLst>
          </p:cNvPr>
          <p:cNvCxnSpPr>
            <a:cxnSpLocks noGrp="1" noRot="1" noMove="1" noResize="1" noEditPoints="1" noAdjustHandles="1" noChangeArrowheads="1" noChangeShapeType="1"/>
          </p:cNvCxnSpPr>
          <p:nvPr userDrawn="1"/>
        </p:nvCxnSpPr>
        <p:spPr>
          <a:xfrm>
            <a:off x="6096000" y="6395755"/>
            <a:ext cx="580390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ource Placeholder">
            <a:extLst>
              <a:ext uri="{FF2B5EF4-FFF2-40B4-BE49-F238E27FC236}">
                <a16:creationId xmlns:a16="http://schemas.microsoft.com/office/drawing/2014/main" id="{2EA71DC4-3628-4313-321C-9A95F89CAB2F}"/>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4" name="Content 2 Placeholder">
            <a:extLst>
              <a:ext uri="{FF2B5EF4-FFF2-40B4-BE49-F238E27FC236}">
                <a16:creationId xmlns:a16="http://schemas.microsoft.com/office/drawing/2014/main" id="{5D43A841-AD92-4556-21E4-9939D57FC0A6}"/>
              </a:ext>
            </a:extLst>
          </p:cNvPr>
          <p:cNvSpPr>
            <a:spLocks noGrp="1" noRot="1" noMove="1" noResize="1" noEditPoints="1" noAdjustHandles="1" noChangeArrowheads="1" noChangeShapeType="1"/>
          </p:cNvSpPr>
          <p:nvPr>
            <p:ph sz="half" idx="2" hasCustomPrompt="1"/>
          </p:nvPr>
        </p:nvSpPr>
        <p:spPr>
          <a:xfrm>
            <a:off x="6388100" y="1638301"/>
            <a:ext cx="5511800" cy="403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content here</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Subtitle 2 Placeholder">
            <a:extLst>
              <a:ext uri="{FF2B5EF4-FFF2-40B4-BE49-F238E27FC236}">
                <a16:creationId xmlns:a16="http://schemas.microsoft.com/office/drawing/2014/main" id="{9B24A1DB-1E99-30C3-D014-5A6DEDB3C66E}"/>
              </a:ext>
            </a:extLst>
          </p:cNvPr>
          <p:cNvSpPr>
            <a:spLocks noGrp="1" noRot="1" noMove="1" noResize="1" noEditPoints="1" noAdjustHandles="1" noChangeArrowheads="1" noChangeShapeType="1"/>
          </p:cNvSpPr>
          <p:nvPr>
            <p:ph type="body" sz="quarter" idx="15" hasCustomPrompt="1"/>
          </p:nvPr>
        </p:nvSpPr>
        <p:spPr>
          <a:xfrm>
            <a:off x="6388895" y="579495"/>
            <a:ext cx="5511005"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bg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6" name="Title 2 Placeholder">
            <a:extLst>
              <a:ext uri="{FF2B5EF4-FFF2-40B4-BE49-F238E27FC236}">
                <a16:creationId xmlns:a16="http://schemas.microsoft.com/office/drawing/2014/main" id="{A36FABAF-7E80-EFD2-0E01-79E8B041B9D4}"/>
              </a:ext>
            </a:extLst>
          </p:cNvPr>
          <p:cNvSpPr>
            <a:spLocks noGrp="1" noRot="1" noMove="1" noResize="1" noEditPoints="1" noAdjustHandles="1" noChangeArrowheads="1" noChangeShapeType="1"/>
          </p:cNvSpPr>
          <p:nvPr>
            <p:ph type="body" sz="quarter" idx="17" hasCustomPrompt="1"/>
          </p:nvPr>
        </p:nvSpPr>
        <p:spPr>
          <a:xfrm>
            <a:off x="6383895" y="274634"/>
            <a:ext cx="5514418" cy="295756"/>
          </a:xfrm>
        </p:spPr>
        <p:txBody>
          <a:bodyPr anchor="t" anchorCtr="0">
            <a:noAutofit/>
          </a:bodyPr>
          <a:lstStyle>
            <a:lvl1pPr marL="0" indent="0">
              <a:buFont typeface="Arial" panose="020B0604020202020204" pitchFamily="34" charset="0"/>
              <a:buNone/>
              <a:defRPr sz="2000" b="1">
                <a:solidFill>
                  <a:schemeClr val="bg1"/>
                </a:solidFill>
              </a:defRPr>
            </a:lvl1pPr>
          </a:lstStyle>
          <a:p>
            <a:pPr lvl="0"/>
            <a:r>
              <a:rPr lang="en-US"/>
              <a:t>Insert your slide title in Arial Bold 20pt</a:t>
            </a:r>
          </a:p>
        </p:txBody>
      </p:sp>
      <p:sp>
        <p:nvSpPr>
          <p:cNvPr id="3" name="Content 1 Placeholder">
            <a:extLst>
              <a:ext uri="{FF2B5EF4-FFF2-40B4-BE49-F238E27FC236}">
                <a16:creationId xmlns:a16="http://schemas.microsoft.com/office/drawing/2014/main" id="{BBF77ABD-CA9D-F0FB-47F7-ABF58A85B72B}"/>
              </a:ext>
            </a:extLst>
          </p:cNvPr>
          <p:cNvSpPr>
            <a:spLocks noGrp="1" noRot="1" noMove="1" noResize="1" noEditPoints="1" noAdjustHandles="1" noChangeArrowheads="1" noChangeShapeType="1"/>
          </p:cNvSpPr>
          <p:nvPr>
            <p:ph sz="half" idx="1" hasCustomPrompt="1"/>
          </p:nvPr>
        </p:nvSpPr>
        <p:spPr>
          <a:xfrm>
            <a:off x="292100" y="1638301"/>
            <a:ext cx="5510210" cy="4038600"/>
          </a:xfrm>
        </p:spPr>
        <p:txBody>
          <a:bodyPr/>
          <a:lstStyle>
            <a:lvl1pPr>
              <a:defRPr/>
            </a:lvl1pPr>
          </a:lstStyle>
          <a:p>
            <a:pPr lvl="0"/>
            <a:r>
              <a:rPr lang="en-US"/>
              <a:t>Insert content here</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ubtitle 1 Placeholder">
            <a:extLst>
              <a:ext uri="{FF2B5EF4-FFF2-40B4-BE49-F238E27FC236}">
                <a16:creationId xmlns:a16="http://schemas.microsoft.com/office/drawing/2014/main" id="{4DF2806F-470A-D63D-6287-2D96392FDBED}"/>
              </a:ext>
            </a:extLst>
          </p:cNvPr>
          <p:cNvSpPr>
            <a:spLocks noGrp="1" noRot="1" noMove="1" noResize="1" noEditPoints="1" noAdjustHandles="1" noChangeArrowheads="1" noChangeShapeType="1"/>
          </p:cNvSpPr>
          <p:nvPr>
            <p:ph type="body" sz="quarter" idx="13" hasCustomPrompt="1"/>
          </p:nvPr>
        </p:nvSpPr>
        <p:spPr>
          <a:xfrm>
            <a:off x="292100" y="579495"/>
            <a:ext cx="5511005"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2" name="Title 1 Placeholder">
            <a:extLst>
              <a:ext uri="{FF2B5EF4-FFF2-40B4-BE49-F238E27FC236}">
                <a16:creationId xmlns:a16="http://schemas.microsoft.com/office/drawing/2014/main" id="{330527F2-4E92-075E-0582-2535F1B4C690}"/>
              </a:ext>
            </a:extLst>
          </p:cNvPr>
          <p:cNvSpPr>
            <a:spLocks noGrp="1" noRot="1" noMove="1" noResize="1" noEditPoints="1" noAdjustHandles="1" noChangeArrowheads="1" noChangeShapeType="1"/>
          </p:cNvSpPr>
          <p:nvPr>
            <p:ph type="title" hasCustomPrompt="1"/>
          </p:nvPr>
        </p:nvSpPr>
        <p:spPr>
          <a:xfrm>
            <a:off x="292100" y="304800"/>
            <a:ext cx="5513623" cy="265590"/>
          </a:xfrm>
        </p:spPr>
        <p:txBody>
          <a:bodyPr/>
          <a:lstStyle/>
          <a:p>
            <a:r>
              <a:rPr lang="en-US"/>
              <a:t>Insert your slide title in Arial Bold 20pt</a:t>
            </a:r>
            <a:endParaRPr lang="en-GB"/>
          </a:p>
        </p:txBody>
      </p:sp>
    </p:spTree>
    <p:extLst>
      <p:ext uri="{BB962C8B-B14F-4D97-AF65-F5344CB8AC3E}">
        <p14:creationId xmlns:p14="http://schemas.microsoft.com/office/powerpoint/2010/main" val="966076610"/>
      </p:ext>
    </p:extLst>
  </p:cSld>
  <p:clrMapOvr>
    <a:masterClrMapping/>
  </p:clrMapOvr>
  <p:extLst>
    <p:ext uri="{DCECCB84-F9BA-43D5-87BE-67443E8EF086}">
      <p15:sldGuideLst xmlns:p15="http://schemas.microsoft.com/office/powerpoint/2012/main">
        <p15:guide id="2" pos="7680">
          <p15:clr>
            <a:srgbClr val="FBAE40"/>
          </p15:clr>
        </p15:guide>
        <p15:guide id="4" pos="3768">
          <p15:clr>
            <a:srgbClr val="A4A3A4"/>
          </p15:clr>
        </p15:guide>
        <p15:guide id="5" pos="3912">
          <p15:clr>
            <a:srgbClr val="A4A3A4"/>
          </p15:clr>
        </p15:guide>
        <p15:guide id="6" pos="749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Half Dark">
    <p:spTree>
      <p:nvGrpSpPr>
        <p:cNvPr id="1" name=""/>
        <p:cNvGrpSpPr/>
        <p:nvPr/>
      </p:nvGrpSpPr>
      <p:grpSpPr>
        <a:xfrm>
          <a:off x="0" y="0"/>
          <a:ext cx="0" cy="0"/>
          <a:chOff x="0" y="0"/>
          <a:chExt cx="0" cy="0"/>
        </a:xfrm>
      </p:grpSpPr>
      <p:sp>
        <p:nvSpPr>
          <p:cNvPr id="14" name="Block Bkgd">
            <a:extLst>
              <a:ext uri="{FF2B5EF4-FFF2-40B4-BE49-F238E27FC236}">
                <a16:creationId xmlns:a16="http://schemas.microsoft.com/office/drawing/2014/main" id="{EF28BEE6-A3B9-F3EC-053D-F000E1C03344}"/>
              </a:ext>
            </a:extLst>
          </p:cNvPr>
          <p:cNvSpPr>
            <a:spLocks noGrp="1" noRot="1" noMove="1" noResize="1" noEditPoints="1" noAdjustHandles="1" noChangeArrowheads="1" noChangeShapeType="1"/>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7" name="Slide Number Placeholder">
            <a:extLst>
              <a:ext uri="{FF2B5EF4-FFF2-40B4-BE49-F238E27FC236}">
                <a16:creationId xmlns:a16="http://schemas.microsoft.com/office/drawing/2014/main" id="{E94EA2D6-F376-E5FB-864F-2472964B1215}"/>
              </a:ext>
            </a:extLst>
          </p:cNvPr>
          <p:cNvSpPr>
            <a:spLocks noGrp="1" noRot="1" noMove="1" noResize="1" noEditPoints="1" noAdjustHandles="1" noChangeArrowheads="1" noChangeShapeType="1"/>
          </p:cNvSpPr>
          <p:nvPr>
            <p:ph type="sldNum" sz="quarter" idx="12"/>
          </p:nvPr>
        </p:nvSpPr>
        <p:spPr/>
        <p:txBody>
          <a:bodyPr/>
          <a:lstStyle>
            <a:lvl1pPr>
              <a:defRPr>
                <a:solidFill>
                  <a:schemeClr val="bg1"/>
                </a:solidFill>
              </a:defRPr>
            </a:lvl1pPr>
          </a:lstStyle>
          <a:p>
            <a:fld id="{3E04DF46-C0DC-4ADC-9A6F-918CC4703A43}" type="slidenum">
              <a:rPr lang="en-GB" smtClean="0"/>
              <a:pPr/>
              <a:t>‹#›</a:t>
            </a:fld>
            <a:endParaRPr lang="en-GB"/>
          </a:p>
        </p:txBody>
      </p:sp>
      <p:sp>
        <p:nvSpPr>
          <p:cNvPr id="16" name="Copyright Line">
            <a:extLst>
              <a:ext uri="{FF2B5EF4-FFF2-40B4-BE49-F238E27FC236}">
                <a16:creationId xmlns:a16="http://schemas.microsoft.com/office/drawing/2014/main" id="{9C89E4B4-9DF8-8FBA-0988-31F1C70E4154}"/>
              </a:ext>
            </a:extLst>
          </p:cNvPr>
          <p:cNvSpPr txBox="1">
            <a:spLocks noGrp="1" noRot="1" noMove="1" noResize="1" noEditPoints="1" noAdjustHandles="1" noChangeArrowheads="1" noChangeShapeType="1"/>
          </p:cNvSpPr>
          <p:nvPr userDrawn="1"/>
        </p:nvSpPr>
        <p:spPr>
          <a:xfrm>
            <a:off x="9167809" y="6536551"/>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a:t>
            </a:r>
            <a:fld id="{92E70860-886D-4303-B2B5-BD1295E1FD39}" type="datetimeyyyy">
              <a:rPr lang="en-US" sz="700" smtClean="0">
                <a:solidFill>
                  <a:schemeClr val="tx1">
                    <a:lumMod val="40000"/>
                    <a:lumOff val="60000"/>
                  </a:schemeClr>
                </a:solidFill>
              </a:rPr>
              <a:t>2024</a:t>
            </a:fld>
            <a:r>
              <a:rPr lang="en-US" sz="700">
                <a:solidFill>
                  <a:schemeClr val="tx1">
                    <a:lumMod val="40000"/>
                    <a:lumOff val="60000"/>
                  </a:schemeClr>
                </a:solidFill>
              </a:rPr>
              <a:t> Nielsen Consumer LLC. All Rights Reserved.</a:t>
            </a:r>
          </a:p>
        </p:txBody>
      </p:sp>
      <p:sp>
        <p:nvSpPr>
          <p:cNvPr id="8" name="Confidential disclaimer">
            <a:extLst>
              <a:ext uri="{FF2B5EF4-FFF2-40B4-BE49-F238E27FC236}">
                <a16:creationId xmlns:a16="http://schemas.microsoft.com/office/drawing/2014/main" id="{96D5C3C7-B3B0-FB86-5907-4E244DADEAE3}"/>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15" name="Footer Placeholder">
            <a:extLst>
              <a:ext uri="{FF2B5EF4-FFF2-40B4-BE49-F238E27FC236}">
                <a16:creationId xmlns:a16="http://schemas.microsoft.com/office/drawing/2014/main" id="{E1297F61-9D45-2558-68F0-C18078DF959B}"/>
              </a:ext>
            </a:extLst>
          </p:cNvPr>
          <p:cNvSpPr>
            <a:spLocks noGrp="1" noRot="1" noMove="1" noResize="1" noEditPoints="1" noAdjustHandles="1" noChangeArrowheads="1" noChangeShapeType="1"/>
          </p:cNvSpPr>
          <p:nvPr>
            <p:ph type="ftr" sz="quarter" idx="16"/>
          </p:nvPr>
        </p:nvSpPr>
        <p:spPr>
          <a:xfrm>
            <a:off x="3251200" y="6485399"/>
            <a:ext cx="2551110" cy="282957"/>
          </a:xfrm>
        </p:spPr>
        <p:txBody>
          <a:bodyPr/>
          <a:lstStyle/>
          <a:p>
            <a:endParaRPr lang="en-GB"/>
          </a:p>
        </p:txBody>
      </p:sp>
      <p:sp>
        <p:nvSpPr>
          <p:cNvPr id="5" name="Date Placeholder">
            <a:extLst>
              <a:ext uri="{FF2B5EF4-FFF2-40B4-BE49-F238E27FC236}">
                <a16:creationId xmlns:a16="http://schemas.microsoft.com/office/drawing/2014/main" id="{339D1539-DC5B-675F-DCC6-5BBCE25FC740}"/>
              </a:ext>
            </a:extLst>
          </p:cNvPr>
          <p:cNvSpPr>
            <a:spLocks noGrp="1" noRot="1" noMove="1" noResize="1" noEditPoints="1" noAdjustHandles="1" noChangeArrowheads="1" noChangeShapeType="1"/>
          </p:cNvSpPr>
          <p:nvPr>
            <p:ph type="dt" sz="half" idx="10"/>
          </p:nvPr>
        </p:nvSpPr>
        <p:spPr/>
        <p:txBody>
          <a:bodyPr/>
          <a:lstStyle/>
          <a:p>
            <a:fld id="{B789455A-F4F5-4ADB-BA98-24336C9EA3E7}" type="datetime1">
              <a:rPr lang="en-GB" smtClean="0"/>
              <a:t>18/11/2024</a:t>
            </a:fld>
            <a:endParaRPr lang="en-GB"/>
          </a:p>
        </p:txBody>
      </p:sp>
      <p:cxnSp>
        <p:nvCxnSpPr>
          <p:cNvPr id="17" name="Base Rule">
            <a:extLst>
              <a:ext uri="{FF2B5EF4-FFF2-40B4-BE49-F238E27FC236}">
                <a16:creationId xmlns:a16="http://schemas.microsoft.com/office/drawing/2014/main" id="{0DFE5D64-C53A-A500-F0A7-C09857B818AB}"/>
              </a:ext>
            </a:extLst>
          </p:cNvPr>
          <p:cNvCxnSpPr>
            <a:cxnSpLocks noGrp="1" noRot="1" noMove="1" noResize="1" noEditPoints="1" noAdjustHandles="1" noChangeArrowheads="1" noChangeShapeType="1"/>
          </p:cNvCxnSpPr>
          <p:nvPr userDrawn="1"/>
        </p:nvCxnSpPr>
        <p:spPr>
          <a:xfrm>
            <a:off x="6096000" y="6395755"/>
            <a:ext cx="580390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ource Placeholder">
            <a:extLst>
              <a:ext uri="{FF2B5EF4-FFF2-40B4-BE49-F238E27FC236}">
                <a16:creationId xmlns:a16="http://schemas.microsoft.com/office/drawing/2014/main" id="{2EA71DC4-3628-4313-321C-9A95F89CAB2F}"/>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4" name="Content 2 Placeholder">
            <a:extLst>
              <a:ext uri="{FF2B5EF4-FFF2-40B4-BE49-F238E27FC236}">
                <a16:creationId xmlns:a16="http://schemas.microsoft.com/office/drawing/2014/main" id="{5D43A841-AD92-4556-21E4-9939D57FC0A6}"/>
              </a:ext>
            </a:extLst>
          </p:cNvPr>
          <p:cNvSpPr>
            <a:spLocks noGrp="1" noRot="1" noMove="1" noResize="1" noEditPoints="1" noAdjustHandles="1" noChangeArrowheads="1" noChangeShapeType="1"/>
          </p:cNvSpPr>
          <p:nvPr>
            <p:ph sz="half" idx="2" hasCustomPrompt="1"/>
          </p:nvPr>
        </p:nvSpPr>
        <p:spPr>
          <a:xfrm>
            <a:off x="6388100" y="1638301"/>
            <a:ext cx="5511800" cy="403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content here</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Subtitle 2 Placeholder">
            <a:extLst>
              <a:ext uri="{FF2B5EF4-FFF2-40B4-BE49-F238E27FC236}">
                <a16:creationId xmlns:a16="http://schemas.microsoft.com/office/drawing/2014/main" id="{9B24A1DB-1E99-30C3-D014-5A6DEDB3C66E}"/>
              </a:ext>
            </a:extLst>
          </p:cNvPr>
          <p:cNvSpPr>
            <a:spLocks noGrp="1" noRot="1" noMove="1" noResize="1" noEditPoints="1" noAdjustHandles="1" noChangeArrowheads="1" noChangeShapeType="1"/>
          </p:cNvSpPr>
          <p:nvPr>
            <p:ph type="body" sz="quarter" idx="15" hasCustomPrompt="1"/>
          </p:nvPr>
        </p:nvSpPr>
        <p:spPr>
          <a:xfrm>
            <a:off x="6388895" y="579495"/>
            <a:ext cx="5511005"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bg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6" name="Title 2 Placeholder">
            <a:extLst>
              <a:ext uri="{FF2B5EF4-FFF2-40B4-BE49-F238E27FC236}">
                <a16:creationId xmlns:a16="http://schemas.microsoft.com/office/drawing/2014/main" id="{2D03B6C0-C08D-EDFA-F4C8-01772C443E65}"/>
              </a:ext>
            </a:extLst>
          </p:cNvPr>
          <p:cNvSpPr>
            <a:spLocks noGrp="1" noRot="1" noMove="1" noResize="1" noEditPoints="1" noAdjustHandles="1" noChangeArrowheads="1" noChangeShapeType="1"/>
          </p:cNvSpPr>
          <p:nvPr>
            <p:ph type="body" sz="quarter" idx="17" hasCustomPrompt="1"/>
          </p:nvPr>
        </p:nvSpPr>
        <p:spPr>
          <a:xfrm>
            <a:off x="6383895" y="274634"/>
            <a:ext cx="5514418" cy="295756"/>
          </a:xfrm>
        </p:spPr>
        <p:txBody>
          <a:bodyPr anchor="t" anchorCtr="0">
            <a:noAutofit/>
          </a:bodyPr>
          <a:lstStyle>
            <a:lvl1pPr marL="0" indent="0">
              <a:buFont typeface="Arial" panose="020B0604020202020204" pitchFamily="34" charset="0"/>
              <a:buNone/>
              <a:defRPr sz="2000" b="1">
                <a:solidFill>
                  <a:schemeClr val="bg1"/>
                </a:solidFill>
              </a:defRPr>
            </a:lvl1pPr>
          </a:lstStyle>
          <a:p>
            <a:pPr lvl="0"/>
            <a:r>
              <a:rPr lang="en-US"/>
              <a:t>Insert your slide title in Arial Bold 20pt</a:t>
            </a:r>
          </a:p>
        </p:txBody>
      </p:sp>
      <p:sp>
        <p:nvSpPr>
          <p:cNvPr id="3" name="Content 1 Placeholder">
            <a:extLst>
              <a:ext uri="{FF2B5EF4-FFF2-40B4-BE49-F238E27FC236}">
                <a16:creationId xmlns:a16="http://schemas.microsoft.com/office/drawing/2014/main" id="{BBF77ABD-CA9D-F0FB-47F7-ABF58A85B72B}"/>
              </a:ext>
            </a:extLst>
          </p:cNvPr>
          <p:cNvSpPr>
            <a:spLocks noGrp="1" noRot="1" noMove="1" noResize="1" noEditPoints="1" noAdjustHandles="1" noChangeArrowheads="1" noChangeShapeType="1"/>
          </p:cNvSpPr>
          <p:nvPr>
            <p:ph sz="half" idx="1" hasCustomPrompt="1"/>
          </p:nvPr>
        </p:nvSpPr>
        <p:spPr>
          <a:xfrm>
            <a:off x="292100" y="1638301"/>
            <a:ext cx="5510210" cy="4038600"/>
          </a:xfrm>
        </p:spPr>
        <p:txBody>
          <a:bodyPr/>
          <a:lstStyle>
            <a:lvl1pPr>
              <a:defRPr/>
            </a:lvl1pPr>
          </a:lstStyle>
          <a:p>
            <a:pPr lvl="0"/>
            <a:r>
              <a:rPr lang="en-US"/>
              <a:t>Insert content here</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ubtitle 1 Placeholder">
            <a:extLst>
              <a:ext uri="{FF2B5EF4-FFF2-40B4-BE49-F238E27FC236}">
                <a16:creationId xmlns:a16="http://schemas.microsoft.com/office/drawing/2014/main" id="{4DF2806F-470A-D63D-6287-2D96392FDBED}"/>
              </a:ext>
            </a:extLst>
          </p:cNvPr>
          <p:cNvSpPr>
            <a:spLocks noGrp="1" noRot="1" noMove="1" noResize="1" noEditPoints="1" noAdjustHandles="1" noChangeArrowheads="1" noChangeShapeType="1"/>
          </p:cNvSpPr>
          <p:nvPr>
            <p:ph type="body" sz="quarter" idx="13" hasCustomPrompt="1"/>
          </p:nvPr>
        </p:nvSpPr>
        <p:spPr>
          <a:xfrm>
            <a:off x="292100" y="579495"/>
            <a:ext cx="5511005"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2" name="Title 1 Placeholder">
            <a:extLst>
              <a:ext uri="{FF2B5EF4-FFF2-40B4-BE49-F238E27FC236}">
                <a16:creationId xmlns:a16="http://schemas.microsoft.com/office/drawing/2014/main" id="{330527F2-4E92-075E-0582-2535F1B4C690}"/>
              </a:ext>
            </a:extLst>
          </p:cNvPr>
          <p:cNvSpPr>
            <a:spLocks noGrp="1" noRot="1" noMove="1" noResize="1" noEditPoints="1" noAdjustHandles="1" noChangeArrowheads="1" noChangeShapeType="1"/>
          </p:cNvSpPr>
          <p:nvPr>
            <p:ph type="title" hasCustomPrompt="1"/>
          </p:nvPr>
        </p:nvSpPr>
        <p:spPr>
          <a:xfrm>
            <a:off x="292100" y="304800"/>
            <a:ext cx="5513623" cy="265590"/>
          </a:xfrm>
        </p:spPr>
        <p:txBody>
          <a:bodyPr/>
          <a:lstStyle/>
          <a:p>
            <a:r>
              <a:rPr lang="en-US"/>
              <a:t>Insert your slide title in Arial Bold 20pt</a:t>
            </a:r>
            <a:endParaRPr lang="en-GB"/>
          </a:p>
        </p:txBody>
      </p:sp>
    </p:spTree>
    <p:extLst>
      <p:ext uri="{BB962C8B-B14F-4D97-AF65-F5344CB8AC3E}">
        <p14:creationId xmlns:p14="http://schemas.microsoft.com/office/powerpoint/2010/main" val="3650079806"/>
      </p:ext>
    </p:extLst>
  </p:cSld>
  <p:clrMapOvr>
    <a:masterClrMapping/>
  </p:clrMapOvr>
  <p:extLst>
    <p:ext uri="{DCECCB84-F9BA-43D5-87BE-67443E8EF086}">
      <p15:sldGuideLst xmlns:p15="http://schemas.microsoft.com/office/powerpoint/2012/main">
        <p15:guide id="2" pos="7680">
          <p15:clr>
            <a:srgbClr val="FBAE40"/>
          </p15:clr>
        </p15:guide>
        <p15:guide id="4" pos="3768">
          <p15:clr>
            <a:srgbClr val="A4A3A4"/>
          </p15:clr>
        </p15:guide>
        <p15:guide id="5" pos="3912">
          <p15:clr>
            <a:srgbClr val="A4A3A4"/>
          </p15:clr>
        </p15:guide>
        <p15:guide id="6" pos="749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Half Image">
    <p:spTree>
      <p:nvGrpSpPr>
        <p:cNvPr id="1" name=""/>
        <p:cNvGrpSpPr/>
        <p:nvPr/>
      </p:nvGrpSpPr>
      <p:grpSpPr>
        <a:xfrm>
          <a:off x="0" y="0"/>
          <a:ext cx="0" cy="0"/>
          <a:chOff x="0" y="0"/>
          <a:chExt cx="0" cy="0"/>
        </a:xfrm>
      </p:grpSpPr>
      <p:sp>
        <p:nvSpPr>
          <p:cNvPr id="18" name="Rule Block">
            <a:extLst>
              <a:ext uri="{FF2B5EF4-FFF2-40B4-BE49-F238E27FC236}">
                <a16:creationId xmlns:a16="http://schemas.microsoft.com/office/drawing/2014/main" id="{658D6E94-1F36-94B6-33A7-7C708E049D30}"/>
              </a:ext>
            </a:extLst>
          </p:cNvPr>
          <p:cNvSpPr>
            <a:spLocks noGrp="1" noRot="1" noMove="1" noResize="1" noEditPoints="1" noAdjustHandles="1" noChangeArrowheads="1" noChangeShapeType="1"/>
          </p:cNvSpPr>
          <p:nvPr userDrawn="1"/>
        </p:nvSpPr>
        <p:spPr>
          <a:xfrm>
            <a:off x="5802310" y="6299199"/>
            <a:ext cx="293690" cy="1861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GB" err="1"/>
          </a:p>
        </p:txBody>
      </p:sp>
      <p:sp>
        <p:nvSpPr>
          <p:cNvPr id="12" name="Picture Placeholder">
            <a:extLst>
              <a:ext uri="{FF2B5EF4-FFF2-40B4-BE49-F238E27FC236}">
                <a16:creationId xmlns:a16="http://schemas.microsoft.com/office/drawing/2014/main" id="{7A78F6A2-6801-C5FD-6F85-67A9BBDEF53C}"/>
              </a:ext>
            </a:extLst>
          </p:cNvPr>
          <p:cNvSpPr>
            <a:spLocks noGrp="1" noRot="1" noMove="1" noResize="1" noEditPoints="1" noAdjustHandles="1" noChangeArrowheads="1" noChangeShapeType="1"/>
          </p:cNvSpPr>
          <p:nvPr>
            <p:ph type="pic" sz="quarter" idx="17" hasCustomPrompt="1"/>
          </p:nvPr>
        </p:nvSpPr>
        <p:spPr>
          <a:xfrm>
            <a:off x="6096000" y="0"/>
            <a:ext cx="6096000" cy="6858000"/>
          </a:xfrm>
          <a:solidFill>
            <a:schemeClr val="tx1">
              <a:lumMod val="60000"/>
              <a:lumOff val="40000"/>
            </a:schemeClr>
          </a:solidFill>
        </p:spPr>
        <p:txBody>
          <a:bodyPr lIns="182880" tIns="91440" rIns="274320" anchor="t">
            <a:normAutofit/>
          </a:bodyPr>
          <a:lstStyle>
            <a:lvl1pPr marL="174625" indent="-174625" algn="l">
              <a:spcBef>
                <a:spcPts val="0"/>
              </a:spcBef>
              <a:buFont typeface="Arial" panose="020B0604020202020204" pitchFamily="34" charset="0"/>
              <a:buNone/>
              <a:defRPr sz="1400" b="1">
                <a:solidFill>
                  <a:srgbClr val="FFFF00"/>
                </a:solidFill>
              </a:defRPr>
            </a:lvl1pPr>
          </a:lstStyle>
          <a:p>
            <a:r>
              <a:rPr lang="en-US"/>
              <a:t>To add image: </a:t>
            </a:r>
            <a:br>
              <a:rPr lang="en-US"/>
            </a:br>
            <a:r>
              <a:rPr lang="en-US"/>
              <a:t>1. Select image placeholder </a:t>
            </a:r>
            <a:br>
              <a:rPr lang="en-US"/>
            </a:br>
            <a:r>
              <a:rPr lang="en-US"/>
              <a:t>2. Drag/drop file or copy/paste image into slide (.jpg, .gif, .</a:t>
            </a:r>
            <a:r>
              <a:rPr lang="en-US" err="1"/>
              <a:t>png</a:t>
            </a:r>
            <a:r>
              <a:rPr lang="en-US"/>
              <a:t>) </a:t>
            </a:r>
            <a:br>
              <a:rPr lang="en-US"/>
            </a:br>
            <a:r>
              <a:rPr lang="en-US"/>
              <a:t>3. Right-click image and “Send to back”</a:t>
            </a:r>
          </a:p>
          <a:p>
            <a:r>
              <a:rPr lang="en-GB"/>
              <a:t> </a:t>
            </a:r>
          </a:p>
        </p:txBody>
      </p:sp>
      <p:sp>
        <p:nvSpPr>
          <p:cNvPr id="7" name="Slide Number Placeholder">
            <a:extLst>
              <a:ext uri="{FF2B5EF4-FFF2-40B4-BE49-F238E27FC236}">
                <a16:creationId xmlns:a16="http://schemas.microsoft.com/office/drawing/2014/main" id="{E94EA2D6-F376-E5FB-864F-2472964B1215}"/>
              </a:ext>
            </a:extLst>
          </p:cNvPr>
          <p:cNvSpPr>
            <a:spLocks noGrp="1" noRot="1" noMove="1" noResize="1" noEditPoints="1" noAdjustHandles="1" noChangeArrowheads="1" noChangeShapeType="1"/>
          </p:cNvSpPr>
          <p:nvPr>
            <p:ph type="sldNum" sz="quarter" idx="12"/>
          </p:nvPr>
        </p:nvSpPr>
        <p:spPr/>
        <p:txBody>
          <a:bodyPr/>
          <a:lstStyle>
            <a:lvl1pPr>
              <a:defRPr>
                <a:solidFill>
                  <a:schemeClr val="bg1"/>
                </a:solidFill>
              </a:defRPr>
            </a:lvl1pPr>
          </a:lstStyle>
          <a:p>
            <a:fld id="{3E04DF46-C0DC-4ADC-9A6F-918CC4703A43}" type="slidenum">
              <a:rPr lang="en-GB" smtClean="0"/>
              <a:pPr/>
              <a:t>‹#›</a:t>
            </a:fld>
            <a:endParaRPr lang="en-GB"/>
          </a:p>
        </p:txBody>
      </p:sp>
      <p:sp>
        <p:nvSpPr>
          <p:cNvPr id="16" name="Copyright Line">
            <a:extLst>
              <a:ext uri="{FF2B5EF4-FFF2-40B4-BE49-F238E27FC236}">
                <a16:creationId xmlns:a16="http://schemas.microsoft.com/office/drawing/2014/main" id="{9C89E4B4-9DF8-8FBA-0988-31F1C70E4154}"/>
              </a:ext>
            </a:extLst>
          </p:cNvPr>
          <p:cNvSpPr txBox="1">
            <a:spLocks noGrp="1" noRot="1" noMove="1" noResize="1" noEditPoints="1" noAdjustHandles="1" noChangeArrowheads="1" noChangeShapeType="1"/>
          </p:cNvSpPr>
          <p:nvPr userDrawn="1"/>
        </p:nvSpPr>
        <p:spPr>
          <a:xfrm>
            <a:off x="9167809" y="6536551"/>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a:t>
            </a:r>
            <a:fld id="{92E70860-886D-4303-B2B5-BD1295E1FD39}" type="datetimeyyyy">
              <a:rPr lang="en-US" sz="700" smtClean="0">
                <a:solidFill>
                  <a:schemeClr val="tx1">
                    <a:lumMod val="40000"/>
                    <a:lumOff val="60000"/>
                  </a:schemeClr>
                </a:solidFill>
              </a:rPr>
              <a:t>2024</a:t>
            </a:fld>
            <a:r>
              <a:rPr lang="en-US" sz="700">
                <a:solidFill>
                  <a:schemeClr val="tx1">
                    <a:lumMod val="40000"/>
                    <a:lumOff val="60000"/>
                  </a:schemeClr>
                </a:solidFill>
              </a:rPr>
              <a:t> Nielsen Consumer LLC. All Rights Reserved.</a:t>
            </a:r>
          </a:p>
        </p:txBody>
      </p:sp>
      <p:sp>
        <p:nvSpPr>
          <p:cNvPr id="8" name="Confidential disclaimer">
            <a:extLst>
              <a:ext uri="{FF2B5EF4-FFF2-40B4-BE49-F238E27FC236}">
                <a16:creationId xmlns:a16="http://schemas.microsoft.com/office/drawing/2014/main" id="{96D5C3C7-B3B0-FB86-5907-4E244DADEAE3}"/>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15" name="Footer Placeholder">
            <a:extLst>
              <a:ext uri="{FF2B5EF4-FFF2-40B4-BE49-F238E27FC236}">
                <a16:creationId xmlns:a16="http://schemas.microsoft.com/office/drawing/2014/main" id="{E1297F61-9D45-2558-68F0-C18078DF959B}"/>
              </a:ext>
            </a:extLst>
          </p:cNvPr>
          <p:cNvSpPr>
            <a:spLocks noGrp="1" noRot="1" noMove="1" noResize="1" noEditPoints="1" noAdjustHandles="1" noChangeArrowheads="1" noChangeShapeType="1"/>
          </p:cNvSpPr>
          <p:nvPr>
            <p:ph type="ftr" sz="quarter" idx="16"/>
          </p:nvPr>
        </p:nvSpPr>
        <p:spPr>
          <a:xfrm>
            <a:off x="3251200" y="6485399"/>
            <a:ext cx="2551110" cy="282957"/>
          </a:xfrm>
        </p:spPr>
        <p:txBody>
          <a:bodyPr/>
          <a:lstStyle/>
          <a:p>
            <a:endParaRPr lang="en-GB"/>
          </a:p>
        </p:txBody>
      </p:sp>
      <p:sp>
        <p:nvSpPr>
          <p:cNvPr id="5" name="Date Placeholder">
            <a:extLst>
              <a:ext uri="{FF2B5EF4-FFF2-40B4-BE49-F238E27FC236}">
                <a16:creationId xmlns:a16="http://schemas.microsoft.com/office/drawing/2014/main" id="{339D1539-DC5B-675F-DCC6-5BBCE25FC740}"/>
              </a:ext>
            </a:extLst>
          </p:cNvPr>
          <p:cNvSpPr>
            <a:spLocks noGrp="1" noRot="1" noMove="1" noResize="1" noEditPoints="1" noAdjustHandles="1" noChangeArrowheads="1" noChangeShapeType="1"/>
          </p:cNvSpPr>
          <p:nvPr>
            <p:ph type="dt" sz="half" idx="10"/>
          </p:nvPr>
        </p:nvSpPr>
        <p:spPr/>
        <p:txBody>
          <a:bodyPr/>
          <a:lstStyle/>
          <a:p>
            <a:fld id="{B789455A-F4F5-4ADB-BA98-24336C9EA3E7}" type="datetime1">
              <a:rPr lang="en-GB" smtClean="0"/>
              <a:t>18/11/2024</a:t>
            </a:fld>
            <a:endParaRPr lang="en-GB"/>
          </a:p>
        </p:txBody>
      </p:sp>
      <p:sp>
        <p:nvSpPr>
          <p:cNvPr id="9" name="Source Placeholder">
            <a:extLst>
              <a:ext uri="{FF2B5EF4-FFF2-40B4-BE49-F238E27FC236}">
                <a16:creationId xmlns:a16="http://schemas.microsoft.com/office/drawing/2014/main" id="{2EA71DC4-3628-4313-321C-9A95F89CAB2F}"/>
              </a:ext>
            </a:extLst>
          </p:cNvPr>
          <p:cNvSpPr>
            <a:spLocks noGrp="1" noRot="1" noMove="1" noResize="1" noEditPoints="1" noAdjustHandles="1" noChangeArrowheads="1" noChangeShapeType="1"/>
          </p:cNvSpPr>
          <p:nvPr>
            <p:ph type="body" sz="quarter" idx="14" hasCustomPrompt="1"/>
          </p:nvPr>
        </p:nvSpPr>
        <p:spPr>
          <a:xfrm>
            <a:off x="292100" y="6108700"/>
            <a:ext cx="551021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3" name="Content 1 Placeholder">
            <a:extLst>
              <a:ext uri="{FF2B5EF4-FFF2-40B4-BE49-F238E27FC236}">
                <a16:creationId xmlns:a16="http://schemas.microsoft.com/office/drawing/2014/main" id="{BBF77ABD-CA9D-F0FB-47F7-ABF58A85B72B}"/>
              </a:ext>
            </a:extLst>
          </p:cNvPr>
          <p:cNvSpPr>
            <a:spLocks noGrp="1" noRot="1" noMove="1" noResize="1" noEditPoints="1" noAdjustHandles="1" noChangeArrowheads="1" noChangeShapeType="1"/>
          </p:cNvSpPr>
          <p:nvPr>
            <p:ph sz="half" idx="1" hasCustomPrompt="1"/>
          </p:nvPr>
        </p:nvSpPr>
        <p:spPr>
          <a:xfrm>
            <a:off x="292100" y="1638301"/>
            <a:ext cx="5510210" cy="4038600"/>
          </a:xfrm>
        </p:spPr>
        <p:txBody>
          <a:bodyPr/>
          <a:lstStyle>
            <a:lvl1pPr>
              <a:defRPr/>
            </a:lvl1pPr>
          </a:lstStyle>
          <a:p>
            <a:pPr lvl="0"/>
            <a:r>
              <a:rPr lang="en-US"/>
              <a:t>Insert content here</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ubtitle 1 Placeholder">
            <a:extLst>
              <a:ext uri="{FF2B5EF4-FFF2-40B4-BE49-F238E27FC236}">
                <a16:creationId xmlns:a16="http://schemas.microsoft.com/office/drawing/2014/main" id="{4DF2806F-470A-D63D-6287-2D96392FDBED}"/>
              </a:ext>
            </a:extLst>
          </p:cNvPr>
          <p:cNvSpPr>
            <a:spLocks noGrp="1" noRot="1" noMove="1" noResize="1" noEditPoints="1" noAdjustHandles="1" noChangeArrowheads="1" noChangeShapeType="1"/>
          </p:cNvSpPr>
          <p:nvPr>
            <p:ph type="body" sz="quarter" idx="13" hasCustomPrompt="1"/>
          </p:nvPr>
        </p:nvSpPr>
        <p:spPr>
          <a:xfrm>
            <a:off x="292100" y="579495"/>
            <a:ext cx="5511005"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2" name="Title 1 Placeholder">
            <a:extLst>
              <a:ext uri="{FF2B5EF4-FFF2-40B4-BE49-F238E27FC236}">
                <a16:creationId xmlns:a16="http://schemas.microsoft.com/office/drawing/2014/main" id="{330527F2-4E92-075E-0582-2535F1B4C690}"/>
              </a:ext>
            </a:extLst>
          </p:cNvPr>
          <p:cNvSpPr>
            <a:spLocks noGrp="1" noRot="1" noMove="1" noResize="1" noEditPoints="1" noAdjustHandles="1" noChangeArrowheads="1" noChangeShapeType="1"/>
          </p:cNvSpPr>
          <p:nvPr>
            <p:ph type="title" hasCustomPrompt="1"/>
          </p:nvPr>
        </p:nvSpPr>
        <p:spPr>
          <a:xfrm>
            <a:off x="292100" y="304800"/>
            <a:ext cx="5513623" cy="265590"/>
          </a:xfrm>
        </p:spPr>
        <p:txBody>
          <a:bodyPr/>
          <a:lstStyle/>
          <a:p>
            <a:r>
              <a:rPr lang="en-US"/>
              <a:t>Insert your slide title in Arial Bold 20pt</a:t>
            </a:r>
            <a:endParaRPr lang="en-GB"/>
          </a:p>
        </p:txBody>
      </p:sp>
      <p:sp>
        <p:nvSpPr>
          <p:cNvPr id="22" name="Off-slide Instructions">
            <a:extLst>
              <a:ext uri="{FF2B5EF4-FFF2-40B4-BE49-F238E27FC236}">
                <a16:creationId xmlns:a16="http://schemas.microsoft.com/office/drawing/2014/main" id="{960CB651-6B1A-3200-5D2F-A4891428ED7E}"/>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12338614" y="0"/>
            <a:ext cx="2812486" cy="2373888"/>
          </a:xfrm>
          <a:prstGeom prst="bracketPair">
            <a:avLst>
              <a:gd name="adj" fmla="val 4083"/>
            </a:avLst>
          </a:prstGeom>
          <a:solidFill>
            <a:srgbClr val="FFFF00">
              <a:alpha val="80000"/>
            </a:srgbClr>
          </a:solidFill>
          <a:ln w="38100">
            <a:solidFill>
              <a:srgbClr val="FFC000"/>
            </a:solidFill>
          </a:ln>
        </p:spPr>
        <p:style>
          <a:lnRef idx="1">
            <a:schemeClr val="accent1"/>
          </a:lnRef>
          <a:fillRef idx="0">
            <a:schemeClr val="accent1"/>
          </a:fillRef>
          <a:effectRef idx="0">
            <a:schemeClr val="accent1"/>
          </a:effectRef>
          <a:fontRef idx="minor">
            <a:schemeClr val="tx1"/>
          </a:fontRef>
        </p:style>
        <p:txBody>
          <a:bodyPr wrap="square" rtlCol="0" anchor="ctr">
            <a:spAutoFit/>
          </a:bodyPr>
          <a:lstStyle/>
          <a:p>
            <a:pPr marL="0" indent="0" algn="l" defTabSz="914400" rtl="0" eaLnBrk="1" latinLnBrk="0" hangingPunct="1">
              <a:spcAft>
                <a:spcPts val="400"/>
              </a:spcAft>
              <a:buFont typeface="+mj-lt"/>
              <a:buNone/>
            </a:pPr>
            <a:r>
              <a:rPr lang="en-US" sz="1200" b="1" kern="1200">
                <a:solidFill>
                  <a:srgbClr val="000000"/>
                </a:solidFill>
                <a:latin typeface="+mn-lt"/>
                <a:ea typeface="+mn-ea"/>
                <a:cs typeface="+mn-cs"/>
              </a:rPr>
              <a:t>If copyright line, disclaimer, slide #, etc. are missing:</a:t>
            </a:r>
          </a:p>
          <a:p>
            <a:pPr marL="177800" lvl="0" indent="-177800">
              <a:spcAft>
                <a:spcPts val="400"/>
              </a:spcAft>
              <a:buFont typeface="+mj-lt"/>
              <a:buAutoNum type="arabicPeriod"/>
            </a:pPr>
            <a:r>
              <a:rPr lang="en-US" sz="800">
                <a:solidFill>
                  <a:srgbClr val="000000"/>
                </a:solidFill>
              </a:rPr>
              <a:t>Go to </a:t>
            </a:r>
            <a:r>
              <a:rPr lang="en-US" sz="800" b="1">
                <a:solidFill>
                  <a:srgbClr val="000000"/>
                </a:solidFill>
              </a:rPr>
              <a:t>View &gt; Slide Master</a:t>
            </a:r>
          </a:p>
          <a:p>
            <a:pPr marL="177800" lvl="0" indent="-177800">
              <a:spcAft>
                <a:spcPts val="400"/>
              </a:spcAft>
              <a:buFont typeface="+mj-lt"/>
              <a:buAutoNum type="arabicPeriod"/>
            </a:pPr>
            <a:r>
              <a:rPr lang="en-US" sz="800">
                <a:solidFill>
                  <a:srgbClr val="000000"/>
                </a:solidFill>
              </a:rPr>
              <a:t>Copy missing elements from Layout Master</a:t>
            </a:r>
          </a:p>
          <a:p>
            <a:pPr marL="177800" lvl="0" indent="-177800">
              <a:spcAft>
                <a:spcPts val="400"/>
              </a:spcAft>
              <a:buFont typeface="+mj-lt"/>
              <a:buAutoNum type="arabicPeriod"/>
            </a:pPr>
            <a:r>
              <a:rPr lang="en-US" sz="800">
                <a:solidFill>
                  <a:srgbClr val="000000"/>
                </a:solidFill>
              </a:rPr>
              <a:t>Close Master View</a:t>
            </a:r>
          </a:p>
          <a:p>
            <a:pPr marL="177800" lvl="0" indent="-177800">
              <a:spcAft>
                <a:spcPts val="400"/>
              </a:spcAft>
              <a:buFont typeface="+mj-lt"/>
              <a:buAutoNum type="arabicPeriod"/>
            </a:pPr>
            <a:r>
              <a:rPr lang="en-US" sz="800">
                <a:solidFill>
                  <a:srgbClr val="000000"/>
                </a:solidFill>
              </a:rPr>
              <a:t>Paste on slide</a:t>
            </a:r>
            <a:endParaRPr lang="en-US" sz="1200" b="1">
              <a:solidFill>
                <a:srgbClr val="000000"/>
              </a:solidFill>
            </a:endParaRPr>
          </a:p>
          <a:p>
            <a:pPr>
              <a:spcAft>
                <a:spcPts val="400"/>
              </a:spcAft>
            </a:pPr>
            <a:endParaRPr lang="en-US" sz="1200" b="1">
              <a:solidFill>
                <a:srgbClr val="000000"/>
              </a:solidFill>
            </a:endParaRPr>
          </a:p>
          <a:p>
            <a:pPr>
              <a:spcAft>
                <a:spcPts val="400"/>
              </a:spcAft>
            </a:pPr>
            <a:r>
              <a:rPr lang="en-US" sz="1200" b="1">
                <a:solidFill>
                  <a:srgbClr val="000000"/>
                </a:solidFill>
              </a:rPr>
              <a:t>To replace existing image:</a:t>
            </a:r>
          </a:p>
          <a:p>
            <a:pPr marL="174625" indent="-174625">
              <a:spcAft>
                <a:spcPts val="400"/>
              </a:spcAft>
              <a:buFont typeface="+mj-lt"/>
              <a:buAutoNum type="arabicPeriod"/>
            </a:pPr>
            <a:r>
              <a:rPr lang="en-US" sz="800">
                <a:solidFill>
                  <a:srgbClr val="000000"/>
                </a:solidFill>
              </a:rPr>
              <a:t>Right-click image placeholder</a:t>
            </a:r>
          </a:p>
          <a:p>
            <a:pPr marL="174625" indent="-174625">
              <a:spcAft>
                <a:spcPts val="400"/>
              </a:spcAft>
              <a:buFont typeface="+mj-lt"/>
              <a:buAutoNum type="arabicPeriod"/>
            </a:pPr>
            <a:r>
              <a:rPr lang="en-US" sz="800">
                <a:solidFill>
                  <a:srgbClr val="000000"/>
                </a:solidFill>
              </a:rPr>
              <a:t>Select </a:t>
            </a:r>
            <a:r>
              <a:rPr lang="en-US" sz="800" b="1">
                <a:solidFill>
                  <a:srgbClr val="000000"/>
                </a:solidFill>
              </a:rPr>
              <a:t>Change Picture</a:t>
            </a:r>
          </a:p>
          <a:p>
            <a:pPr marL="174625" indent="-174625">
              <a:spcAft>
                <a:spcPts val="400"/>
              </a:spcAft>
              <a:buFont typeface="+mj-lt"/>
              <a:buAutoNum type="arabicPeriod"/>
            </a:pPr>
            <a:r>
              <a:rPr lang="en-US" sz="800">
                <a:solidFill>
                  <a:srgbClr val="000000"/>
                </a:solidFill>
              </a:rPr>
              <a:t>Select</a:t>
            </a:r>
            <a:r>
              <a:rPr lang="en-US" sz="800" b="1">
                <a:solidFill>
                  <a:srgbClr val="000000"/>
                </a:solidFill>
              </a:rPr>
              <a:t> desired </a:t>
            </a:r>
            <a:r>
              <a:rPr lang="en-US" sz="800">
                <a:solidFill>
                  <a:srgbClr val="000000"/>
                </a:solidFill>
              </a:rPr>
              <a:t>image file (.jpg, .</a:t>
            </a:r>
            <a:r>
              <a:rPr lang="en-US" sz="800" err="1">
                <a:solidFill>
                  <a:srgbClr val="000000"/>
                </a:solidFill>
              </a:rPr>
              <a:t>png</a:t>
            </a:r>
            <a:r>
              <a:rPr lang="en-US" sz="800">
                <a:solidFill>
                  <a:srgbClr val="000000"/>
                </a:solidFill>
              </a:rPr>
              <a:t>, .gif)</a:t>
            </a:r>
          </a:p>
          <a:p>
            <a:pPr marL="174625" indent="-174625">
              <a:spcAft>
                <a:spcPts val="400"/>
              </a:spcAft>
              <a:buFont typeface="+mj-lt"/>
              <a:buAutoNum type="arabicPeriod"/>
            </a:pPr>
            <a:endParaRPr lang="en-US" sz="800">
              <a:solidFill>
                <a:srgbClr val="000000"/>
              </a:solidFill>
            </a:endParaRPr>
          </a:p>
        </p:txBody>
      </p:sp>
    </p:spTree>
    <p:extLst>
      <p:ext uri="{BB962C8B-B14F-4D97-AF65-F5344CB8AC3E}">
        <p14:creationId xmlns:p14="http://schemas.microsoft.com/office/powerpoint/2010/main" val="3405063405"/>
      </p:ext>
    </p:extLst>
  </p:cSld>
  <p:clrMapOvr>
    <a:masterClrMapping/>
  </p:clrMapOvr>
  <p:extLst>
    <p:ext uri="{DCECCB84-F9BA-43D5-87BE-67443E8EF086}">
      <p15:sldGuideLst xmlns:p15="http://schemas.microsoft.com/office/powerpoint/2012/main">
        <p15:guide id="2" pos="7680">
          <p15:clr>
            <a:srgbClr val="FBAE40"/>
          </p15:clr>
        </p15:guide>
        <p15:guide id="4" pos="3768">
          <p15:clr>
            <a:srgbClr val="A4A3A4"/>
          </p15:clr>
        </p15:guide>
        <p15:guide id="5" pos="3912">
          <p15:clr>
            <a:srgbClr val="A4A3A4"/>
          </p15:clr>
        </p15:guide>
        <p15:guide id="6" pos="7495">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5" name="Slide Number Placeholder">
            <a:extLst>
              <a:ext uri="{FF2B5EF4-FFF2-40B4-BE49-F238E27FC236}">
                <a16:creationId xmlns:a16="http://schemas.microsoft.com/office/drawing/2014/main" id="{334999CC-B0E8-932E-3334-1667B3798F02}"/>
              </a:ext>
            </a:extLst>
          </p:cNvPr>
          <p:cNvSpPr>
            <a:spLocks noGrp="1" noRot="1" noMove="1" noResize="1" noEditPoints="1" noAdjustHandles="1" noChangeArrowheads="1" noChangeShapeType="1"/>
          </p:cNvSpPr>
          <p:nvPr>
            <p:ph type="sldNum" sz="quarter" idx="12"/>
          </p:nvPr>
        </p:nvSpPr>
        <p:spPr/>
        <p:txBody>
          <a:bodyPr/>
          <a:lstStyle/>
          <a:p>
            <a:fld id="{3E04DF46-C0DC-4ADC-9A6F-918CC4703A43}" type="slidenum">
              <a:rPr lang="en-GB" smtClean="0"/>
              <a:t>‹#›</a:t>
            </a:fld>
            <a:endParaRPr lang="en-GB"/>
          </a:p>
        </p:txBody>
      </p:sp>
      <p:sp>
        <p:nvSpPr>
          <p:cNvPr id="4" name="Footer Placeholder">
            <a:extLst>
              <a:ext uri="{FF2B5EF4-FFF2-40B4-BE49-F238E27FC236}">
                <a16:creationId xmlns:a16="http://schemas.microsoft.com/office/drawing/2014/main" id="{CFA438E1-E88D-115E-D3AC-C02C6E11C4BF}"/>
              </a:ext>
            </a:extLst>
          </p:cNvPr>
          <p:cNvSpPr>
            <a:spLocks noGrp="1" noRot="1" noMove="1" noResize="1" noEditPoints="1" noAdjustHandles="1" noChangeArrowheads="1" noChangeShapeType="1"/>
          </p:cNvSpPr>
          <p:nvPr>
            <p:ph type="ftr" sz="quarter" idx="11"/>
          </p:nvPr>
        </p:nvSpPr>
        <p:spPr/>
        <p:txBody>
          <a:bodyPr/>
          <a:lstStyle/>
          <a:p>
            <a:endParaRPr lang="en-GB"/>
          </a:p>
        </p:txBody>
      </p:sp>
      <p:sp>
        <p:nvSpPr>
          <p:cNvPr id="3" name="Date Placeholder">
            <a:extLst>
              <a:ext uri="{FF2B5EF4-FFF2-40B4-BE49-F238E27FC236}">
                <a16:creationId xmlns:a16="http://schemas.microsoft.com/office/drawing/2014/main" id="{A9C7E5F4-8ACB-AE44-BEFF-CFE9E0596F33}"/>
              </a:ext>
            </a:extLst>
          </p:cNvPr>
          <p:cNvSpPr>
            <a:spLocks noGrp="1" noRot="1" noMove="1" noResize="1" noEditPoints="1" noAdjustHandles="1" noChangeArrowheads="1" noChangeShapeType="1"/>
          </p:cNvSpPr>
          <p:nvPr>
            <p:ph type="dt" sz="half" idx="10"/>
          </p:nvPr>
        </p:nvSpPr>
        <p:spPr/>
        <p:txBody>
          <a:bodyPr/>
          <a:lstStyle/>
          <a:p>
            <a:fld id="{1B0DF2C9-7B70-4009-B83E-42FD28295E6A}" type="datetime1">
              <a:rPr lang="en-GB" smtClean="0"/>
              <a:t>18/11/2024</a:t>
            </a:fld>
            <a:endParaRPr lang="en-GB"/>
          </a:p>
        </p:txBody>
      </p:sp>
      <p:sp>
        <p:nvSpPr>
          <p:cNvPr id="12" name="Source Placeholder">
            <a:extLst>
              <a:ext uri="{FF2B5EF4-FFF2-40B4-BE49-F238E27FC236}">
                <a16:creationId xmlns:a16="http://schemas.microsoft.com/office/drawing/2014/main" id="{C3339F06-F87A-3EB3-4646-D4F9A9AC27AC}"/>
              </a:ext>
            </a:extLst>
          </p:cNvPr>
          <p:cNvSpPr>
            <a:spLocks noGrp="1" noRot="1" noMove="1" noResize="1" noEditPoints="1" noAdjustHandles="1" noChangeArrowheads="1" noChangeShapeType="1"/>
          </p:cNvSpPr>
          <p:nvPr>
            <p:ph type="body" sz="quarter" idx="16"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11" name="Content 3 Placeholder">
            <a:extLst>
              <a:ext uri="{FF2B5EF4-FFF2-40B4-BE49-F238E27FC236}">
                <a16:creationId xmlns:a16="http://schemas.microsoft.com/office/drawing/2014/main" id="{F0ADA552-6794-0F4D-013E-A6DA97DBFF4E}"/>
              </a:ext>
            </a:extLst>
          </p:cNvPr>
          <p:cNvSpPr>
            <a:spLocks noGrp="1" noRot="1" noMove="1" noResize="1" noEditPoints="1" noAdjustHandles="1" noChangeArrowheads="1" noChangeShapeType="1"/>
          </p:cNvSpPr>
          <p:nvPr>
            <p:ph sz="quarter" idx="15" hasCustomPrompt="1"/>
          </p:nvPr>
        </p:nvSpPr>
        <p:spPr>
          <a:xfrm>
            <a:off x="8199441" y="2019300"/>
            <a:ext cx="3700459" cy="36576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Header 3 Placeholder">
            <a:extLst>
              <a:ext uri="{FF2B5EF4-FFF2-40B4-BE49-F238E27FC236}">
                <a16:creationId xmlns:a16="http://schemas.microsoft.com/office/drawing/2014/main" id="{2E94C2A3-89CF-36E6-BD07-E465D92FB482}"/>
              </a:ext>
            </a:extLst>
          </p:cNvPr>
          <p:cNvSpPr>
            <a:spLocks noGrp="1" noRot="1" noMove="1" noResize="1" noEditPoints="1" noAdjustHandles="1" noChangeArrowheads="1" noChangeShapeType="1"/>
          </p:cNvSpPr>
          <p:nvPr>
            <p:ph type="body" sz="quarter" idx="14" hasCustomPrompt="1"/>
          </p:nvPr>
        </p:nvSpPr>
        <p:spPr>
          <a:xfrm>
            <a:off x="8199441" y="1308100"/>
            <a:ext cx="3710815"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9" name="Content 2 Placeholder">
            <a:extLst>
              <a:ext uri="{FF2B5EF4-FFF2-40B4-BE49-F238E27FC236}">
                <a16:creationId xmlns:a16="http://schemas.microsoft.com/office/drawing/2014/main" id="{EEE356A3-4F73-532E-E901-63F8001F850D}"/>
              </a:ext>
            </a:extLst>
          </p:cNvPr>
          <p:cNvSpPr>
            <a:spLocks noGrp="1" noRot="1" noMove="1" noResize="1" noEditPoints="1" noAdjustHandles="1" noChangeArrowheads="1" noChangeShapeType="1"/>
          </p:cNvSpPr>
          <p:nvPr>
            <p:ph sz="quarter" idx="4" hasCustomPrompt="1"/>
          </p:nvPr>
        </p:nvSpPr>
        <p:spPr>
          <a:xfrm>
            <a:off x="4245770" y="2019300"/>
            <a:ext cx="3700459" cy="36576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8" name="Header 2 Placeholder">
            <a:extLst>
              <a:ext uri="{FF2B5EF4-FFF2-40B4-BE49-F238E27FC236}">
                <a16:creationId xmlns:a16="http://schemas.microsoft.com/office/drawing/2014/main" id="{BC5A4612-F020-83E1-2D4D-D6D0BB51483B}"/>
              </a:ext>
            </a:extLst>
          </p:cNvPr>
          <p:cNvSpPr>
            <a:spLocks noGrp="1" noRot="1" noMove="1" noResize="1" noEditPoints="1" noAdjustHandles="1" noChangeArrowheads="1" noChangeShapeType="1"/>
          </p:cNvSpPr>
          <p:nvPr>
            <p:ph type="body" sz="quarter" idx="3" hasCustomPrompt="1"/>
          </p:nvPr>
        </p:nvSpPr>
        <p:spPr>
          <a:xfrm>
            <a:off x="4240592" y="1308100"/>
            <a:ext cx="3710815"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7" name="Content 1 Placeholder">
            <a:extLst>
              <a:ext uri="{FF2B5EF4-FFF2-40B4-BE49-F238E27FC236}">
                <a16:creationId xmlns:a16="http://schemas.microsoft.com/office/drawing/2014/main" id="{2EA745BA-CA14-8FD0-05BA-8977508264EA}"/>
              </a:ext>
            </a:extLst>
          </p:cNvPr>
          <p:cNvSpPr>
            <a:spLocks noGrp="1" noRot="1" noMove="1" noResize="1" noEditPoints="1" noAdjustHandles="1" noChangeArrowheads="1" noChangeShapeType="1"/>
          </p:cNvSpPr>
          <p:nvPr>
            <p:ph sz="half" idx="2" hasCustomPrompt="1"/>
          </p:nvPr>
        </p:nvSpPr>
        <p:spPr>
          <a:xfrm>
            <a:off x="292101" y="2019300"/>
            <a:ext cx="3700460" cy="36576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6" name="Header 1 Placeholder">
            <a:extLst>
              <a:ext uri="{FF2B5EF4-FFF2-40B4-BE49-F238E27FC236}">
                <a16:creationId xmlns:a16="http://schemas.microsoft.com/office/drawing/2014/main" id="{97696C2F-B753-BD09-3B16-F91EAC65E0F2}"/>
              </a:ext>
            </a:extLst>
          </p:cNvPr>
          <p:cNvSpPr>
            <a:spLocks noGrp="1" noRot="1" noMove="1" noResize="1" noEditPoints="1" noAdjustHandles="1" noChangeArrowheads="1" noChangeShapeType="1"/>
          </p:cNvSpPr>
          <p:nvPr>
            <p:ph type="body" idx="1" hasCustomPrompt="1"/>
          </p:nvPr>
        </p:nvSpPr>
        <p:spPr>
          <a:xfrm>
            <a:off x="292101" y="1308100"/>
            <a:ext cx="3710815"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28" name="Subtitle Placeholder">
            <a:extLst>
              <a:ext uri="{FF2B5EF4-FFF2-40B4-BE49-F238E27FC236}">
                <a16:creationId xmlns:a16="http://schemas.microsoft.com/office/drawing/2014/main" id="{8C1BA443-5E48-08B0-7F06-D0960B134070}"/>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2" name="Title Placeholder">
            <a:extLst>
              <a:ext uri="{FF2B5EF4-FFF2-40B4-BE49-F238E27FC236}">
                <a16:creationId xmlns:a16="http://schemas.microsoft.com/office/drawing/2014/main" id="{54DD3914-9029-5BF1-3AFD-5FCA9538DDA1}"/>
              </a:ext>
            </a:extLst>
          </p:cNvPr>
          <p:cNvSpPr>
            <a:spLocks noGrp="1" noRot="1" noMove="1" noResize="1" noEditPoints="1" noAdjustHandles="1" noChangeArrowheads="1" noChangeShapeType="1"/>
          </p:cNvSpPr>
          <p:nvPr>
            <p:ph type="title" hasCustomPrompt="1"/>
          </p:nvPr>
        </p:nvSpPr>
        <p:spPr/>
        <p:txBody>
          <a:bodyPr/>
          <a:lstStyle/>
          <a:p>
            <a:r>
              <a:rPr lang="en-US"/>
              <a:t>Insert your slide title in Arial Bold 20pt</a:t>
            </a:r>
            <a:endParaRPr lang="en-GB"/>
          </a:p>
        </p:txBody>
      </p:sp>
    </p:spTree>
    <p:extLst>
      <p:ext uri="{BB962C8B-B14F-4D97-AF65-F5344CB8AC3E}">
        <p14:creationId xmlns:p14="http://schemas.microsoft.com/office/powerpoint/2010/main" val="968472112"/>
      </p:ext>
    </p:extLst>
  </p:cSld>
  <p:clrMapOvr>
    <a:masterClrMapping/>
  </p:clrMapOvr>
  <p:extLst>
    <p:ext uri="{DCECCB84-F9BA-43D5-87BE-67443E8EF086}">
      <p15:sldGuideLst xmlns:p15="http://schemas.microsoft.com/office/powerpoint/2012/main">
        <p15:guide id="10" pos="2525">
          <p15:clr>
            <a:srgbClr val="FDE53C"/>
          </p15:clr>
        </p15:guide>
        <p15:guide id="11" pos="2669">
          <p15:clr>
            <a:srgbClr val="FDE53C"/>
          </p15:clr>
        </p15:guide>
        <p15:guide id="18" pos="5010">
          <p15:clr>
            <a:srgbClr val="FDE53C"/>
          </p15:clr>
        </p15:guide>
        <p15:guide id="19" pos="5154">
          <p15:clr>
            <a:srgbClr val="FDE53C"/>
          </p15:clr>
        </p15:guide>
        <p15:guide id="22" orient="horz" pos="2304">
          <p15:clr>
            <a:srgbClr val="A4A3A4"/>
          </p15:clr>
        </p15:guide>
        <p15:guide id="23" orient="horz" pos="2232">
          <p15:clr>
            <a:srgbClr val="A4A3A4"/>
          </p15:clr>
        </p15:guide>
        <p15:guide id="24" orient="horz" pos="2376">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Dark">
    <p:spTree>
      <p:nvGrpSpPr>
        <p:cNvPr id="1" name=""/>
        <p:cNvGrpSpPr/>
        <p:nvPr/>
      </p:nvGrpSpPr>
      <p:grpSpPr>
        <a:xfrm>
          <a:off x="0" y="0"/>
          <a:ext cx="0" cy="0"/>
          <a:chOff x="0" y="0"/>
          <a:chExt cx="0" cy="0"/>
        </a:xfrm>
      </p:grpSpPr>
      <p:sp>
        <p:nvSpPr>
          <p:cNvPr id="6" name="Static Dark Bkgd">
            <a:extLst>
              <a:ext uri="{FF2B5EF4-FFF2-40B4-BE49-F238E27FC236}">
                <a16:creationId xmlns:a16="http://schemas.microsoft.com/office/drawing/2014/main" id="{C44FA2BA-550D-EDA0-ABAB-D662C16F1376}"/>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060A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Horizontal Rule">
            <a:extLst>
              <a:ext uri="{FF2B5EF4-FFF2-40B4-BE49-F238E27FC236}">
                <a16:creationId xmlns:a16="http://schemas.microsoft.com/office/drawing/2014/main" id="{429C2072-EE2B-A064-5CA2-6097546F935A}"/>
              </a:ext>
            </a:extLst>
          </p:cNvPr>
          <p:cNvCxnSpPr>
            <a:cxnSpLocks noGrp="1" noRot="1" noMove="1" noResize="1" noEditPoints="1" noAdjustHandles="1" noChangeArrowheads="1" noChangeShapeType="1"/>
          </p:cNvCxnSpPr>
          <p:nvPr userDrawn="1"/>
        </p:nvCxnSpPr>
        <p:spPr>
          <a:xfrm>
            <a:off x="292100" y="1364752"/>
            <a:ext cx="116078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5" name="Confidential disclaimer">
            <a:extLst>
              <a:ext uri="{FF2B5EF4-FFF2-40B4-BE49-F238E27FC236}">
                <a16:creationId xmlns:a16="http://schemas.microsoft.com/office/drawing/2014/main" id="{15979AA9-9DD3-3AAB-213C-8B9A6FF3D1DF}"/>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15" name="Copyright Line">
            <a:extLst>
              <a:ext uri="{FF2B5EF4-FFF2-40B4-BE49-F238E27FC236}">
                <a16:creationId xmlns:a16="http://schemas.microsoft.com/office/drawing/2014/main" id="{D439B148-E719-27C3-3403-978BEDC13EC0}"/>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10" name="Footer Placeholder">
            <a:extLst>
              <a:ext uri="{FF2B5EF4-FFF2-40B4-BE49-F238E27FC236}">
                <a16:creationId xmlns:a16="http://schemas.microsoft.com/office/drawing/2014/main" id="{671A6FA9-FE3E-4211-C84B-88F574FE8550}"/>
              </a:ext>
            </a:extLst>
          </p:cNvPr>
          <p:cNvSpPr>
            <a:spLocks noGrp="1" noRot="1" noMove="1" noResize="1" noEditPoints="1" noAdjustHandles="1" noChangeArrowheads="1" noChangeShapeType="1"/>
          </p:cNvSpPr>
          <p:nvPr>
            <p:ph type="ftr" sz="quarter" idx="13"/>
          </p:nvPr>
        </p:nvSpPr>
        <p:spPr>
          <a:xfrm>
            <a:off x="3251200" y="6485399"/>
            <a:ext cx="3716336" cy="282957"/>
          </a:xfrm>
          <a:solidFill>
            <a:schemeClr val="tx2"/>
          </a:solidFill>
        </p:spPr>
        <p:txBody>
          <a:bodyPr/>
          <a:lstStyle>
            <a:lvl1pPr algn="l">
              <a:defRPr>
                <a:solidFill>
                  <a:srgbClr val="FFFFFF"/>
                </a:solidFill>
              </a:defRPr>
            </a:lvl1pPr>
          </a:lstStyle>
          <a:p>
            <a:endParaRPr lang="en-GB"/>
          </a:p>
        </p:txBody>
      </p:sp>
      <p:sp>
        <p:nvSpPr>
          <p:cNvPr id="8" name="Date Placeholder">
            <a:extLst>
              <a:ext uri="{FF2B5EF4-FFF2-40B4-BE49-F238E27FC236}">
                <a16:creationId xmlns:a16="http://schemas.microsoft.com/office/drawing/2014/main" id="{34C6756D-B2C7-2A2B-E9A7-BB5F5972C730}"/>
              </a:ext>
            </a:extLst>
          </p:cNvPr>
          <p:cNvSpPr>
            <a:spLocks noGrp="1" noRot="1" noMove="1" noResize="1" noEditPoints="1" noAdjustHandles="1" noChangeArrowheads="1" noChangeShapeType="1"/>
          </p:cNvSpPr>
          <p:nvPr>
            <p:ph type="dt" sz="half" idx="12"/>
          </p:nvPr>
        </p:nvSpPr>
        <p:spPr>
          <a:xfrm>
            <a:off x="292100" y="6073688"/>
            <a:ext cx="1744664" cy="282957"/>
          </a:xfrm>
        </p:spPr>
        <p:txBody>
          <a:bodyPr/>
          <a:lstStyle>
            <a:lvl1pPr>
              <a:defRPr sz="1200">
                <a:solidFill>
                  <a:srgbClr val="FFFFFF"/>
                </a:solidFill>
              </a:defRPr>
            </a:lvl1pPr>
          </a:lstStyle>
          <a:p>
            <a:fld id="{6939B06F-C1B3-44B6-B618-A1DBE0D9FD92}" type="datetime1">
              <a:rPr lang="en-GB" smtClean="0"/>
              <a:t>18/11/2024</a:t>
            </a:fld>
            <a:endParaRPr lang="en-GB"/>
          </a:p>
        </p:txBody>
      </p:sp>
      <p:sp>
        <p:nvSpPr>
          <p:cNvPr id="19" name="Title/Dept Placeholder">
            <a:extLst>
              <a:ext uri="{FF2B5EF4-FFF2-40B4-BE49-F238E27FC236}">
                <a16:creationId xmlns:a16="http://schemas.microsoft.com/office/drawing/2014/main" id="{6942A971-1821-DF95-6B7B-A7991E06FA8B}"/>
              </a:ext>
            </a:extLst>
          </p:cNvPr>
          <p:cNvSpPr>
            <a:spLocks noGrp="1" noRot="1" noMove="1" noResize="1" noEditPoints="1" noAdjustHandles="1" noChangeArrowheads="1" noChangeShapeType="1"/>
          </p:cNvSpPr>
          <p:nvPr>
            <p:ph type="body" sz="quarter" idx="11" hasCustomPrompt="1"/>
          </p:nvPr>
        </p:nvSpPr>
        <p:spPr>
          <a:xfrm>
            <a:off x="292100" y="5562225"/>
            <a:ext cx="8625842" cy="344385"/>
          </a:xfrm>
        </p:spPr>
        <p:txBody>
          <a:bodyPr tIns="0" bIns="0">
            <a:noAutofit/>
          </a:bodyPr>
          <a:lstStyle>
            <a:lvl1pPr marL="0" indent="0">
              <a:lnSpc>
                <a:spcPct val="100000"/>
              </a:lnSpc>
              <a:spcBef>
                <a:spcPts val="0"/>
              </a:spcBef>
              <a:spcAft>
                <a:spcPts val="0"/>
              </a:spcAft>
              <a:buNone/>
              <a:defRPr sz="1200" b="0">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8" name="Presenter Name Placeholder">
            <a:extLst>
              <a:ext uri="{FF2B5EF4-FFF2-40B4-BE49-F238E27FC236}">
                <a16:creationId xmlns:a16="http://schemas.microsoft.com/office/drawing/2014/main" id="{4D8E56BE-097F-EB4E-3287-BD1DCBFF4884}"/>
              </a:ext>
            </a:extLst>
          </p:cNvPr>
          <p:cNvSpPr>
            <a:spLocks noGrp="1" noRot="1" noMove="1" noResize="1" noEditPoints="1" noAdjustHandles="1" noChangeArrowheads="1" noChangeShapeType="1"/>
          </p:cNvSpPr>
          <p:nvPr>
            <p:ph type="body" sz="quarter" idx="10" hasCustomPrompt="1"/>
          </p:nvPr>
        </p:nvSpPr>
        <p:spPr>
          <a:xfrm>
            <a:off x="292100" y="5194091"/>
            <a:ext cx="8625841" cy="344384"/>
          </a:xfrm>
        </p:spPr>
        <p:txBody>
          <a:bodyPr tIns="0" bIns="0" anchor="b" anchorCtr="0">
            <a:noAutofit/>
          </a:bodyPr>
          <a:lstStyle>
            <a:lvl1pPr marL="0" indent="0">
              <a:lnSpc>
                <a:spcPct val="100000"/>
              </a:lnSpc>
              <a:spcBef>
                <a:spcPts val="0"/>
              </a:spcBef>
              <a:spcAft>
                <a:spcPts val="0"/>
              </a:spcAft>
              <a:buNone/>
              <a:defRPr sz="1200" b="1">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Subtitle Placeholder">
            <a:extLst>
              <a:ext uri="{FF2B5EF4-FFF2-40B4-BE49-F238E27FC236}">
                <a16:creationId xmlns:a16="http://schemas.microsoft.com/office/drawing/2014/main" id="{D952C9CE-AA03-A24B-BBD9-8EA2482DC59D}"/>
              </a:ext>
            </a:extLst>
          </p:cNvPr>
          <p:cNvSpPr>
            <a:spLocks noGrp="1" noRot="1" noMove="1" noResize="1" noEditPoints="1" noAdjustHandles="1" noChangeArrowheads="1" noChangeShapeType="1"/>
          </p:cNvSpPr>
          <p:nvPr>
            <p:ph type="subTitle" idx="1"/>
          </p:nvPr>
        </p:nvSpPr>
        <p:spPr>
          <a:xfrm>
            <a:off x="292100" y="4151030"/>
            <a:ext cx="8625840" cy="837882"/>
          </a:xfrm>
        </p:spPr>
        <p:txBody>
          <a:bodyPr>
            <a:noAutofit/>
          </a:bodyPr>
          <a:lstStyle>
            <a:lvl1pPr marL="0" indent="0" algn="l">
              <a:spcBef>
                <a:spcPts val="0"/>
              </a:spcBef>
              <a:spcAft>
                <a:spcPts val="0"/>
              </a:spcAft>
              <a:buNone/>
              <a:defRPr sz="24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itle Placeholder">
            <a:extLst>
              <a:ext uri="{FF2B5EF4-FFF2-40B4-BE49-F238E27FC236}">
                <a16:creationId xmlns:a16="http://schemas.microsoft.com/office/drawing/2014/main" id="{5F151AF7-737A-1648-9BC4-B9D881179FB7}"/>
              </a:ext>
            </a:extLst>
          </p:cNvPr>
          <p:cNvSpPr>
            <a:spLocks noGrp="1" noRot="1" noMove="1" noResize="1" noEditPoints="1" noAdjustHandles="1" noChangeArrowheads="1" noChangeShapeType="1"/>
          </p:cNvSpPr>
          <p:nvPr>
            <p:ph type="ctrTitle" hasCustomPrompt="1"/>
          </p:nvPr>
        </p:nvSpPr>
        <p:spPr>
          <a:xfrm>
            <a:off x="292100" y="1671355"/>
            <a:ext cx="8625840" cy="2387600"/>
          </a:xfrm>
          <a:prstGeom prst="rect">
            <a:avLst/>
          </a:prstGeom>
        </p:spPr>
        <p:txBody>
          <a:bodyPr anchor="b">
            <a:noAutofit/>
          </a:bodyPr>
          <a:lstStyle>
            <a:lvl1pPr algn="l">
              <a:defRPr sz="5400">
                <a:solidFill>
                  <a:srgbClr val="FFFFFF"/>
                </a:solidFill>
              </a:defRPr>
            </a:lvl1pPr>
          </a:lstStyle>
          <a:p>
            <a:r>
              <a:rPr lang="en-US"/>
              <a:t>Insert your presentation title here maximum of three lines</a:t>
            </a:r>
          </a:p>
        </p:txBody>
      </p:sp>
      <p:pic>
        <p:nvPicPr>
          <p:cNvPr id="4" name="NielsenIQ GFK lockup" hidden="1">
            <a:extLst>
              <a:ext uri="{FF2B5EF4-FFF2-40B4-BE49-F238E27FC236}">
                <a16:creationId xmlns:a16="http://schemas.microsoft.com/office/drawing/2014/main" id="{C8AAA83D-C3BC-19DA-FC85-5AFC9A752B02}"/>
              </a:ext>
            </a:extLst>
          </p:cNvPr>
          <p:cNvPicPr>
            <a:picLocks noGrp="1" noRo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86122" y="321743"/>
            <a:ext cx="3377876" cy="753596"/>
          </a:xfrm>
          <a:prstGeom prst="rect">
            <a:avLst/>
          </a:prstGeom>
        </p:spPr>
      </p:pic>
      <p:pic>
        <p:nvPicPr>
          <p:cNvPr id="12" name="NielsenIQ logo+wordmark" descr="A blue text on a black background&#10;&#10;Description automatically generated" hidden="1">
            <a:extLst>
              <a:ext uri="{FF2B5EF4-FFF2-40B4-BE49-F238E27FC236}">
                <a16:creationId xmlns:a16="http://schemas.microsoft.com/office/drawing/2014/main" id="{8189DD20-160D-9FA4-6050-54CA59644796}"/>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tretch>
            <a:fillRect/>
          </a:stretch>
        </p:blipFill>
        <p:spPr>
          <a:xfrm>
            <a:off x="288558" y="305205"/>
            <a:ext cx="2211998" cy="763139"/>
          </a:xfrm>
          <a:prstGeom prst="rect">
            <a:avLst/>
          </a:prstGeom>
        </p:spPr>
      </p:pic>
      <p:sp>
        <p:nvSpPr>
          <p:cNvPr id="23" name="Nielsen wordmark">
            <a:extLst>
              <a:ext uri="{FF2B5EF4-FFF2-40B4-BE49-F238E27FC236}">
                <a16:creationId xmlns:a16="http://schemas.microsoft.com/office/drawing/2014/main" id="{ACEC4A6E-78BA-F45C-EDE6-561ED4C493CF}"/>
              </a:ext>
            </a:extLst>
          </p:cNvPr>
          <p:cNvSpPr>
            <a:spLocks noGrp="1" noRot="1" noMove="1" noResize="1" noEditPoints="1" noAdjustHandles="1" noChangeArrowheads="1" noChangeShapeType="1"/>
          </p:cNvSpPr>
          <p:nvPr userDrawn="1"/>
        </p:nvSpPr>
        <p:spPr>
          <a:xfrm>
            <a:off x="295274" y="443155"/>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accent1"/>
          </a:solidFill>
          <a:ln w="774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3666123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Image Content">
    <p:spTree>
      <p:nvGrpSpPr>
        <p:cNvPr id="1" name=""/>
        <p:cNvGrpSpPr/>
        <p:nvPr/>
      </p:nvGrpSpPr>
      <p:grpSpPr>
        <a:xfrm>
          <a:off x="0" y="0"/>
          <a:ext cx="0" cy="0"/>
          <a:chOff x="0" y="0"/>
          <a:chExt cx="0" cy="0"/>
        </a:xfrm>
      </p:grpSpPr>
      <p:sp>
        <p:nvSpPr>
          <p:cNvPr id="8" name="Slide Number Placeholder">
            <a:extLst>
              <a:ext uri="{FF2B5EF4-FFF2-40B4-BE49-F238E27FC236}">
                <a16:creationId xmlns:a16="http://schemas.microsoft.com/office/drawing/2014/main" id="{12CCAFAE-C3C1-93DF-1738-B04D08AAA19E}"/>
              </a:ext>
            </a:extLst>
          </p:cNvPr>
          <p:cNvSpPr>
            <a:spLocks noGrp="1" noRot="1" noMove="1" noResize="1" noEditPoints="1" noAdjustHandles="1" noChangeArrowheads="1" noChangeShapeType="1"/>
          </p:cNvSpPr>
          <p:nvPr>
            <p:ph type="sldNum" sz="quarter" idx="12"/>
          </p:nvPr>
        </p:nvSpPr>
        <p:spPr>
          <a:xfrm>
            <a:off x="11495577" y="6495100"/>
            <a:ext cx="404321" cy="282957"/>
          </a:xfrm>
        </p:spPr>
        <p:txBody>
          <a:bodyPr/>
          <a:lstStyle/>
          <a:p>
            <a:fld id="{3E04DF46-C0DC-4ADC-9A6F-918CC4703A43}" type="slidenum">
              <a:rPr lang="en-GB" smtClean="0"/>
              <a:t>‹#›</a:t>
            </a:fld>
            <a:endParaRPr lang="en-GB"/>
          </a:p>
        </p:txBody>
      </p:sp>
      <p:sp>
        <p:nvSpPr>
          <p:cNvPr id="10" name="Footer Placeholder">
            <a:extLst>
              <a:ext uri="{FF2B5EF4-FFF2-40B4-BE49-F238E27FC236}">
                <a16:creationId xmlns:a16="http://schemas.microsoft.com/office/drawing/2014/main" id="{55FFC31E-E405-EE5D-84F4-271FC2E1F99D}"/>
              </a:ext>
            </a:extLst>
          </p:cNvPr>
          <p:cNvSpPr>
            <a:spLocks noGrp="1" noRot="1" noMove="1" noResize="1" noEditPoints="1" noAdjustHandles="1" noChangeArrowheads="1" noChangeShapeType="1"/>
          </p:cNvSpPr>
          <p:nvPr>
            <p:ph type="ftr" sz="quarter" idx="11"/>
          </p:nvPr>
        </p:nvSpPr>
        <p:spPr>
          <a:xfrm>
            <a:off x="3251197" y="6495102"/>
            <a:ext cx="3716341" cy="282957"/>
          </a:xfrm>
        </p:spPr>
        <p:txBody>
          <a:bodyPr/>
          <a:lstStyle/>
          <a:p>
            <a:endParaRPr lang="en-GB"/>
          </a:p>
        </p:txBody>
      </p:sp>
      <p:sp>
        <p:nvSpPr>
          <p:cNvPr id="12" name="Date Placeholder">
            <a:extLst>
              <a:ext uri="{FF2B5EF4-FFF2-40B4-BE49-F238E27FC236}">
                <a16:creationId xmlns:a16="http://schemas.microsoft.com/office/drawing/2014/main" id="{96FC01CD-E391-B88C-4294-55474F60DE8B}"/>
              </a:ext>
            </a:extLst>
          </p:cNvPr>
          <p:cNvSpPr>
            <a:spLocks noGrp="1" noRot="1" noMove="1" noResize="1" noEditPoints="1" noAdjustHandles="1" noChangeArrowheads="1" noChangeShapeType="1"/>
          </p:cNvSpPr>
          <p:nvPr>
            <p:ph type="dt" sz="half" idx="10"/>
          </p:nvPr>
        </p:nvSpPr>
        <p:spPr>
          <a:xfrm>
            <a:off x="2265363" y="6495102"/>
            <a:ext cx="757238" cy="282957"/>
          </a:xfrm>
        </p:spPr>
        <p:txBody>
          <a:bodyPr/>
          <a:lstStyle/>
          <a:p>
            <a:fld id="{1B0DF2C9-7B70-4009-B83E-42FD28295E6A}" type="datetime1">
              <a:rPr lang="en-GB" smtClean="0"/>
              <a:t>18/11/2024</a:t>
            </a:fld>
            <a:endParaRPr lang="en-GB"/>
          </a:p>
        </p:txBody>
      </p:sp>
      <p:sp>
        <p:nvSpPr>
          <p:cNvPr id="16" name="Source Placeholder">
            <a:extLst>
              <a:ext uri="{FF2B5EF4-FFF2-40B4-BE49-F238E27FC236}">
                <a16:creationId xmlns:a16="http://schemas.microsoft.com/office/drawing/2014/main" id="{DC33EFBA-9F80-C4A6-4F52-04BD9D8AD5B9}"/>
              </a:ext>
            </a:extLst>
          </p:cNvPr>
          <p:cNvSpPr>
            <a:spLocks noGrp="1" noRot="1" noMove="1" noResize="1" noEditPoints="1" noAdjustHandles="1" noChangeArrowheads="1" noChangeShapeType="1"/>
          </p:cNvSpPr>
          <p:nvPr>
            <p:ph type="body" sz="quarter" idx="16"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17" name="Content 3 Placeholder">
            <a:extLst>
              <a:ext uri="{FF2B5EF4-FFF2-40B4-BE49-F238E27FC236}">
                <a16:creationId xmlns:a16="http://schemas.microsoft.com/office/drawing/2014/main" id="{19AC42AA-357A-BBCD-7082-438C23F9891C}"/>
              </a:ext>
            </a:extLst>
          </p:cNvPr>
          <p:cNvSpPr>
            <a:spLocks noGrp="1" noRot="1" noMove="1" noResize="1" noEditPoints="1" noAdjustHandles="1" noChangeArrowheads="1" noChangeShapeType="1"/>
          </p:cNvSpPr>
          <p:nvPr>
            <p:ph sz="quarter" idx="17" hasCustomPrompt="1"/>
          </p:nvPr>
        </p:nvSpPr>
        <p:spPr>
          <a:xfrm>
            <a:off x="8199441" y="3771900"/>
            <a:ext cx="3700459" cy="19050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Image/Content 3 Placeholder">
            <a:extLst>
              <a:ext uri="{FF2B5EF4-FFF2-40B4-BE49-F238E27FC236}">
                <a16:creationId xmlns:a16="http://schemas.microsoft.com/office/drawing/2014/main" id="{F0ADA552-6794-0F4D-013E-A6DA97DBFF4E}"/>
              </a:ext>
            </a:extLst>
          </p:cNvPr>
          <p:cNvSpPr>
            <a:spLocks noGrp="1" noRot="1" noMove="1" noResize="1" noEditPoints="1" noAdjustHandles="1" noChangeArrowheads="1" noChangeShapeType="1"/>
          </p:cNvSpPr>
          <p:nvPr>
            <p:ph sz="quarter" idx="15" hasCustomPrompt="1"/>
          </p:nvPr>
        </p:nvSpPr>
        <p:spPr>
          <a:xfrm>
            <a:off x="8199441" y="1638300"/>
            <a:ext cx="3700459" cy="1905000"/>
          </a:xfrm>
          <a:solidFill>
            <a:srgbClr val="F0F0F0"/>
          </a:solidFill>
        </p:spPr>
        <p:txBody>
          <a:bodyPr vert="horz" lIns="0" tIns="0" rIns="0" bIns="0" rtlCol="0" anchor="ctr">
            <a:noAutofit/>
          </a:bodyPr>
          <a:lstStyle>
            <a:lvl1pPr>
              <a:defRPr lang="en-US" dirty="0"/>
            </a:lvl1pPr>
            <a:lvl2pPr marL="285750" indent="0">
              <a:buNone/>
              <a:defRPr lang="en-US" dirty="0"/>
            </a:lvl2pPr>
            <a:lvl3pPr>
              <a:defRPr lang="en-US" dirty="0"/>
            </a:lvl3pPr>
            <a:lvl4pPr>
              <a:defRPr lang="en-US" dirty="0"/>
            </a:lvl4pPr>
            <a:lvl5pPr>
              <a:defRPr lang="en-GB" dirty="0"/>
            </a:lvl5pPr>
          </a:lstStyle>
          <a:p>
            <a:pPr marL="0" lvl="0" indent="0" algn="ctr">
              <a:buNone/>
            </a:pPr>
            <a:r>
              <a:rPr lang="en-US"/>
              <a:t>Insert your copy here</a:t>
            </a:r>
          </a:p>
        </p:txBody>
      </p:sp>
      <p:sp>
        <p:nvSpPr>
          <p:cNvPr id="18" name="Content 2 Placeholder">
            <a:extLst>
              <a:ext uri="{FF2B5EF4-FFF2-40B4-BE49-F238E27FC236}">
                <a16:creationId xmlns:a16="http://schemas.microsoft.com/office/drawing/2014/main" id="{91174CB4-C42A-BB81-5C74-7EAE27158E3E}"/>
              </a:ext>
            </a:extLst>
          </p:cNvPr>
          <p:cNvSpPr>
            <a:spLocks noGrp="1" noRot="1" noMove="1" noResize="1" noEditPoints="1" noAdjustHandles="1" noChangeArrowheads="1" noChangeShapeType="1"/>
          </p:cNvSpPr>
          <p:nvPr>
            <p:ph sz="quarter" idx="18" hasCustomPrompt="1"/>
          </p:nvPr>
        </p:nvSpPr>
        <p:spPr>
          <a:xfrm>
            <a:off x="4245770" y="3771900"/>
            <a:ext cx="3700459" cy="19050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9" name="Image/Content 2 Placeholder">
            <a:extLst>
              <a:ext uri="{FF2B5EF4-FFF2-40B4-BE49-F238E27FC236}">
                <a16:creationId xmlns:a16="http://schemas.microsoft.com/office/drawing/2014/main" id="{EEE356A3-4F73-532E-E901-63F8001F850D}"/>
              </a:ext>
            </a:extLst>
          </p:cNvPr>
          <p:cNvSpPr>
            <a:spLocks noGrp="1" noRot="1" noMove="1" noResize="1" noEditPoints="1" noAdjustHandles="1" noChangeArrowheads="1" noChangeShapeType="1"/>
          </p:cNvSpPr>
          <p:nvPr>
            <p:ph sz="quarter" idx="4" hasCustomPrompt="1"/>
          </p:nvPr>
        </p:nvSpPr>
        <p:spPr>
          <a:xfrm>
            <a:off x="4245770" y="1638300"/>
            <a:ext cx="3700459" cy="1905000"/>
          </a:xfrm>
          <a:solidFill>
            <a:srgbClr val="F0F0F0"/>
          </a:solidFill>
        </p:spPr>
        <p:txBody>
          <a:bodyPr vert="horz" lIns="0" tIns="0" rIns="0" bIns="0" rtlCol="0" anchor="ctr">
            <a:noAutofit/>
          </a:bodyPr>
          <a:lstStyle>
            <a:lvl1pPr>
              <a:defRPr lang="en-US" dirty="0"/>
            </a:lvl1pPr>
            <a:lvl2pPr>
              <a:defRPr lang="en-US" dirty="0"/>
            </a:lvl2pPr>
            <a:lvl3pPr>
              <a:defRPr lang="en-US" dirty="0"/>
            </a:lvl3pPr>
            <a:lvl4pPr>
              <a:defRPr lang="en-US" dirty="0"/>
            </a:lvl4pPr>
            <a:lvl5pPr>
              <a:defRPr lang="en-GB" dirty="0"/>
            </a:lvl5pPr>
          </a:lstStyle>
          <a:p>
            <a:pPr marL="0" lvl="0" indent="0" algn="ctr">
              <a:buNone/>
            </a:pPr>
            <a:r>
              <a:rPr lang="en-US"/>
              <a:t>Insert your copy here</a:t>
            </a:r>
          </a:p>
        </p:txBody>
      </p:sp>
      <p:sp>
        <p:nvSpPr>
          <p:cNvPr id="19" name="Content 1 Placeholder">
            <a:extLst>
              <a:ext uri="{FF2B5EF4-FFF2-40B4-BE49-F238E27FC236}">
                <a16:creationId xmlns:a16="http://schemas.microsoft.com/office/drawing/2014/main" id="{20DCDE7D-AA2C-B7B3-8FBD-202D432B2BCF}"/>
              </a:ext>
            </a:extLst>
          </p:cNvPr>
          <p:cNvSpPr>
            <a:spLocks noGrp="1" noRot="1" noMove="1" noResize="1" noEditPoints="1" noAdjustHandles="1" noChangeArrowheads="1" noChangeShapeType="1"/>
          </p:cNvSpPr>
          <p:nvPr>
            <p:ph sz="half" idx="19" hasCustomPrompt="1"/>
          </p:nvPr>
        </p:nvSpPr>
        <p:spPr>
          <a:xfrm>
            <a:off x="292101" y="3771900"/>
            <a:ext cx="3700460" cy="19050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7" name="Image/Content 1 Placeholder">
            <a:extLst>
              <a:ext uri="{FF2B5EF4-FFF2-40B4-BE49-F238E27FC236}">
                <a16:creationId xmlns:a16="http://schemas.microsoft.com/office/drawing/2014/main" id="{2EA745BA-CA14-8FD0-05BA-8977508264EA}"/>
              </a:ext>
            </a:extLst>
          </p:cNvPr>
          <p:cNvSpPr>
            <a:spLocks noGrp="1" noRot="1" noMove="1" noResize="1" noEditPoints="1" noAdjustHandles="1" noChangeArrowheads="1" noChangeShapeType="1"/>
          </p:cNvSpPr>
          <p:nvPr>
            <p:ph sz="half" idx="2" hasCustomPrompt="1"/>
          </p:nvPr>
        </p:nvSpPr>
        <p:spPr>
          <a:xfrm>
            <a:off x="292101" y="1638300"/>
            <a:ext cx="3700460" cy="1905000"/>
          </a:xfrm>
          <a:solidFill>
            <a:srgbClr val="F0F0F0"/>
          </a:solidFill>
        </p:spPr>
        <p:txBody>
          <a:bodyPr anchor="ctr">
            <a:noAutofit/>
          </a:bodyPr>
          <a:lstStyle>
            <a:lvl1pPr marL="0" indent="0" algn="ctr">
              <a:buNone/>
              <a:defRPr/>
            </a:lvl1pPr>
          </a:lstStyle>
          <a:p>
            <a:pPr lvl="0"/>
            <a:r>
              <a:rPr lang="en-GB"/>
              <a:t>Insert content</a:t>
            </a:r>
          </a:p>
        </p:txBody>
      </p:sp>
      <p:sp>
        <p:nvSpPr>
          <p:cNvPr id="20" name="Subtitle Placeholder">
            <a:extLst>
              <a:ext uri="{FF2B5EF4-FFF2-40B4-BE49-F238E27FC236}">
                <a16:creationId xmlns:a16="http://schemas.microsoft.com/office/drawing/2014/main" id="{54C4B065-17A6-1D25-422B-92271767584C}"/>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21" name="Title Placeholder">
            <a:extLst>
              <a:ext uri="{FF2B5EF4-FFF2-40B4-BE49-F238E27FC236}">
                <a16:creationId xmlns:a16="http://schemas.microsoft.com/office/drawing/2014/main" id="{F79F3FC7-37DD-5A7A-D505-4F22DDE24874}"/>
              </a:ext>
            </a:extLst>
          </p:cNvPr>
          <p:cNvSpPr>
            <a:spLocks noGrp="1" noRot="1" noMove="1" noResize="1" noEditPoints="1" noAdjustHandles="1" noChangeArrowheads="1" noChangeShapeType="1"/>
          </p:cNvSpPr>
          <p:nvPr>
            <p:ph type="title" hasCustomPrompt="1"/>
          </p:nvPr>
        </p:nvSpPr>
        <p:spPr>
          <a:xfrm>
            <a:off x="292100" y="304800"/>
            <a:ext cx="11613314" cy="265590"/>
          </a:xfrm>
        </p:spPr>
        <p:txBody>
          <a:bodyPr/>
          <a:lstStyle/>
          <a:p>
            <a:r>
              <a:rPr lang="en-US"/>
              <a:t>Insert your slide title in Arial Bold 20pt</a:t>
            </a:r>
            <a:endParaRPr lang="en-GB"/>
          </a:p>
        </p:txBody>
      </p:sp>
    </p:spTree>
    <p:extLst>
      <p:ext uri="{BB962C8B-B14F-4D97-AF65-F5344CB8AC3E}">
        <p14:creationId xmlns:p14="http://schemas.microsoft.com/office/powerpoint/2010/main" val="3941953602"/>
      </p:ext>
    </p:extLst>
  </p:cSld>
  <p:clrMapOvr>
    <a:masterClrMapping/>
  </p:clrMapOvr>
  <p:extLst>
    <p:ext uri="{DCECCB84-F9BA-43D5-87BE-67443E8EF086}">
      <p15:sldGuideLst xmlns:p15="http://schemas.microsoft.com/office/powerpoint/2012/main">
        <p15:guide id="10" pos="2525">
          <p15:clr>
            <a:srgbClr val="FDE53C"/>
          </p15:clr>
        </p15:guide>
        <p15:guide id="11" pos="2669">
          <p15:clr>
            <a:srgbClr val="FDE53C"/>
          </p15:clr>
        </p15:guide>
        <p15:guide id="18" pos="5010">
          <p15:clr>
            <a:srgbClr val="FDE53C"/>
          </p15:clr>
        </p15:guide>
        <p15:guide id="19" pos="5154">
          <p15:clr>
            <a:srgbClr val="FDE53C"/>
          </p15:clr>
        </p15:guide>
        <p15:guide id="22" orient="horz" pos="2304">
          <p15:clr>
            <a:srgbClr val="A4A3A4"/>
          </p15:clr>
        </p15:guide>
        <p15:guide id="23" orient="horz" pos="2232">
          <p15:clr>
            <a:srgbClr val="A4A3A4"/>
          </p15:clr>
        </p15:guide>
        <p15:guide id="24" orient="horz" pos="2376">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5" name="Slide Number Placeholder">
            <a:extLst>
              <a:ext uri="{FF2B5EF4-FFF2-40B4-BE49-F238E27FC236}">
                <a16:creationId xmlns:a16="http://schemas.microsoft.com/office/drawing/2014/main" id="{D495B8CC-E8CB-7F1A-1316-9781EDA12852}"/>
              </a:ext>
            </a:extLst>
          </p:cNvPr>
          <p:cNvSpPr>
            <a:spLocks noGrp="1" noRot="1" noMove="1" noResize="1" noEditPoints="1" noAdjustHandles="1" noChangeArrowheads="1" noChangeShapeType="1"/>
          </p:cNvSpPr>
          <p:nvPr>
            <p:ph type="sldNum" sz="quarter" idx="12"/>
          </p:nvPr>
        </p:nvSpPr>
        <p:spPr>
          <a:xfrm>
            <a:off x="11495577" y="6495100"/>
            <a:ext cx="404321" cy="282957"/>
          </a:xfrm>
        </p:spPr>
        <p:txBody>
          <a:bodyPr>
            <a:noAutofit/>
          </a:bodyPr>
          <a:lstStyle/>
          <a:p>
            <a:fld id="{3E04DF46-C0DC-4ADC-9A6F-918CC4703A43}" type="slidenum">
              <a:rPr lang="en-GB" smtClean="0"/>
              <a:t>‹#›</a:t>
            </a:fld>
            <a:endParaRPr lang="en-GB"/>
          </a:p>
        </p:txBody>
      </p:sp>
      <p:sp>
        <p:nvSpPr>
          <p:cNvPr id="16" name="Footer Placeholder">
            <a:extLst>
              <a:ext uri="{FF2B5EF4-FFF2-40B4-BE49-F238E27FC236}">
                <a16:creationId xmlns:a16="http://schemas.microsoft.com/office/drawing/2014/main" id="{755874C6-354E-0479-18AF-0B5B6F2D8DBE}"/>
              </a:ext>
            </a:extLst>
          </p:cNvPr>
          <p:cNvSpPr>
            <a:spLocks noGrp="1" noRot="1" noMove="1" noResize="1" noEditPoints="1" noAdjustHandles="1" noChangeArrowheads="1" noChangeShapeType="1"/>
          </p:cNvSpPr>
          <p:nvPr>
            <p:ph type="ftr" sz="quarter" idx="11"/>
          </p:nvPr>
        </p:nvSpPr>
        <p:spPr>
          <a:xfrm>
            <a:off x="3251197" y="6495102"/>
            <a:ext cx="3716341" cy="282957"/>
          </a:xfrm>
        </p:spPr>
        <p:txBody>
          <a:bodyPr>
            <a:noAutofit/>
          </a:bodyPr>
          <a:lstStyle/>
          <a:p>
            <a:endParaRPr lang="en-GB"/>
          </a:p>
        </p:txBody>
      </p:sp>
      <p:sp>
        <p:nvSpPr>
          <p:cNvPr id="17" name="Date Placeholder">
            <a:extLst>
              <a:ext uri="{FF2B5EF4-FFF2-40B4-BE49-F238E27FC236}">
                <a16:creationId xmlns:a16="http://schemas.microsoft.com/office/drawing/2014/main" id="{7C2D774A-7DFB-C505-8D80-D8FC261E9546}"/>
              </a:ext>
            </a:extLst>
          </p:cNvPr>
          <p:cNvSpPr>
            <a:spLocks noGrp="1" noRot="1" noMove="1" noResize="1" noEditPoints="1" noAdjustHandles="1" noChangeArrowheads="1" noChangeShapeType="1"/>
          </p:cNvSpPr>
          <p:nvPr>
            <p:ph type="dt" sz="half" idx="10"/>
          </p:nvPr>
        </p:nvSpPr>
        <p:spPr>
          <a:xfrm>
            <a:off x="2265363" y="6495102"/>
            <a:ext cx="757238" cy="282957"/>
          </a:xfrm>
        </p:spPr>
        <p:txBody>
          <a:bodyPr>
            <a:noAutofit/>
          </a:bodyPr>
          <a:lstStyle/>
          <a:p>
            <a:fld id="{1B0DF2C9-7B70-4009-B83E-42FD28295E6A}" type="datetime1">
              <a:rPr lang="en-GB" smtClean="0"/>
              <a:t>18/11/2024</a:t>
            </a:fld>
            <a:endParaRPr lang="en-GB"/>
          </a:p>
        </p:txBody>
      </p:sp>
      <p:sp>
        <p:nvSpPr>
          <p:cNvPr id="18" name="Source Placeholder">
            <a:extLst>
              <a:ext uri="{FF2B5EF4-FFF2-40B4-BE49-F238E27FC236}">
                <a16:creationId xmlns:a16="http://schemas.microsoft.com/office/drawing/2014/main" id="{1D1442CA-AA80-3CCA-30CB-BC1CBF625A18}"/>
              </a:ext>
            </a:extLst>
          </p:cNvPr>
          <p:cNvSpPr>
            <a:spLocks noGrp="1" noRot="1" noMove="1" noResize="1" noEditPoints="1" noAdjustHandles="1" noChangeArrowheads="1" noChangeShapeType="1"/>
          </p:cNvSpPr>
          <p:nvPr>
            <p:ph type="body" sz="quarter" idx="16"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27" name="Content 4 Placeholder">
            <a:extLst>
              <a:ext uri="{FF2B5EF4-FFF2-40B4-BE49-F238E27FC236}">
                <a16:creationId xmlns:a16="http://schemas.microsoft.com/office/drawing/2014/main" id="{7C2B5AD6-A6E3-3B28-9679-4CAA49FFC4B5}"/>
              </a:ext>
            </a:extLst>
          </p:cNvPr>
          <p:cNvSpPr>
            <a:spLocks noGrp="1" noRot="1" noMove="1" noResize="1" noEditPoints="1" noAdjustHandles="1" noChangeArrowheads="1" noChangeShapeType="1"/>
          </p:cNvSpPr>
          <p:nvPr>
            <p:ph sz="quarter" idx="17" hasCustomPrompt="1"/>
          </p:nvPr>
        </p:nvSpPr>
        <p:spPr>
          <a:xfrm>
            <a:off x="9169401" y="2019300"/>
            <a:ext cx="2725320" cy="36576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Header 4 Placeholder">
            <a:extLst>
              <a:ext uri="{FF2B5EF4-FFF2-40B4-BE49-F238E27FC236}">
                <a16:creationId xmlns:a16="http://schemas.microsoft.com/office/drawing/2014/main" id="{46CE2237-C386-E5C2-9850-234FCD6F5569}"/>
              </a:ext>
            </a:extLst>
          </p:cNvPr>
          <p:cNvSpPr>
            <a:spLocks noGrp="1" noRot="1" noMove="1" noResize="1" noEditPoints="1" noAdjustHandles="1" noChangeArrowheads="1" noChangeShapeType="1"/>
          </p:cNvSpPr>
          <p:nvPr>
            <p:ph type="body" sz="quarter" idx="18" hasCustomPrompt="1"/>
          </p:nvPr>
        </p:nvSpPr>
        <p:spPr>
          <a:xfrm>
            <a:off x="9169401" y="1308100"/>
            <a:ext cx="2730499"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19" name="Content 3 Placeholder">
            <a:extLst>
              <a:ext uri="{FF2B5EF4-FFF2-40B4-BE49-F238E27FC236}">
                <a16:creationId xmlns:a16="http://schemas.microsoft.com/office/drawing/2014/main" id="{9D282216-D102-1092-A42F-C09C78C616B5}"/>
              </a:ext>
            </a:extLst>
          </p:cNvPr>
          <p:cNvSpPr>
            <a:spLocks noGrp="1" noRot="1" noMove="1" noResize="1" noEditPoints="1" noAdjustHandles="1" noChangeArrowheads="1" noChangeShapeType="1"/>
          </p:cNvSpPr>
          <p:nvPr>
            <p:ph sz="quarter" idx="15" hasCustomPrompt="1"/>
          </p:nvPr>
        </p:nvSpPr>
        <p:spPr>
          <a:xfrm>
            <a:off x="6215481" y="2019300"/>
            <a:ext cx="2725320" cy="36576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Header 3 Placeholder">
            <a:extLst>
              <a:ext uri="{FF2B5EF4-FFF2-40B4-BE49-F238E27FC236}">
                <a16:creationId xmlns:a16="http://schemas.microsoft.com/office/drawing/2014/main" id="{DF86DE8F-0F64-3718-C7A3-3C0DA008E36D}"/>
              </a:ext>
            </a:extLst>
          </p:cNvPr>
          <p:cNvSpPr>
            <a:spLocks noGrp="1" noRot="1" noMove="1" noResize="1" noEditPoints="1" noAdjustHandles="1" noChangeArrowheads="1" noChangeShapeType="1"/>
          </p:cNvSpPr>
          <p:nvPr>
            <p:ph type="body" sz="quarter" idx="14" hasCustomPrompt="1"/>
          </p:nvPr>
        </p:nvSpPr>
        <p:spPr>
          <a:xfrm>
            <a:off x="6215481" y="1308100"/>
            <a:ext cx="2730499"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21" name="Content 2 Placeholder">
            <a:extLst>
              <a:ext uri="{FF2B5EF4-FFF2-40B4-BE49-F238E27FC236}">
                <a16:creationId xmlns:a16="http://schemas.microsoft.com/office/drawing/2014/main" id="{0C107B28-6253-BBE5-A677-D106A288FC6C}"/>
              </a:ext>
            </a:extLst>
          </p:cNvPr>
          <p:cNvSpPr>
            <a:spLocks noGrp="1" noRot="1" noMove="1" noResize="1" noEditPoints="1" noAdjustHandles="1" noChangeArrowheads="1" noChangeShapeType="1"/>
          </p:cNvSpPr>
          <p:nvPr>
            <p:ph sz="quarter" idx="4" hasCustomPrompt="1"/>
          </p:nvPr>
        </p:nvSpPr>
        <p:spPr>
          <a:xfrm>
            <a:off x="3251201" y="2019300"/>
            <a:ext cx="2725320" cy="36576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Header 2 Placeholder">
            <a:extLst>
              <a:ext uri="{FF2B5EF4-FFF2-40B4-BE49-F238E27FC236}">
                <a16:creationId xmlns:a16="http://schemas.microsoft.com/office/drawing/2014/main" id="{F576DA41-4177-FBCB-15CA-5D5CFC03D6E9}"/>
              </a:ext>
            </a:extLst>
          </p:cNvPr>
          <p:cNvSpPr>
            <a:spLocks noGrp="1" noRot="1" noMove="1" noResize="1" noEditPoints="1" noAdjustHandles="1" noChangeArrowheads="1" noChangeShapeType="1"/>
          </p:cNvSpPr>
          <p:nvPr>
            <p:ph type="body" sz="quarter" idx="3" hasCustomPrompt="1"/>
          </p:nvPr>
        </p:nvSpPr>
        <p:spPr>
          <a:xfrm>
            <a:off x="3251201" y="1308100"/>
            <a:ext cx="2730499"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23" name="Content 1 Placeholder">
            <a:extLst>
              <a:ext uri="{FF2B5EF4-FFF2-40B4-BE49-F238E27FC236}">
                <a16:creationId xmlns:a16="http://schemas.microsoft.com/office/drawing/2014/main" id="{798BF9BC-09E8-98E1-3853-58189E5CB995}"/>
              </a:ext>
            </a:extLst>
          </p:cNvPr>
          <p:cNvSpPr>
            <a:spLocks noGrp="1" noRot="1" noMove="1" noResize="1" noEditPoints="1" noAdjustHandles="1" noChangeArrowheads="1" noChangeShapeType="1"/>
          </p:cNvSpPr>
          <p:nvPr>
            <p:ph sz="half" idx="2" hasCustomPrompt="1"/>
          </p:nvPr>
        </p:nvSpPr>
        <p:spPr>
          <a:xfrm>
            <a:off x="292101" y="2019300"/>
            <a:ext cx="2725321" cy="36576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Header 1 Placeholder">
            <a:extLst>
              <a:ext uri="{FF2B5EF4-FFF2-40B4-BE49-F238E27FC236}">
                <a16:creationId xmlns:a16="http://schemas.microsoft.com/office/drawing/2014/main" id="{3DBA9534-E843-A204-0F9A-0F01FA425735}"/>
              </a:ext>
            </a:extLst>
          </p:cNvPr>
          <p:cNvSpPr>
            <a:spLocks noGrp="1" noRot="1" noMove="1" noResize="1" noEditPoints="1" noAdjustHandles="1" noChangeArrowheads="1" noChangeShapeType="1"/>
          </p:cNvSpPr>
          <p:nvPr>
            <p:ph type="body" idx="1" hasCustomPrompt="1"/>
          </p:nvPr>
        </p:nvSpPr>
        <p:spPr>
          <a:xfrm>
            <a:off x="292101" y="1308100"/>
            <a:ext cx="2730499"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25" name="Subtitle Placeholder">
            <a:extLst>
              <a:ext uri="{FF2B5EF4-FFF2-40B4-BE49-F238E27FC236}">
                <a16:creationId xmlns:a16="http://schemas.microsoft.com/office/drawing/2014/main" id="{F84E48B2-4370-582F-FBFE-E1DA1A8B91CE}"/>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26" name="Title Placeholder">
            <a:extLst>
              <a:ext uri="{FF2B5EF4-FFF2-40B4-BE49-F238E27FC236}">
                <a16:creationId xmlns:a16="http://schemas.microsoft.com/office/drawing/2014/main" id="{3E0B6312-F182-139F-C3A4-F69C900CC487}"/>
              </a:ext>
            </a:extLst>
          </p:cNvPr>
          <p:cNvSpPr>
            <a:spLocks noGrp="1" noRot="1" noMove="1" noResize="1" noEditPoints="1" noAdjustHandles="1" noChangeArrowheads="1" noChangeShapeType="1"/>
          </p:cNvSpPr>
          <p:nvPr>
            <p:ph type="title" hasCustomPrompt="1"/>
          </p:nvPr>
        </p:nvSpPr>
        <p:spPr>
          <a:xfrm>
            <a:off x="292100" y="304800"/>
            <a:ext cx="11613314" cy="265590"/>
          </a:xfrm>
        </p:spPr>
        <p:txBody>
          <a:bodyPr>
            <a:noAutofit/>
          </a:bodyPr>
          <a:lstStyle/>
          <a:p>
            <a:r>
              <a:rPr lang="en-US"/>
              <a:t>Insert your slide title in Arial Bold 20pt</a:t>
            </a:r>
            <a:endParaRPr lang="en-GB"/>
          </a:p>
        </p:txBody>
      </p:sp>
    </p:spTree>
    <p:extLst>
      <p:ext uri="{BB962C8B-B14F-4D97-AF65-F5344CB8AC3E}">
        <p14:creationId xmlns:p14="http://schemas.microsoft.com/office/powerpoint/2010/main" val="1002160758"/>
      </p:ext>
    </p:extLst>
  </p:cSld>
  <p:clrMapOvr>
    <a:masterClrMapping/>
  </p:clrMapOvr>
  <p:extLst>
    <p:ext uri="{DCECCB84-F9BA-43D5-87BE-67443E8EF086}">
      <p15:sldGuideLst xmlns:p15="http://schemas.microsoft.com/office/powerpoint/2012/main">
        <p15:guide id="8" pos="1904">
          <p15:clr>
            <a:srgbClr val="5ACBF0"/>
          </p15:clr>
        </p15:guide>
        <p15:guide id="9" pos="2048">
          <p15:clr>
            <a:srgbClr val="5ACBF0"/>
          </p15:clr>
        </p15:guide>
        <p15:guide id="14" pos="3768">
          <p15:clr>
            <a:srgbClr val="A4A3A4"/>
          </p15:clr>
        </p15:guide>
        <p15:guide id="15" pos="3912">
          <p15:clr>
            <a:srgbClr val="A4A3A4"/>
          </p15:clr>
        </p15:guide>
        <p15:guide id="20" pos="5631">
          <p15:clr>
            <a:srgbClr val="5ACBF0"/>
          </p15:clr>
        </p15:guide>
        <p15:guide id="21" pos="5775">
          <p15:clr>
            <a:srgbClr val="5ACBF0"/>
          </p15:clr>
        </p15:guide>
        <p15:guide id="22" orient="horz" pos="2304">
          <p15:clr>
            <a:srgbClr val="A4A3A4"/>
          </p15:clr>
        </p15:guide>
        <p15:guide id="23" orient="horz" pos="2232">
          <p15:clr>
            <a:srgbClr val="A4A3A4"/>
          </p15:clr>
        </p15:guide>
        <p15:guide id="24" orient="horz" pos="2376">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8" name="Slide Number Placeholder">
            <a:extLst>
              <a:ext uri="{FF2B5EF4-FFF2-40B4-BE49-F238E27FC236}">
                <a16:creationId xmlns:a16="http://schemas.microsoft.com/office/drawing/2014/main" id="{63BBECEB-ADAD-567C-0E7F-32D5DD73D228}"/>
              </a:ext>
            </a:extLst>
          </p:cNvPr>
          <p:cNvSpPr>
            <a:spLocks noGrp="1" noRot="1" noMove="1" noResize="1" noEditPoints="1" noAdjustHandles="1" noChangeArrowheads="1" noChangeShapeType="1"/>
          </p:cNvSpPr>
          <p:nvPr>
            <p:ph type="sldNum" sz="quarter" idx="12"/>
          </p:nvPr>
        </p:nvSpPr>
        <p:spPr>
          <a:xfrm>
            <a:off x="11495577" y="6495100"/>
            <a:ext cx="404321" cy="282957"/>
          </a:xfrm>
        </p:spPr>
        <p:txBody>
          <a:bodyPr>
            <a:noAutofit/>
          </a:bodyPr>
          <a:lstStyle/>
          <a:p>
            <a:fld id="{3E04DF46-C0DC-4ADC-9A6F-918CC4703A43}" type="slidenum">
              <a:rPr lang="en-GB" smtClean="0"/>
              <a:t>‹#›</a:t>
            </a:fld>
            <a:endParaRPr lang="en-GB"/>
          </a:p>
        </p:txBody>
      </p:sp>
      <p:sp>
        <p:nvSpPr>
          <p:cNvPr id="10" name="Footer Placeholder">
            <a:extLst>
              <a:ext uri="{FF2B5EF4-FFF2-40B4-BE49-F238E27FC236}">
                <a16:creationId xmlns:a16="http://schemas.microsoft.com/office/drawing/2014/main" id="{4CE5B1DD-3293-4063-F7F1-B70B9765EBB6}"/>
              </a:ext>
            </a:extLst>
          </p:cNvPr>
          <p:cNvSpPr>
            <a:spLocks noGrp="1" noRot="1" noMove="1" noResize="1" noEditPoints="1" noAdjustHandles="1" noChangeArrowheads="1" noChangeShapeType="1"/>
          </p:cNvSpPr>
          <p:nvPr>
            <p:ph type="ftr" sz="quarter" idx="11"/>
          </p:nvPr>
        </p:nvSpPr>
        <p:spPr>
          <a:xfrm>
            <a:off x="3251197" y="6495102"/>
            <a:ext cx="3716341" cy="282957"/>
          </a:xfrm>
        </p:spPr>
        <p:txBody>
          <a:bodyPr>
            <a:noAutofit/>
          </a:bodyPr>
          <a:lstStyle/>
          <a:p>
            <a:endParaRPr lang="en-GB"/>
          </a:p>
        </p:txBody>
      </p:sp>
      <p:sp>
        <p:nvSpPr>
          <p:cNvPr id="12" name="Date Placeholder">
            <a:extLst>
              <a:ext uri="{FF2B5EF4-FFF2-40B4-BE49-F238E27FC236}">
                <a16:creationId xmlns:a16="http://schemas.microsoft.com/office/drawing/2014/main" id="{2B42008E-A492-279B-2ED3-A175F4B44689}"/>
              </a:ext>
            </a:extLst>
          </p:cNvPr>
          <p:cNvSpPr>
            <a:spLocks noGrp="1" noRot="1" noMove="1" noResize="1" noEditPoints="1" noAdjustHandles="1" noChangeArrowheads="1" noChangeShapeType="1"/>
          </p:cNvSpPr>
          <p:nvPr>
            <p:ph type="dt" sz="half" idx="10"/>
          </p:nvPr>
        </p:nvSpPr>
        <p:spPr>
          <a:xfrm>
            <a:off x="2265363" y="6495102"/>
            <a:ext cx="757238" cy="282957"/>
          </a:xfrm>
        </p:spPr>
        <p:txBody>
          <a:bodyPr>
            <a:noAutofit/>
          </a:bodyPr>
          <a:lstStyle/>
          <a:p>
            <a:fld id="{1B0DF2C9-7B70-4009-B83E-42FD28295E6A}" type="datetime1">
              <a:rPr lang="en-GB" smtClean="0"/>
              <a:t>18/11/2024</a:t>
            </a:fld>
            <a:endParaRPr lang="en-GB"/>
          </a:p>
        </p:txBody>
      </p:sp>
      <p:sp>
        <p:nvSpPr>
          <p:cNvPr id="18" name="Source Placeholder">
            <a:extLst>
              <a:ext uri="{FF2B5EF4-FFF2-40B4-BE49-F238E27FC236}">
                <a16:creationId xmlns:a16="http://schemas.microsoft.com/office/drawing/2014/main" id="{B58D918B-E5ED-CEFD-AC78-E2B63F48FCBF}"/>
              </a:ext>
            </a:extLst>
          </p:cNvPr>
          <p:cNvSpPr>
            <a:spLocks noGrp="1" noRot="1" noMove="1" noResize="1" noEditPoints="1" noAdjustHandles="1" noChangeArrowheads="1" noChangeShapeType="1"/>
          </p:cNvSpPr>
          <p:nvPr>
            <p:ph type="body" sz="quarter" idx="16"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27" name="Content 4 Placeholder">
            <a:extLst>
              <a:ext uri="{FF2B5EF4-FFF2-40B4-BE49-F238E27FC236}">
                <a16:creationId xmlns:a16="http://schemas.microsoft.com/office/drawing/2014/main" id="{144A1808-BD26-954C-7A7D-83EEA82BA694}"/>
              </a:ext>
            </a:extLst>
          </p:cNvPr>
          <p:cNvSpPr>
            <a:spLocks noGrp="1" noRot="1" noMove="1" noResize="1" noEditPoints="1" noAdjustHandles="1" noChangeArrowheads="1" noChangeShapeType="1"/>
          </p:cNvSpPr>
          <p:nvPr>
            <p:ph sz="quarter" idx="20" hasCustomPrompt="1"/>
          </p:nvPr>
        </p:nvSpPr>
        <p:spPr>
          <a:xfrm>
            <a:off x="9169398" y="3771900"/>
            <a:ext cx="2730499" cy="19050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Image/Content 4 Placeholder">
            <a:extLst>
              <a:ext uri="{FF2B5EF4-FFF2-40B4-BE49-F238E27FC236}">
                <a16:creationId xmlns:a16="http://schemas.microsoft.com/office/drawing/2014/main" id="{8FC58B79-91D4-E705-AA46-09881D8F6B63}"/>
              </a:ext>
            </a:extLst>
          </p:cNvPr>
          <p:cNvSpPr>
            <a:spLocks noGrp="1" noRot="1" noMove="1" noResize="1" noEditPoints="1" noAdjustHandles="1" noChangeArrowheads="1" noChangeShapeType="1"/>
          </p:cNvSpPr>
          <p:nvPr>
            <p:ph sz="quarter" idx="21" hasCustomPrompt="1"/>
          </p:nvPr>
        </p:nvSpPr>
        <p:spPr>
          <a:xfrm>
            <a:off x="9169398" y="1638300"/>
            <a:ext cx="2730499" cy="1905000"/>
          </a:xfrm>
          <a:solidFill>
            <a:srgbClr val="F0F0F0"/>
          </a:solidFill>
        </p:spPr>
        <p:txBody>
          <a:bodyPr vert="horz" lIns="0" tIns="0" rIns="0" bIns="0" rtlCol="0" anchor="ctr">
            <a:noAutofit/>
          </a:bodyPr>
          <a:lstStyle>
            <a:lvl1pPr>
              <a:defRPr lang="en-US" dirty="0"/>
            </a:lvl1pPr>
            <a:lvl2pPr marL="285750" indent="0">
              <a:buNone/>
              <a:defRPr lang="en-US" dirty="0"/>
            </a:lvl2pPr>
            <a:lvl3pPr>
              <a:defRPr lang="en-US" dirty="0"/>
            </a:lvl3pPr>
            <a:lvl4pPr>
              <a:defRPr lang="en-US" dirty="0"/>
            </a:lvl4pPr>
            <a:lvl5pPr>
              <a:defRPr lang="en-GB" dirty="0"/>
            </a:lvl5pPr>
          </a:lstStyle>
          <a:p>
            <a:pPr marL="0" lvl="0" indent="0" algn="ctr">
              <a:buNone/>
            </a:pPr>
            <a:r>
              <a:rPr lang="en-US"/>
              <a:t>Insert your copy here</a:t>
            </a:r>
          </a:p>
        </p:txBody>
      </p:sp>
      <p:sp>
        <p:nvSpPr>
          <p:cNvPr id="19" name="Content 3 Placeholder">
            <a:extLst>
              <a:ext uri="{FF2B5EF4-FFF2-40B4-BE49-F238E27FC236}">
                <a16:creationId xmlns:a16="http://schemas.microsoft.com/office/drawing/2014/main" id="{1C68F5D6-927B-1890-8237-531EC33D8216}"/>
              </a:ext>
            </a:extLst>
          </p:cNvPr>
          <p:cNvSpPr>
            <a:spLocks noGrp="1" noRot="1" noMove="1" noResize="1" noEditPoints="1" noAdjustHandles="1" noChangeArrowheads="1" noChangeShapeType="1"/>
          </p:cNvSpPr>
          <p:nvPr>
            <p:ph sz="quarter" idx="17" hasCustomPrompt="1"/>
          </p:nvPr>
        </p:nvSpPr>
        <p:spPr>
          <a:xfrm>
            <a:off x="6210300" y="3771900"/>
            <a:ext cx="2730499" cy="19050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Image/Content 3 Placeholder">
            <a:extLst>
              <a:ext uri="{FF2B5EF4-FFF2-40B4-BE49-F238E27FC236}">
                <a16:creationId xmlns:a16="http://schemas.microsoft.com/office/drawing/2014/main" id="{6A6CF041-3B02-7A63-A899-5A7D01696A1C}"/>
              </a:ext>
            </a:extLst>
          </p:cNvPr>
          <p:cNvSpPr>
            <a:spLocks noGrp="1" noRot="1" noMove="1" noResize="1" noEditPoints="1" noAdjustHandles="1" noChangeArrowheads="1" noChangeShapeType="1"/>
          </p:cNvSpPr>
          <p:nvPr>
            <p:ph sz="quarter" idx="15" hasCustomPrompt="1"/>
          </p:nvPr>
        </p:nvSpPr>
        <p:spPr>
          <a:xfrm>
            <a:off x="6210300" y="1638300"/>
            <a:ext cx="2730499" cy="1905000"/>
          </a:xfrm>
          <a:solidFill>
            <a:srgbClr val="F0F0F0"/>
          </a:solidFill>
        </p:spPr>
        <p:txBody>
          <a:bodyPr vert="horz" lIns="0" tIns="0" rIns="0" bIns="0" rtlCol="0" anchor="ctr">
            <a:noAutofit/>
          </a:bodyPr>
          <a:lstStyle>
            <a:lvl1pPr>
              <a:defRPr lang="en-US" dirty="0"/>
            </a:lvl1pPr>
            <a:lvl2pPr marL="285750" indent="0">
              <a:buNone/>
              <a:defRPr lang="en-US" dirty="0"/>
            </a:lvl2pPr>
            <a:lvl3pPr>
              <a:defRPr lang="en-US" dirty="0"/>
            </a:lvl3pPr>
            <a:lvl4pPr>
              <a:defRPr lang="en-US" dirty="0"/>
            </a:lvl4pPr>
            <a:lvl5pPr>
              <a:defRPr lang="en-GB" dirty="0"/>
            </a:lvl5pPr>
          </a:lstStyle>
          <a:p>
            <a:pPr marL="0" lvl="0" indent="0" algn="ctr">
              <a:buNone/>
            </a:pPr>
            <a:r>
              <a:rPr lang="en-US"/>
              <a:t>Insert your copy here</a:t>
            </a:r>
          </a:p>
        </p:txBody>
      </p:sp>
      <p:sp>
        <p:nvSpPr>
          <p:cNvPr id="21" name="Content 2 Placeholder">
            <a:extLst>
              <a:ext uri="{FF2B5EF4-FFF2-40B4-BE49-F238E27FC236}">
                <a16:creationId xmlns:a16="http://schemas.microsoft.com/office/drawing/2014/main" id="{D738D949-C558-6B16-B96A-624CAABF5C50}"/>
              </a:ext>
            </a:extLst>
          </p:cNvPr>
          <p:cNvSpPr>
            <a:spLocks noGrp="1" noRot="1" noMove="1" noResize="1" noEditPoints="1" noAdjustHandles="1" noChangeArrowheads="1" noChangeShapeType="1"/>
          </p:cNvSpPr>
          <p:nvPr>
            <p:ph sz="quarter" idx="18" hasCustomPrompt="1"/>
          </p:nvPr>
        </p:nvSpPr>
        <p:spPr>
          <a:xfrm>
            <a:off x="3251202" y="3771900"/>
            <a:ext cx="2730499" cy="19050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Image/Content 2 Placeholder">
            <a:extLst>
              <a:ext uri="{FF2B5EF4-FFF2-40B4-BE49-F238E27FC236}">
                <a16:creationId xmlns:a16="http://schemas.microsoft.com/office/drawing/2014/main" id="{5F2A25EF-6714-B247-2DB2-B0DC035CA2AD}"/>
              </a:ext>
            </a:extLst>
          </p:cNvPr>
          <p:cNvSpPr>
            <a:spLocks noGrp="1" noRot="1" noMove="1" noResize="1" noEditPoints="1" noAdjustHandles="1" noChangeArrowheads="1" noChangeShapeType="1"/>
          </p:cNvSpPr>
          <p:nvPr>
            <p:ph sz="quarter" idx="4" hasCustomPrompt="1"/>
          </p:nvPr>
        </p:nvSpPr>
        <p:spPr>
          <a:xfrm>
            <a:off x="3251202" y="1638300"/>
            <a:ext cx="2730499" cy="1905000"/>
          </a:xfrm>
          <a:solidFill>
            <a:srgbClr val="F0F0F0"/>
          </a:solidFill>
        </p:spPr>
        <p:txBody>
          <a:bodyPr vert="horz" lIns="0" tIns="0" rIns="0" bIns="0" rtlCol="0" anchor="ctr">
            <a:noAutofit/>
          </a:bodyPr>
          <a:lstStyle>
            <a:lvl1pPr>
              <a:defRPr lang="en-US" dirty="0"/>
            </a:lvl1pPr>
            <a:lvl2pPr>
              <a:defRPr lang="en-US" dirty="0"/>
            </a:lvl2pPr>
            <a:lvl3pPr>
              <a:defRPr lang="en-US" dirty="0"/>
            </a:lvl3pPr>
            <a:lvl4pPr>
              <a:defRPr lang="en-US" dirty="0"/>
            </a:lvl4pPr>
            <a:lvl5pPr>
              <a:defRPr lang="en-GB" dirty="0"/>
            </a:lvl5pPr>
          </a:lstStyle>
          <a:p>
            <a:pPr marL="0" lvl="0" indent="0" algn="ctr">
              <a:buNone/>
            </a:pPr>
            <a:r>
              <a:rPr lang="en-US"/>
              <a:t>Insert your copy here</a:t>
            </a:r>
          </a:p>
        </p:txBody>
      </p:sp>
      <p:sp>
        <p:nvSpPr>
          <p:cNvPr id="23" name="Content 1 Placeholder">
            <a:extLst>
              <a:ext uri="{FF2B5EF4-FFF2-40B4-BE49-F238E27FC236}">
                <a16:creationId xmlns:a16="http://schemas.microsoft.com/office/drawing/2014/main" id="{9B7A0767-D64A-2252-7ED8-79BDD2A28568}"/>
              </a:ext>
            </a:extLst>
          </p:cNvPr>
          <p:cNvSpPr>
            <a:spLocks noGrp="1" noRot="1" noMove="1" noResize="1" noEditPoints="1" noAdjustHandles="1" noChangeArrowheads="1" noChangeShapeType="1"/>
          </p:cNvSpPr>
          <p:nvPr>
            <p:ph sz="half" idx="19" hasCustomPrompt="1"/>
          </p:nvPr>
        </p:nvSpPr>
        <p:spPr>
          <a:xfrm>
            <a:off x="292101" y="3771900"/>
            <a:ext cx="2730500" cy="19050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Image/Content 1 Placeholder">
            <a:extLst>
              <a:ext uri="{FF2B5EF4-FFF2-40B4-BE49-F238E27FC236}">
                <a16:creationId xmlns:a16="http://schemas.microsoft.com/office/drawing/2014/main" id="{ACCC2EE9-2558-5373-EC90-280A39D1898C}"/>
              </a:ext>
            </a:extLst>
          </p:cNvPr>
          <p:cNvSpPr>
            <a:spLocks noGrp="1" noRot="1" noMove="1" noResize="1" noEditPoints="1" noAdjustHandles="1" noChangeArrowheads="1" noChangeShapeType="1"/>
          </p:cNvSpPr>
          <p:nvPr>
            <p:ph sz="half" idx="2" hasCustomPrompt="1"/>
          </p:nvPr>
        </p:nvSpPr>
        <p:spPr>
          <a:xfrm>
            <a:off x="292101" y="1638300"/>
            <a:ext cx="2730500" cy="1905000"/>
          </a:xfrm>
          <a:solidFill>
            <a:srgbClr val="F0F0F0"/>
          </a:solidFill>
        </p:spPr>
        <p:txBody>
          <a:bodyPr anchor="ctr">
            <a:noAutofit/>
          </a:bodyPr>
          <a:lstStyle>
            <a:lvl1pPr marL="0" indent="0" algn="ctr">
              <a:buNone/>
              <a:defRPr/>
            </a:lvl1pPr>
          </a:lstStyle>
          <a:p>
            <a:pPr lvl="0"/>
            <a:r>
              <a:rPr lang="en-GB"/>
              <a:t>Insert content</a:t>
            </a:r>
          </a:p>
        </p:txBody>
      </p:sp>
      <p:sp>
        <p:nvSpPr>
          <p:cNvPr id="25" name="Subtitle Placeholder">
            <a:extLst>
              <a:ext uri="{FF2B5EF4-FFF2-40B4-BE49-F238E27FC236}">
                <a16:creationId xmlns:a16="http://schemas.microsoft.com/office/drawing/2014/main" id="{377C48EF-B0F0-FB83-53E1-3E98D8DF9286}"/>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26" name="Title Placeholder">
            <a:extLst>
              <a:ext uri="{FF2B5EF4-FFF2-40B4-BE49-F238E27FC236}">
                <a16:creationId xmlns:a16="http://schemas.microsoft.com/office/drawing/2014/main" id="{11AA0F79-4C10-AAB7-4E1A-A1143BCD44DC}"/>
              </a:ext>
            </a:extLst>
          </p:cNvPr>
          <p:cNvSpPr>
            <a:spLocks noGrp="1" noRot="1" noMove="1" noResize="1" noEditPoints="1" noAdjustHandles="1" noChangeArrowheads="1" noChangeShapeType="1"/>
          </p:cNvSpPr>
          <p:nvPr>
            <p:ph type="title" hasCustomPrompt="1"/>
          </p:nvPr>
        </p:nvSpPr>
        <p:spPr>
          <a:xfrm>
            <a:off x="292100" y="304800"/>
            <a:ext cx="11613314" cy="265590"/>
          </a:xfrm>
        </p:spPr>
        <p:txBody>
          <a:bodyPr>
            <a:noAutofit/>
          </a:bodyPr>
          <a:lstStyle/>
          <a:p>
            <a:r>
              <a:rPr lang="en-US"/>
              <a:t>Insert your slide title in Arial Bold 20pt</a:t>
            </a:r>
            <a:endParaRPr lang="en-GB"/>
          </a:p>
        </p:txBody>
      </p:sp>
    </p:spTree>
    <p:extLst>
      <p:ext uri="{BB962C8B-B14F-4D97-AF65-F5344CB8AC3E}">
        <p14:creationId xmlns:p14="http://schemas.microsoft.com/office/powerpoint/2010/main" val="3433197500"/>
      </p:ext>
    </p:extLst>
  </p:cSld>
  <p:clrMapOvr>
    <a:masterClrMapping/>
  </p:clrMapOvr>
  <p:extLst>
    <p:ext uri="{DCECCB84-F9BA-43D5-87BE-67443E8EF086}">
      <p15:sldGuideLst xmlns:p15="http://schemas.microsoft.com/office/powerpoint/2012/main">
        <p15:guide id="8" pos="1904">
          <p15:clr>
            <a:srgbClr val="5ACBF0"/>
          </p15:clr>
        </p15:guide>
        <p15:guide id="9" pos="2048">
          <p15:clr>
            <a:srgbClr val="5ACBF0"/>
          </p15:clr>
        </p15:guide>
        <p15:guide id="14" pos="3768">
          <p15:clr>
            <a:srgbClr val="A4A3A4"/>
          </p15:clr>
        </p15:guide>
        <p15:guide id="15" pos="3912">
          <p15:clr>
            <a:srgbClr val="A4A3A4"/>
          </p15:clr>
        </p15:guide>
        <p15:guide id="20" pos="5631">
          <p15:clr>
            <a:srgbClr val="5ACBF0"/>
          </p15:clr>
        </p15:guide>
        <p15:guide id="21" pos="5775">
          <p15:clr>
            <a:srgbClr val="5ACBF0"/>
          </p15:clr>
        </p15:guide>
        <p15:guide id="22" orient="horz" pos="2304">
          <p15:clr>
            <a:srgbClr val="A4A3A4"/>
          </p15:clr>
        </p15:guide>
        <p15:guide id="23" orient="horz" pos="2232">
          <p15:clr>
            <a:srgbClr val="A4A3A4"/>
          </p15:clr>
        </p15:guide>
        <p15:guide id="24" orient="horz" pos="2376">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aptop">
    <p:spTree>
      <p:nvGrpSpPr>
        <p:cNvPr id="1" name=""/>
        <p:cNvGrpSpPr/>
        <p:nvPr/>
      </p:nvGrpSpPr>
      <p:grpSpPr>
        <a:xfrm>
          <a:off x="0" y="0"/>
          <a:ext cx="0" cy="0"/>
          <a:chOff x="0" y="0"/>
          <a:chExt cx="0" cy="0"/>
        </a:xfrm>
      </p:grpSpPr>
      <p:grpSp>
        <p:nvGrpSpPr>
          <p:cNvPr id="12" name="Laptop Frame">
            <a:extLst>
              <a:ext uri="{FF2B5EF4-FFF2-40B4-BE49-F238E27FC236}">
                <a16:creationId xmlns:a16="http://schemas.microsoft.com/office/drawing/2014/main" id="{28CA7E52-1DEF-001D-23AD-F3A1C94F9472}"/>
              </a:ext>
            </a:extLst>
          </p:cNvPr>
          <p:cNvGrpSpPr>
            <a:grpSpLocks noGrp="1" noUngrp="1" noRot="1" noMove="1" noResize="1"/>
          </p:cNvGrpSpPr>
          <p:nvPr userDrawn="1"/>
        </p:nvGrpSpPr>
        <p:grpSpPr>
          <a:xfrm>
            <a:off x="4124687" y="1638300"/>
            <a:ext cx="7893777" cy="4138018"/>
            <a:chOff x="3936001" y="1448418"/>
            <a:chExt cx="8256000" cy="4327900"/>
          </a:xfrm>
        </p:grpSpPr>
        <p:pic>
          <p:nvPicPr>
            <p:cNvPr id="13" name="Shape">
              <a:extLst>
                <a:ext uri="{FF2B5EF4-FFF2-40B4-BE49-F238E27FC236}">
                  <a16:creationId xmlns:a16="http://schemas.microsoft.com/office/drawing/2014/main" id="{2AB0D041-303A-5AF4-862E-A74ACD791CB8}"/>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14" name="Redact">
              <a:extLst>
                <a:ext uri="{FF2B5EF4-FFF2-40B4-BE49-F238E27FC236}">
                  <a16:creationId xmlns:a16="http://schemas.microsoft.com/office/drawing/2014/main" id="{A4E3EFDE-C5ED-BDD5-F21C-80D4CA71AD88}"/>
                </a:ext>
              </a:extLst>
            </p:cNvPr>
            <p:cNvSpPr>
              <a:spLocks noGrp="1" noRot="1" noMove="1" noResize="1" noEditPoints="1" noAdjustHandles="1" noChangeArrowheads="1" noChangeShapeType="1"/>
            </p:cNvSpPr>
            <p:nvPr userDrawn="1"/>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sp>
        <p:nvSpPr>
          <p:cNvPr id="15" name="Picture Placeholder">
            <a:extLst>
              <a:ext uri="{FF2B5EF4-FFF2-40B4-BE49-F238E27FC236}">
                <a16:creationId xmlns:a16="http://schemas.microsoft.com/office/drawing/2014/main" id="{74F0AE2B-B9B7-3100-37FB-FCDFB48EDE79}"/>
              </a:ext>
            </a:extLst>
          </p:cNvPr>
          <p:cNvSpPr>
            <a:spLocks noGrp="1" noRot="1" noMove="1" noResize="1" noEditPoints="1" noAdjustHandles="1" noChangeArrowheads="1" noChangeShapeType="1"/>
          </p:cNvSpPr>
          <p:nvPr>
            <p:ph type="pic" sz="quarter" idx="17" hasCustomPrompt="1"/>
          </p:nvPr>
        </p:nvSpPr>
        <p:spPr bwMode="gray">
          <a:xfrm>
            <a:off x="5290128" y="1739900"/>
            <a:ext cx="5566620" cy="3619500"/>
          </a:xfrm>
          <a:prstGeom prst="roundRect">
            <a:avLst>
              <a:gd name="adj" fmla="val 1482"/>
            </a:avLst>
          </a:prstGeom>
          <a:solidFill>
            <a:schemeClr val="tx1"/>
          </a:solidFill>
        </p:spPr>
        <p:txBody>
          <a:bodyPr anchor="ctr" anchorCtr="0">
            <a:noAutofit/>
          </a:bodyPr>
          <a:lstStyle>
            <a:lvl1pPr marL="0" indent="0" algn="ctr">
              <a:buNone/>
              <a:defRPr>
                <a:solidFill>
                  <a:schemeClr val="bg1"/>
                </a:solidFill>
              </a:defRPr>
            </a:lvl1pPr>
          </a:lstStyle>
          <a:p>
            <a:r>
              <a:rPr lang="en-GB"/>
              <a:t> Click picture icon to add photo</a:t>
            </a:r>
          </a:p>
        </p:txBody>
      </p:sp>
      <p:sp>
        <p:nvSpPr>
          <p:cNvPr id="9" name="Slide Number Placeholder">
            <a:extLst>
              <a:ext uri="{FF2B5EF4-FFF2-40B4-BE49-F238E27FC236}">
                <a16:creationId xmlns:a16="http://schemas.microsoft.com/office/drawing/2014/main" id="{F40ED59A-96CE-38E9-B955-808CAC1BBE93}"/>
              </a:ext>
            </a:extLst>
          </p:cNvPr>
          <p:cNvSpPr>
            <a:spLocks noGrp="1" noRot="1" noMove="1" noResize="1" noEditPoints="1" noAdjustHandles="1" noChangeArrowheads="1" noChangeShapeType="1"/>
          </p:cNvSpPr>
          <p:nvPr>
            <p:ph type="sldNum" sz="quarter" idx="12"/>
          </p:nvPr>
        </p:nvSpPr>
        <p:spPr>
          <a:xfrm>
            <a:off x="11495577" y="6495100"/>
            <a:ext cx="404321" cy="282957"/>
          </a:xfrm>
        </p:spPr>
        <p:txBody>
          <a:bodyPr>
            <a:noAutofit/>
          </a:bodyPr>
          <a:lstStyle/>
          <a:p>
            <a:fld id="{3E04DF46-C0DC-4ADC-9A6F-918CC4703A43}" type="slidenum">
              <a:rPr lang="en-GB" smtClean="0"/>
              <a:t>‹#›</a:t>
            </a:fld>
            <a:endParaRPr lang="en-GB"/>
          </a:p>
        </p:txBody>
      </p:sp>
      <p:sp>
        <p:nvSpPr>
          <p:cNvPr id="10" name="Footer Placeholder">
            <a:extLst>
              <a:ext uri="{FF2B5EF4-FFF2-40B4-BE49-F238E27FC236}">
                <a16:creationId xmlns:a16="http://schemas.microsoft.com/office/drawing/2014/main" id="{12ABF694-3377-ED1E-A0A9-F03E499ECE50}"/>
              </a:ext>
            </a:extLst>
          </p:cNvPr>
          <p:cNvSpPr>
            <a:spLocks noGrp="1" noRot="1" noMove="1" noResize="1" noEditPoints="1" noAdjustHandles="1" noChangeArrowheads="1" noChangeShapeType="1"/>
          </p:cNvSpPr>
          <p:nvPr>
            <p:ph type="ftr" sz="quarter" idx="11"/>
          </p:nvPr>
        </p:nvSpPr>
        <p:spPr>
          <a:xfrm>
            <a:off x="3251197" y="6495102"/>
            <a:ext cx="3716341" cy="282957"/>
          </a:xfrm>
        </p:spPr>
        <p:txBody>
          <a:bodyPr>
            <a:noAutofit/>
          </a:bodyPr>
          <a:lstStyle/>
          <a:p>
            <a:endParaRPr lang="en-GB"/>
          </a:p>
        </p:txBody>
      </p:sp>
      <p:sp>
        <p:nvSpPr>
          <p:cNvPr id="11" name="Date Placeholder">
            <a:extLst>
              <a:ext uri="{FF2B5EF4-FFF2-40B4-BE49-F238E27FC236}">
                <a16:creationId xmlns:a16="http://schemas.microsoft.com/office/drawing/2014/main" id="{6C70B518-71FA-524B-8A6C-76B2F1192A03}"/>
              </a:ext>
            </a:extLst>
          </p:cNvPr>
          <p:cNvSpPr>
            <a:spLocks noGrp="1" noRot="1" noMove="1" noResize="1" noEditPoints="1" noAdjustHandles="1" noChangeArrowheads="1" noChangeShapeType="1"/>
          </p:cNvSpPr>
          <p:nvPr>
            <p:ph type="dt" sz="half" idx="10"/>
          </p:nvPr>
        </p:nvSpPr>
        <p:spPr>
          <a:xfrm>
            <a:off x="2265363" y="6495102"/>
            <a:ext cx="757238" cy="282957"/>
          </a:xfrm>
        </p:spPr>
        <p:txBody>
          <a:bodyPr>
            <a:noAutofit/>
          </a:bodyPr>
          <a:lstStyle/>
          <a:p>
            <a:fld id="{A95ACABD-257F-48AB-94D3-B913B9097175}" type="datetime1">
              <a:rPr lang="en-GB" smtClean="0"/>
              <a:t>18/11/2024</a:t>
            </a:fld>
            <a:endParaRPr lang="en-GB"/>
          </a:p>
        </p:txBody>
      </p:sp>
      <p:sp>
        <p:nvSpPr>
          <p:cNvPr id="16" name="Source Placeholder">
            <a:extLst>
              <a:ext uri="{FF2B5EF4-FFF2-40B4-BE49-F238E27FC236}">
                <a16:creationId xmlns:a16="http://schemas.microsoft.com/office/drawing/2014/main" id="{92349AC3-43C9-A349-AF2E-C029A34491C0}"/>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7" name="Content Placeholder">
            <a:extLst>
              <a:ext uri="{FF2B5EF4-FFF2-40B4-BE49-F238E27FC236}">
                <a16:creationId xmlns:a16="http://schemas.microsoft.com/office/drawing/2014/main" id="{2EA745BA-CA14-8FD0-05BA-8977508264EA}"/>
              </a:ext>
            </a:extLst>
          </p:cNvPr>
          <p:cNvSpPr>
            <a:spLocks noGrp="1" noRot="1" noMove="1" noResize="1" noEditPoints="1" noAdjustHandles="1" noChangeArrowheads="1" noChangeShapeType="1"/>
          </p:cNvSpPr>
          <p:nvPr>
            <p:ph sz="half" idx="2" hasCustomPrompt="1"/>
          </p:nvPr>
        </p:nvSpPr>
        <p:spPr>
          <a:xfrm>
            <a:off x="292101" y="2019300"/>
            <a:ext cx="3700460" cy="36576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6" name="Header Placeholder">
            <a:extLst>
              <a:ext uri="{FF2B5EF4-FFF2-40B4-BE49-F238E27FC236}">
                <a16:creationId xmlns:a16="http://schemas.microsoft.com/office/drawing/2014/main" id="{97696C2F-B753-BD09-3B16-F91EAC65E0F2}"/>
              </a:ext>
            </a:extLst>
          </p:cNvPr>
          <p:cNvSpPr>
            <a:spLocks noGrp="1" noRot="1" noMove="1" noResize="1" noEditPoints="1" noAdjustHandles="1" noChangeArrowheads="1" noChangeShapeType="1"/>
          </p:cNvSpPr>
          <p:nvPr>
            <p:ph type="body" idx="1" hasCustomPrompt="1"/>
          </p:nvPr>
        </p:nvSpPr>
        <p:spPr>
          <a:xfrm>
            <a:off x="292101" y="1308100"/>
            <a:ext cx="3710815"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17" name="Subtitle Placeholder">
            <a:extLst>
              <a:ext uri="{FF2B5EF4-FFF2-40B4-BE49-F238E27FC236}">
                <a16:creationId xmlns:a16="http://schemas.microsoft.com/office/drawing/2014/main" id="{73234507-5FFE-AB0B-1739-6DC3FB8BBDB8}"/>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18" name="Title Placeholder">
            <a:extLst>
              <a:ext uri="{FF2B5EF4-FFF2-40B4-BE49-F238E27FC236}">
                <a16:creationId xmlns:a16="http://schemas.microsoft.com/office/drawing/2014/main" id="{173559CA-3B9C-F323-35EC-DBADE1584BE4}"/>
              </a:ext>
            </a:extLst>
          </p:cNvPr>
          <p:cNvSpPr>
            <a:spLocks noGrp="1" noRot="1" noMove="1" noResize="1" noEditPoints="1" noAdjustHandles="1" noChangeArrowheads="1" noChangeShapeType="1"/>
          </p:cNvSpPr>
          <p:nvPr>
            <p:ph type="title" hasCustomPrompt="1"/>
          </p:nvPr>
        </p:nvSpPr>
        <p:spPr>
          <a:xfrm>
            <a:off x="292100" y="304800"/>
            <a:ext cx="11613314" cy="265590"/>
          </a:xfrm>
        </p:spPr>
        <p:txBody>
          <a:bodyPr>
            <a:noAutofit/>
          </a:bodyPr>
          <a:lstStyle/>
          <a:p>
            <a:r>
              <a:rPr lang="en-US"/>
              <a:t>Insert your slide title in Arial Bold 20pt</a:t>
            </a:r>
            <a:endParaRPr lang="en-GB"/>
          </a:p>
        </p:txBody>
      </p:sp>
    </p:spTree>
    <p:extLst>
      <p:ext uri="{BB962C8B-B14F-4D97-AF65-F5344CB8AC3E}">
        <p14:creationId xmlns:p14="http://schemas.microsoft.com/office/powerpoint/2010/main" val="410216870"/>
      </p:ext>
    </p:extLst>
  </p:cSld>
  <p:clrMapOvr>
    <a:masterClrMapping/>
  </p:clrMapOvr>
  <p:extLst>
    <p:ext uri="{DCECCB84-F9BA-43D5-87BE-67443E8EF086}">
      <p15:sldGuideLst xmlns:p15="http://schemas.microsoft.com/office/powerpoint/2012/main">
        <p15:guide id="10" pos="2525">
          <p15:clr>
            <a:srgbClr val="FDE53C"/>
          </p15:clr>
        </p15:guide>
        <p15:guide id="11" pos="2669">
          <p15:clr>
            <a:srgbClr val="FDE53C"/>
          </p15:clr>
        </p15:guide>
        <p15:guide id="18" pos="5010">
          <p15:clr>
            <a:srgbClr val="FDE53C"/>
          </p15:clr>
        </p15:guide>
        <p15:guide id="19" pos="5154">
          <p15:clr>
            <a:srgbClr val="FDE53C"/>
          </p15:clr>
        </p15:guide>
        <p15:guide id="22" orient="horz" pos="2304">
          <p15:clr>
            <a:srgbClr val="A4A3A4"/>
          </p15:clr>
        </p15:guide>
        <p15:guide id="23" orient="horz" pos="2232">
          <p15:clr>
            <a:srgbClr val="A4A3A4"/>
          </p15:clr>
        </p15:guide>
        <p15:guide id="24" orient="horz" pos="2376">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t">
    <p:spTree>
      <p:nvGrpSpPr>
        <p:cNvPr id="1" name=""/>
        <p:cNvGrpSpPr/>
        <p:nvPr/>
      </p:nvGrpSpPr>
      <p:grpSpPr>
        <a:xfrm>
          <a:off x="0" y="0"/>
          <a:ext cx="0" cy="0"/>
          <a:chOff x="0" y="0"/>
          <a:chExt cx="0" cy="0"/>
        </a:xfrm>
      </p:grpSpPr>
      <p:sp>
        <p:nvSpPr>
          <p:cNvPr id="12" name="Slide Number Placeholder">
            <a:extLst>
              <a:ext uri="{FF2B5EF4-FFF2-40B4-BE49-F238E27FC236}">
                <a16:creationId xmlns:a16="http://schemas.microsoft.com/office/drawing/2014/main" id="{D855F1A0-B3DE-8CBB-753A-EBAB8DE25C24}"/>
              </a:ext>
            </a:extLst>
          </p:cNvPr>
          <p:cNvSpPr>
            <a:spLocks noGrp="1" noRot="1" noMove="1" noResize="1" noEditPoints="1" noAdjustHandles="1" noChangeArrowheads="1" noChangeShapeType="1"/>
          </p:cNvSpPr>
          <p:nvPr>
            <p:ph type="sldNum" sz="quarter" idx="12"/>
          </p:nvPr>
        </p:nvSpPr>
        <p:spPr>
          <a:xfrm>
            <a:off x="11495577" y="6495100"/>
            <a:ext cx="404321" cy="282957"/>
          </a:xfrm>
        </p:spPr>
        <p:txBody>
          <a:bodyPr>
            <a:noAutofit/>
          </a:bodyPr>
          <a:lstStyle/>
          <a:p>
            <a:fld id="{3E04DF46-C0DC-4ADC-9A6F-918CC4703A43}" type="slidenum">
              <a:rPr lang="en-GB" smtClean="0"/>
              <a:t>‹#›</a:t>
            </a:fld>
            <a:endParaRPr lang="en-GB"/>
          </a:p>
        </p:txBody>
      </p:sp>
      <p:sp>
        <p:nvSpPr>
          <p:cNvPr id="13" name="Footer Placeholder">
            <a:extLst>
              <a:ext uri="{FF2B5EF4-FFF2-40B4-BE49-F238E27FC236}">
                <a16:creationId xmlns:a16="http://schemas.microsoft.com/office/drawing/2014/main" id="{ED39D506-68E8-D832-DF39-5B6BE1450874}"/>
              </a:ext>
            </a:extLst>
          </p:cNvPr>
          <p:cNvSpPr>
            <a:spLocks noGrp="1" noRot="1" noMove="1" noResize="1" noEditPoints="1" noAdjustHandles="1" noChangeArrowheads="1" noChangeShapeType="1"/>
          </p:cNvSpPr>
          <p:nvPr>
            <p:ph type="ftr" sz="quarter" idx="11"/>
          </p:nvPr>
        </p:nvSpPr>
        <p:spPr>
          <a:xfrm>
            <a:off x="3251197" y="6495102"/>
            <a:ext cx="3716341" cy="282957"/>
          </a:xfrm>
        </p:spPr>
        <p:txBody>
          <a:bodyPr>
            <a:noAutofit/>
          </a:bodyPr>
          <a:lstStyle/>
          <a:p>
            <a:endParaRPr lang="en-GB"/>
          </a:p>
        </p:txBody>
      </p:sp>
      <p:sp>
        <p:nvSpPr>
          <p:cNvPr id="14" name="Date Placeholder">
            <a:extLst>
              <a:ext uri="{FF2B5EF4-FFF2-40B4-BE49-F238E27FC236}">
                <a16:creationId xmlns:a16="http://schemas.microsoft.com/office/drawing/2014/main" id="{462487FC-31D3-3400-936D-53E132CBF697}"/>
              </a:ext>
            </a:extLst>
          </p:cNvPr>
          <p:cNvSpPr>
            <a:spLocks noGrp="1" noRot="1" noMove="1" noResize="1" noEditPoints="1" noAdjustHandles="1" noChangeArrowheads="1" noChangeShapeType="1"/>
          </p:cNvSpPr>
          <p:nvPr>
            <p:ph type="dt" sz="half" idx="10"/>
          </p:nvPr>
        </p:nvSpPr>
        <p:spPr>
          <a:xfrm>
            <a:off x="2265363" y="6495102"/>
            <a:ext cx="757238" cy="282957"/>
          </a:xfrm>
        </p:spPr>
        <p:txBody>
          <a:bodyPr>
            <a:noAutofit/>
          </a:bodyPr>
          <a:lstStyle/>
          <a:p>
            <a:fld id="{A95ACABD-257F-48AB-94D3-B913B9097175}" type="datetime1">
              <a:rPr lang="en-GB" smtClean="0"/>
              <a:t>18/11/2024</a:t>
            </a:fld>
            <a:endParaRPr lang="en-GB"/>
          </a:p>
        </p:txBody>
      </p:sp>
      <p:sp>
        <p:nvSpPr>
          <p:cNvPr id="15" name="Source Placeholder">
            <a:extLst>
              <a:ext uri="{FF2B5EF4-FFF2-40B4-BE49-F238E27FC236}">
                <a16:creationId xmlns:a16="http://schemas.microsoft.com/office/drawing/2014/main" id="{99790FFB-129C-6DB8-7083-44E68EB4BF76}"/>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pic>
        <p:nvPicPr>
          <p:cNvPr id="9" name="Tablet Frame">
            <a:extLst>
              <a:ext uri="{FF2B5EF4-FFF2-40B4-BE49-F238E27FC236}">
                <a16:creationId xmlns:a16="http://schemas.microsoft.com/office/drawing/2014/main" id="{9489571B-A37B-8754-6A0A-0144963120A8}"/>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rotWithShape="1">
          <a:blip r:embed="rId2" cstate="print">
            <a:extLst>
              <a:ext uri="{28A0092B-C50C-407E-A947-70E740481C1C}">
                <a14:useLocalDpi xmlns:a14="http://schemas.microsoft.com/office/drawing/2010/main" val="0"/>
              </a:ext>
            </a:extLst>
          </a:blip>
          <a:srcRect r="3767"/>
          <a:stretch/>
        </p:blipFill>
        <p:spPr bwMode="gray">
          <a:xfrm>
            <a:off x="3784635" y="1606014"/>
            <a:ext cx="8139891" cy="4434024"/>
          </a:xfrm>
          <a:prstGeom prst="rect">
            <a:avLst/>
          </a:prstGeom>
        </p:spPr>
      </p:pic>
      <p:sp>
        <p:nvSpPr>
          <p:cNvPr id="10" name="Picture Placeholder">
            <a:extLst>
              <a:ext uri="{FF2B5EF4-FFF2-40B4-BE49-F238E27FC236}">
                <a16:creationId xmlns:a16="http://schemas.microsoft.com/office/drawing/2014/main" id="{2B100C95-A8AE-9316-439D-4F2A091DD08D}"/>
              </a:ext>
            </a:extLst>
          </p:cNvPr>
          <p:cNvSpPr>
            <a:spLocks noGrp="1" noRot="1" noMove="1" noResize="1" noEditPoints="1" noAdjustHandles="1" noChangeArrowheads="1" noChangeShapeType="1"/>
          </p:cNvSpPr>
          <p:nvPr>
            <p:ph type="pic" sz="quarter" idx="17" hasCustomPrompt="1"/>
          </p:nvPr>
        </p:nvSpPr>
        <p:spPr bwMode="gray">
          <a:xfrm>
            <a:off x="5149851" y="1765300"/>
            <a:ext cx="5753100" cy="3797300"/>
          </a:xfrm>
          <a:prstGeom prst="roundRect">
            <a:avLst>
              <a:gd name="adj" fmla="val 5312"/>
            </a:avLst>
          </a:prstGeom>
          <a:solidFill>
            <a:schemeClr val="tx1"/>
          </a:solidFill>
        </p:spPr>
        <p:txBody>
          <a:bodyPr vert="horz" lIns="0" tIns="0" rIns="0" bIns="0" rtlCol="0" anchor="ctr" anchorCtr="0">
            <a:noAutofit/>
          </a:bodyPr>
          <a:lstStyle>
            <a:lvl1pPr>
              <a:defRPr lang="en-GB" dirty="0">
                <a:solidFill>
                  <a:schemeClr val="bg1"/>
                </a:solidFill>
              </a:defRPr>
            </a:lvl1pPr>
          </a:lstStyle>
          <a:p>
            <a:pPr marL="0" lvl="0" indent="0" algn="ctr">
              <a:buNone/>
            </a:pPr>
            <a:r>
              <a:rPr lang="en-GB"/>
              <a:t> Click to add photo</a:t>
            </a:r>
          </a:p>
        </p:txBody>
      </p:sp>
      <p:sp>
        <p:nvSpPr>
          <p:cNvPr id="7" name="Content Placeholder">
            <a:extLst>
              <a:ext uri="{FF2B5EF4-FFF2-40B4-BE49-F238E27FC236}">
                <a16:creationId xmlns:a16="http://schemas.microsoft.com/office/drawing/2014/main" id="{2EA745BA-CA14-8FD0-05BA-8977508264EA}"/>
              </a:ext>
            </a:extLst>
          </p:cNvPr>
          <p:cNvSpPr>
            <a:spLocks noGrp="1" noRot="1" noMove="1" noResize="1" noEditPoints="1" noAdjustHandles="1" noChangeArrowheads="1" noChangeShapeType="1"/>
          </p:cNvSpPr>
          <p:nvPr>
            <p:ph sz="half" idx="2" hasCustomPrompt="1"/>
          </p:nvPr>
        </p:nvSpPr>
        <p:spPr>
          <a:xfrm>
            <a:off x="292101" y="2019300"/>
            <a:ext cx="3700460" cy="36576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6" name="Header Placeholder">
            <a:extLst>
              <a:ext uri="{FF2B5EF4-FFF2-40B4-BE49-F238E27FC236}">
                <a16:creationId xmlns:a16="http://schemas.microsoft.com/office/drawing/2014/main" id="{97696C2F-B753-BD09-3B16-F91EAC65E0F2}"/>
              </a:ext>
            </a:extLst>
          </p:cNvPr>
          <p:cNvSpPr>
            <a:spLocks noGrp="1" noRot="1" noMove="1" noResize="1" noEditPoints="1" noAdjustHandles="1" noChangeArrowheads="1" noChangeShapeType="1"/>
          </p:cNvSpPr>
          <p:nvPr>
            <p:ph type="body" idx="1" hasCustomPrompt="1"/>
          </p:nvPr>
        </p:nvSpPr>
        <p:spPr>
          <a:xfrm>
            <a:off x="292101" y="1308100"/>
            <a:ext cx="3710815"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16" name="Subtitle Placeholder">
            <a:extLst>
              <a:ext uri="{FF2B5EF4-FFF2-40B4-BE49-F238E27FC236}">
                <a16:creationId xmlns:a16="http://schemas.microsoft.com/office/drawing/2014/main" id="{54C4987E-C48B-8EC9-E43A-A8293855B44B}"/>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17" name="Title Placeholder">
            <a:extLst>
              <a:ext uri="{FF2B5EF4-FFF2-40B4-BE49-F238E27FC236}">
                <a16:creationId xmlns:a16="http://schemas.microsoft.com/office/drawing/2014/main" id="{36465407-29C7-E82D-8FA8-8F0F4FCCD265}"/>
              </a:ext>
            </a:extLst>
          </p:cNvPr>
          <p:cNvSpPr>
            <a:spLocks noGrp="1" noRot="1" noMove="1" noResize="1" noEditPoints="1" noAdjustHandles="1" noChangeArrowheads="1" noChangeShapeType="1"/>
          </p:cNvSpPr>
          <p:nvPr>
            <p:ph type="title" hasCustomPrompt="1"/>
          </p:nvPr>
        </p:nvSpPr>
        <p:spPr>
          <a:xfrm>
            <a:off x="292100" y="304800"/>
            <a:ext cx="11613314" cy="265590"/>
          </a:xfrm>
        </p:spPr>
        <p:txBody>
          <a:bodyPr>
            <a:noAutofit/>
          </a:bodyPr>
          <a:lstStyle/>
          <a:p>
            <a:r>
              <a:rPr lang="en-US"/>
              <a:t>Insert your slide title in Arial Bold 20pt</a:t>
            </a:r>
            <a:endParaRPr lang="en-GB"/>
          </a:p>
        </p:txBody>
      </p:sp>
    </p:spTree>
    <p:extLst>
      <p:ext uri="{BB962C8B-B14F-4D97-AF65-F5344CB8AC3E}">
        <p14:creationId xmlns:p14="http://schemas.microsoft.com/office/powerpoint/2010/main" val="3672712584"/>
      </p:ext>
    </p:extLst>
  </p:cSld>
  <p:clrMapOvr>
    <a:masterClrMapping/>
  </p:clrMapOvr>
  <p:extLst>
    <p:ext uri="{DCECCB84-F9BA-43D5-87BE-67443E8EF086}">
      <p15:sldGuideLst xmlns:p15="http://schemas.microsoft.com/office/powerpoint/2012/main">
        <p15:guide id="10" pos="2525">
          <p15:clr>
            <a:srgbClr val="FDE53C"/>
          </p15:clr>
        </p15:guide>
        <p15:guide id="11" pos="2669">
          <p15:clr>
            <a:srgbClr val="FDE53C"/>
          </p15:clr>
        </p15:guide>
        <p15:guide id="18" pos="5010">
          <p15:clr>
            <a:srgbClr val="FDE53C"/>
          </p15:clr>
        </p15:guide>
        <p15:guide id="19" pos="5154">
          <p15:clr>
            <a:srgbClr val="FDE53C"/>
          </p15:clr>
        </p15:guide>
        <p15:guide id="22" orient="horz" pos="2304">
          <p15:clr>
            <a:srgbClr val="A4A3A4"/>
          </p15:clr>
        </p15:guide>
        <p15:guide id="23" orient="horz" pos="2232">
          <p15:clr>
            <a:srgbClr val="A4A3A4"/>
          </p15:clr>
        </p15:guide>
        <p15:guide id="24" orient="horz" pos="2376">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wo Column">
    <p:spTree>
      <p:nvGrpSpPr>
        <p:cNvPr id="1" name=""/>
        <p:cNvGrpSpPr/>
        <p:nvPr/>
      </p:nvGrpSpPr>
      <p:grpSpPr>
        <a:xfrm>
          <a:off x="0" y="0"/>
          <a:ext cx="0" cy="0"/>
          <a:chOff x="0" y="0"/>
          <a:chExt cx="0" cy="0"/>
        </a:xfrm>
      </p:grpSpPr>
      <p:sp>
        <p:nvSpPr>
          <p:cNvPr id="5" name="Slide Number Placeholder">
            <a:extLst>
              <a:ext uri="{FF2B5EF4-FFF2-40B4-BE49-F238E27FC236}">
                <a16:creationId xmlns:a16="http://schemas.microsoft.com/office/drawing/2014/main" id="{0D075AAD-92E8-E876-C437-4DA760B06AEA}"/>
              </a:ext>
            </a:extLst>
          </p:cNvPr>
          <p:cNvSpPr>
            <a:spLocks noGrp="1" noRot="1" noMove="1" noResize="1" noEditPoints="1" noAdjustHandles="1" noChangeArrowheads="1" noChangeShapeType="1"/>
          </p:cNvSpPr>
          <p:nvPr>
            <p:ph type="sldNum" sz="quarter" idx="12"/>
          </p:nvPr>
        </p:nvSpPr>
        <p:spPr>
          <a:xfrm>
            <a:off x="11495577" y="6495100"/>
            <a:ext cx="404321" cy="282957"/>
          </a:xfrm>
        </p:spPr>
        <p:txBody>
          <a:bodyPr>
            <a:noAutofit/>
          </a:bodyPr>
          <a:lstStyle/>
          <a:p>
            <a:fld id="{3E04DF46-C0DC-4ADC-9A6F-918CC4703A43}" type="slidenum">
              <a:rPr lang="en-GB" smtClean="0"/>
              <a:t>‹#›</a:t>
            </a:fld>
            <a:endParaRPr lang="en-GB"/>
          </a:p>
        </p:txBody>
      </p:sp>
      <p:sp>
        <p:nvSpPr>
          <p:cNvPr id="6" name="Footer Placeholder">
            <a:extLst>
              <a:ext uri="{FF2B5EF4-FFF2-40B4-BE49-F238E27FC236}">
                <a16:creationId xmlns:a16="http://schemas.microsoft.com/office/drawing/2014/main" id="{37F6973E-B506-459C-8409-EDC0F9FEB641}"/>
              </a:ext>
            </a:extLst>
          </p:cNvPr>
          <p:cNvSpPr>
            <a:spLocks noGrp="1" noRot="1" noMove="1" noResize="1" noEditPoints="1" noAdjustHandles="1" noChangeArrowheads="1" noChangeShapeType="1"/>
          </p:cNvSpPr>
          <p:nvPr>
            <p:ph type="ftr" sz="quarter" idx="11"/>
          </p:nvPr>
        </p:nvSpPr>
        <p:spPr>
          <a:xfrm>
            <a:off x="3251197" y="6495102"/>
            <a:ext cx="3716341" cy="282957"/>
          </a:xfrm>
        </p:spPr>
        <p:txBody>
          <a:bodyPr>
            <a:noAutofit/>
          </a:bodyPr>
          <a:lstStyle/>
          <a:p>
            <a:endParaRPr lang="en-GB"/>
          </a:p>
        </p:txBody>
      </p:sp>
      <p:sp>
        <p:nvSpPr>
          <p:cNvPr id="11" name="Date Placeholder">
            <a:extLst>
              <a:ext uri="{FF2B5EF4-FFF2-40B4-BE49-F238E27FC236}">
                <a16:creationId xmlns:a16="http://schemas.microsoft.com/office/drawing/2014/main" id="{D92AE263-867A-3BFE-D77F-172427CCFD5C}"/>
              </a:ext>
            </a:extLst>
          </p:cNvPr>
          <p:cNvSpPr>
            <a:spLocks noGrp="1" noRot="1" noMove="1" noResize="1" noEditPoints="1" noAdjustHandles="1" noChangeArrowheads="1" noChangeShapeType="1"/>
          </p:cNvSpPr>
          <p:nvPr>
            <p:ph type="dt" sz="half" idx="10"/>
          </p:nvPr>
        </p:nvSpPr>
        <p:spPr>
          <a:xfrm>
            <a:off x="2265363" y="6495102"/>
            <a:ext cx="757238" cy="282957"/>
          </a:xfrm>
        </p:spPr>
        <p:txBody>
          <a:bodyPr>
            <a:noAutofit/>
          </a:bodyPr>
          <a:lstStyle/>
          <a:p>
            <a:fld id="{A95ACABD-257F-48AB-94D3-B913B9097175}" type="datetime1">
              <a:rPr lang="en-GB" smtClean="0"/>
              <a:t>18/11/2024</a:t>
            </a:fld>
            <a:endParaRPr lang="en-GB"/>
          </a:p>
        </p:txBody>
      </p:sp>
      <p:sp>
        <p:nvSpPr>
          <p:cNvPr id="15" name="Source Placeholder">
            <a:extLst>
              <a:ext uri="{FF2B5EF4-FFF2-40B4-BE49-F238E27FC236}">
                <a16:creationId xmlns:a16="http://schemas.microsoft.com/office/drawing/2014/main" id="{4CF2C7F5-1F44-0A19-3182-4B375AB6F896}"/>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pic>
        <p:nvPicPr>
          <p:cNvPr id="2" name="Smartphone Frame">
            <a:extLst>
              <a:ext uri="{FF2B5EF4-FFF2-40B4-BE49-F238E27FC236}">
                <a16:creationId xmlns:a16="http://schemas.microsoft.com/office/drawing/2014/main" id="{8FEE0E6E-6D89-CD10-D4A2-0D249DEDC1E0}"/>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500502" y="1197507"/>
            <a:ext cx="3096000" cy="4787820"/>
          </a:xfrm>
          <a:prstGeom prst="rect">
            <a:avLst/>
          </a:prstGeom>
        </p:spPr>
      </p:pic>
      <p:sp>
        <p:nvSpPr>
          <p:cNvPr id="10" name="Picture Placeholder">
            <a:extLst>
              <a:ext uri="{FF2B5EF4-FFF2-40B4-BE49-F238E27FC236}">
                <a16:creationId xmlns:a16="http://schemas.microsoft.com/office/drawing/2014/main" id="{7F98CD2C-62E2-FC8B-548B-D3ADCC2F9CD2}"/>
              </a:ext>
            </a:extLst>
          </p:cNvPr>
          <p:cNvSpPr>
            <a:spLocks noGrp="1" noRot="1" noMove="1" noResize="1" noEditPoints="1" noAdjustHandles="1" noChangeArrowheads="1" noChangeShapeType="1"/>
          </p:cNvSpPr>
          <p:nvPr>
            <p:ph type="pic" sz="quarter" idx="17" hasCustomPrompt="1"/>
          </p:nvPr>
        </p:nvSpPr>
        <p:spPr bwMode="gray">
          <a:xfrm>
            <a:off x="8018062" y="1288629"/>
            <a:ext cx="2057400" cy="4450080"/>
          </a:xfrm>
          <a:prstGeom prst="roundRect">
            <a:avLst>
              <a:gd name="adj" fmla="val 12964"/>
            </a:avLst>
          </a:prstGeom>
          <a:solidFill>
            <a:schemeClr val="tx1"/>
          </a:solidFill>
        </p:spPr>
        <p:txBody>
          <a:bodyPr anchor="ctr" anchorCtr="0">
            <a:noAutofit/>
          </a:bodyPr>
          <a:lstStyle>
            <a:lvl1pPr marL="0" indent="0" algn="ctr">
              <a:buNone/>
              <a:defRPr>
                <a:solidFill>
                  <a:schemeClr val="bg1"/>
                </a:solidFill>
              </a:defRPr>
            </a:lvl1pPr>
          </a:lstStyle>
          <a:p>
            <a:r>
              <a:rPr lang="en-GB"/>
              <a:t> Click picture icon to add photo</a:t>
            </a:r>
          </a:p>
        </p:txBody>
      </p:sp>
      <p:sp>
        <p:nvSpPr>
          <p:cNvPr id="4" name="Content Placeholder">
            <a:extLst>
              <a:ext uri="{FF2B5EF4-FFF2-40B4-BE49-F238E27FC236}">
                <a16:creationId xmlns:a16="http://schemas.microsoft.com/office/drawing/2014/main" id="{984C70C1-C2F6-EFE6-3AEB-EEEE97D8D829}"/>
              </a:ext>
            </a:extLst>
          </p:cNvPr>
          <p:cNvSpPr>
            <a:spLocks noGrp="1" noRot="1" noMove="1" noResize="1" noEditPoints="1" noAdjustHandles="1" noChangeArrowheads="1" noChangeShapeType="1"/>
          </p:cNvSpPr>
          <p:nvPr>
            <p:ph sz="half" idx="2" hasCustomPrompt="1"/>
          </p:nvPr>
        </p:nvSpPr>
        <p:spPr>
          <a:xfrm>
            <a:off x="292101" y="2019300"/>
            <a:ext cx="5673721" cy="36576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3" name="Header Placeholder">
            <a:extLst>
              <a:ext uri="{FF2B5EF4-FFF2-40B4-BE49-F238E27FC236}">
                <a16:creationId xmlns:a16="http://schemas.microsoft.com/office/drawing/2014/main" id="{E16F9965-5453-60FF-D1EB-3A608CF7F7BF}"/>
              </a:ext>
            </a:extLst>
          </p:cNvPr>
          <p:cNvSpPr>
            <a:spLocks noGrp="1" noRot="1" noMove="1" noResize="1" noEditPoints="1" noAdjustHandles="1" noChangeArrowheads="1" noChangeShapeType="1"/>
          </p:cNvSpPr>
          <p:nvPr>
            <p:ph type="body" idx="1" hasCustomPrompt="1"/>
          </p:nvPr>
        </p:nvSpPr>
        <p:spPr>
          <a:xfrm>
            <a:off x="292101" y="1308100"/>
            <a:ext cx="5689598"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16" name="Subtitle Placeholder">
            <a:extLst>
              <a:ext uri="{FF2B5EF4-FFF2-40B4-BE49-F238E27FC236}">
                <a16:creationId xmlns:a16="http://schemas.microsoft.com/office/drawing/2014/main" id="{1177695A-5838-D1AD-85A0-C2DC4AE61924}"/>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17" name="Title Placeholder">
            <a:extLst>
              <a:ext uri="{FF2B5EF4-FFF2-40B4-BE49-F238E27FC236}">
                <a16:creationId xmlns:a16="http://schemas.microsoft.com/office/drawing/2014/main" id="{6438D16E-D0B0-429C-0E43-66D0F19014E8}"/>
              </a:ext>
            </a:extLst>
          </p:cNvPr>
          <p:cNvSpPr>
            <a:spLocks noGrp="1" noRot="1" noMove="1" noResize="1" noEditPoints="1" noAdjustHandles="1" noChangeArrowheads="1" noChangeShapeType="1"/>
          </p:cNvSpPr>
          <p:nvPr>
            <p:ph type="title" hasCustomPrompt="1"/>
          </p:nvPr>
        </p:nvSpPr>
        <p:spPr>
          <a:xfrm>
            <a:off x="292100" y="304800"/>
            <a:ext cx="11613314" cy="265590"/>
          </a:xfrm>
        </p:spPr>
        <p:txBody>
          <a:bodyPr>
            <a:noAutofit/>
          </a:bodyPr>
          <a:lstStyle/>
          <a:p>
            <a:r>
              <a:rPr lang="en-US"/>
              <a:t>Insert your slide title in Arial Bold 20pt</a:t>
            </a:r>
            <a:endParaRPr lang="en-GB"/>
          </a:p>
        </p:txBody>
      </p:sp>
    </p:spTree>
    <p:extLst>
      <p:ext uri="{BB962C8B-B14F-4D97-AF65-F5344CB8AC3E}">
        <p14:creationId xmlns:p14="http://schemas.microsoft.com/office/powerpoint/2010/main" val="4015534295"/>
      </p:ext>
    </p:extLst>
  </p:cSld>
  <p:clrMapOvr>
    <a:masterClrMapping/>
  </p:clrMapOvr>
  <p:extLst>
    <p:ext uri="{DCECCB84-F9BA-43D5-87BE-67443E8EF086}">
      <p15:sldGuideLst xmlns:p15="http://schemas.microsoft.com/office/powerpoint/2012/main">
        <p15:guide id="4" pos="3768">
          <p15:clr>
            <a:srgbClr val="A4A3A4"/>
          </p15:clr>
        </p15:guide>
        <p15:guide id="5" pos="3912">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eature with Description">
    <p:spTree>
      <p:nvGrpSpPr>
        <p:cNvPr id="1" name=""/>
        <p:cNvGrpSpPr/>
        <p:nvPr/>
      </p:nvGrpSpPr>
      <p:grpSpPr>
        <a:xfrm>
          <a:off x="0" y="0"/>
          <a:ext cx="0" cy="0"/>
          <a:chOff x="0" y="0"/>
          <a:chExt cx="0" cy="0"/>
        </a:xfrm>
      </p:grpSpPr>
      <p:sp>
        <p:nvSpPr>
          <p:cNvPr id="8" name="Slide Number Placeholder">
            <a:extLst>
              <a:ext uri="{FF2B5EF4-FFF2-40B4-BE49-F238E27FC236}">
                <a16:creationId xmlns:a16="http://schemas.microsoft.com/office/drawing/2014/main" id="{7880336B-6551-8B18-CD4D-52CF1537E460}"/>
              </a:ext>
            </a:extLst>
          </p:cNvPr>
          <p:cNvSpPr>
            <a:spLocks noGrp="1" noRot="1" noMove="1" noResize="1" noEditPoints="1" noAdjustHandles="1" noChangeArrowheads="1" noChangeShapeType="1"/>
          </p:cNvSpPr>
          <p:nvPr>
            <p:ph type="sldNum" sz="quarter" idx="12"/>
          </p:nvPr>
        </p:nvSpPr>
        <p:spPr>
          <a:xfrm>
            <a:off x="11495577" y="6495100"/>
            <a:ext cx="404321" cy="282957"/>
          </a:xfrm>
        </p:spPr>
        <p:txBody>
          <a:bodyPr>
            <a:noAutofit/>
          </a:bodyPr>
          <a:lstStyle/>
          <a:p>
            <a:fld id="{3E04DF46-C0DC-4ADC-9A6F-918CC4703A43}" type="slidenum">
              <a:rPr lang="en-GB" smtClean="0"/>
              <a:t>‹#›</a:t>
            </a:fld>
            <a:endParaRPr lang="en-GB"/>
          </a:p>
        </p:txBody>
      </p:sp>
      <p:sp>
        <p:nvSpPr>
          <p:cNvPr id="11" name="Footer Placeholder">
            <a:extLst>
              <a:ext uri="{FF2B5EF4-FFF2-40B4-BE49-F238E27FC236}">
                <a16:creationId xmlns:a16="http://schemas.microsoft.com/office/drawing/2014/main" id="{D5E23E6B-A969-B922-443C-DB4B673F14C0}"/>
              </a:ext>
            </a:extLst>
          </p:cNvPr>
          <p:cNvSpPr>
            <a:spLocks noGrp="1" noRot="1" noMove="1" noResize="1" noEditPoints="1" noAdjustHandles="1" noChangeArrowheads="1" noChangeShapeType="1"/>
          </p:cNvSpPr>
          <p:nvPr>
            <p:ph type="ftr" sz="quarter" idx="11"/>
          </p:nvPr>
        </p:nvSpPr>
        <p:spPr>
          <a:xfrm>
            <a:off x="3251197" y="6495102"/>
            <a:ext cx="3716341" cy="282957"/>
          </a:xfrm>
        </p:spPr>
        <p:txBody>
          <a:bodyPr>
            <a:noAutofit/>
          </a:bodyPr>
          <a:lstStyle/>
          <a:p>
            <a:endParaRPr lang="en-GB"/>
          </a:p>
        </p:txBody>
      </p:sp>
      <p:sp>
        <p:nvSpPr>
          <p:cNvPr id="12" name="Date Placeholder">
            <a:extLst>
              <a:ext uri="{FF2B5EF4-FFF2-40B4-BE49-F238E27FC236}">
                <a16:creationId xmlns:a16="http://schemas.microsoft.com/office/drawing/2014/main" id="{3E682D3C-E320-394E-C615-424A83B576A7}"/>
              </a:ext>
            </a:extLst>
          </p:cNvPr>
          <p:cNvSpPr>
            <a:spLocks noGrp="1" noRot="1" noMove="1" noResize="1" noEditPoints="1" noAdjustHandles="1" noChangeArrowheads="1" noChangeShapeType="1"/>
          </p:cNvSpPr>
          <p:nvPr>
            <p:ph type="dt" sz="half" idx="10"/>
          </p:nvPr>
        </p:nvSpPr>
        <p:spPr>
          <a:xfrm>
            <a:off x="2265363" y="6495102"/>
            <a:ext cx="757238" cy="282957"/>
          </a:xfrm>
        </p:spPr>
        <p:txBody>
          <a:bodyPr>
            <a:noAutofit/>
          </a:bodyPr>
          <a:lstStyle/>
          <a:p>
            <a:fld id="{A95ACABD-257F-48AB-94D3-B913B9097175}" type="datetime1">
              <a:rPr lang="en-GB" smtClean="0"/>
              <a:t>18/11/2024</a:t>
            </a:fld>
            <a:endParaRPr lang="en-GB"/>
          </a:p>
        </p:txBody>
      </p:sp>
      <p:sp>
        <p:nvSpPr>
          <p:cNvPr id="13" name="Source Placeholder">
            <a:extLst>
              <a:ext uri="{FF2B5EF4-FFF2-40B4-BE49-F238E27FC236}">
                <a16:creationId xmlns:a16="http://schemas.microsoft.com/office/drawing/2014/main" id="{F5E18C3F-FDED-E3BC-CB25-E414E35DA89B}"/>
              </a:ext>
            </a:extLst>
          </p:cNvPr>
          <p:cNvSpPr>
            <a:spLocks noGrp="1" noRot="1" noMove="1" noResize="1" noEditPoints="1" noAdjustHandles="1" noChangeArrowheads="1" noChangeShapeType="1"/>
          </p:cNvSpPr>
          <p:nvPr>
            <p:ph type="body" sz="quarter" idx="15"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7" name="Content Placeholder">
            <a:extLst>
              <a:ext uri="{FF2B5EF4-FFF2-40B4-BE49-F238E27FC236}">
                <a16:creationId xmlns:a16="http://schemas.microsoft.com/office/drawing/2014/main" id="{2EA745BA-CA14-8FD0-05BA-8977508264EA}"/>
              </a:ext>
            </a:extLst>
          </p:cNvPr>
          <p:cNvSpPr>
            <a:spLocks noGrp="1" noRot="1" noMove="1" noResize="1" noEditPoints="1" noAdjustHandles="1" noChangeArrowheads="1" noChangeShapeType="1"/>
          </p:cNvSpPr>
          <p:nvPr>
            <p:ph sz="half" idx="2" hasCustomPrompt="1"/>
          </p:nvPr>
        </p:nvSpPr>
        <p:spPr>
          <a:xfrm>
            <a:off x="8168315" y="2019300"/>
            <a:ext cx="3700460" cy="3657600"/>
          </a:xfrm>
        </p:spPr>
        <p:txBody>
          <a:bodyPr>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endParaRPr lang="en-GB"/>
          </a:p>
        </p:txBody>
      </p:sp>
      <p:sp>
        <p:nvSpPr>
          <p:cNvPr id="6" name="Header Placeholder">
            <a:extLst>
              <a:ext uri="{FF2B5EF4-FFF2-40B4-BE49-F238E27FC236}">
                <a16:creationId xmlns:a16="http://schemas.microsoft.com/office/drawing/2014/main" id="{97696C2F-B753-BD09-3B16-F91EAC65E0F2}"/>
              </a:ext>
            </a:extLst>
          </p:cNvPr>
          <p:cNvSpPr>
            <a:spLocks noGrp="1" noRot="1" noMove="1" noResize="1" noEditPoints="1" noAdjustHandles="1" noChangeArrowheads="1" noChangeShapeType="1"/>
          </p:cNvSpPr>
          <p:nvPr>
            <p:ph type="body" idx="1" hasCustomPrompt="1"/>
          </p:nvPr>
        </p:nvSpPr>
        <p:spPr>
          <a:xfrm>
            <a:off x="8168315" y="1308100"/>
            <a:ext cx="3710815" cy="620525"/>
          </a:xfrm>
        </p:spPr>
        <p:txBody>
          <a:bodyPr anchor="b">
            <a:no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column header</a:t>
            </a:r>
          </a:p>
        </p:txBody>
      </p:sp>
      <p:sp>
        <p:nvSpPr>
          <p:cNvPr id="9" name="Image/Content Placeholder">
            <a:extLst>
              <a:ext uri="{FF2B5EF4-FFF2-40B4-BE49-F238E27FC236}">
                <a16:creationId xmlns:a16="http://schemas.microsoft.com/office/drawing/2014/main" id="{E7FED7F9-B9AF-8E1D-D4E4-E0925BDC1C40}"/>
              </a:ext>
            </a:extLst>
          </p:cNvPr>
          <p:cNvSpPr>
            <a:spLocks noGrp="1" noRot="1" noMove="1" noResize="1" noEditPoints="1" noAdjustHandles="1" noChangeArrowheads="1" noChangeShapeType="1"/>
          </p:cNvSpPr>
          <p:nvPr>
            <p:ph sz="quarter" idx="14" hasCustomPrompt="1"/>
          </p:nvPr>
        </p:nvSpPr>
        <p:spPr>
          <a:xfrm>
            <a:off x="292100" y="1638300"/>
            <a:ext cx="7661275" cy="4038600"/>
          </a:xfrm>
          <a:solidFill>
            <a:srgbClr val="F0F0F0"/>
          </a:solidFill>
        </p:spPr>
        <p:txBody>
          <a:bodyPr vert="horz" lIns="0" tIns="0" rIns="0" bIns="0" rtlCol="0" anchor="ctr">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lgn="ctr">
              <a:buNone/>
            </a:pPr>
            <a:r>
              <a:rPr lang="en-US"/>
              <a:t>Insert content</a:t>
            </a:r>
          </a:p>
        </p:txBody>
      </p:sp>
      <p:sp>
        <p:nvSpPr>
          <p:cNvPr id="14" name="Subtitle Placeholder">
            <a:extLst>
              <a:ext uri="{FF2B5EF4-FFF2-40B4-BE49-F238E27FC236}">
                <a16:creationId xmlns:a16="http://schemas.microsoft.com/office/drawing/2014/main" id="{F55BBEAC-F3EB-AF73-371A-E2F90A4E7CDB}"/>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15" name="Title Placeholder">
            <a:extLst>
              <a:ext uri="{FF2B5EF4-FFF2-40B4-BE49-F238E27FC236}">
                <a16:creationId xmlns:a16="http://schemas.microsoft.com/office/drawing/2014/main" id="{A568B237-249F-A08F-E259-9BD8E2766717}"/>
              </a:ext>
            </a:extLst>
          </p:cNvPr>
          <p:cNvSpPr>
            <a:spLocks noGrp="1" noRot="1" noMove="1" noResize="1" noEditPoints="1" noAdjustHandles="1" noChangeArrowheads="1" noChangeShapeType="1"/>
          </p:cNvSpPr>
          <p:nvPr>
            <p:ph type="title" hasCustomPrompt="1"/>
          </p:nvPr>
        </p:nvSpPr>
        <p:spPr>
          <a:xfrm>
            <a:off x="292100" y="304800"/>
            <a:ext cx="11613314" cy="265590"/>
          </a:xfrm>
        </p:spPr>
        <p:txBody>
          <a:bodyPr>
            <a:noAutofit/>
          </a:bodyPr>
          <a:lstStyle/>
          <a:p>
            <a:r>
              <a:rPr lang="en-US"/>
              <a:t>Insert your slide title in Arial Bold 20pt</a:t>
            </a:r>
            <a:endParaRPr lang="en-GB"/>
          </a:p>
        </p:txBody>
      </p:sp>
    </p:spTree>
    <p:extLst>
      <p:ext uri="{BB962C8B-B14F-4D97-AF65-F5344CB8AC3E}">
        <p14:creationId xmlns:p14="http://schemas.microsoft.com/office/powerpoint/2010/main" val="3190960786"/>
      </p:ext>
    </p:extLst>
  </p:cSld>
  <p:clrMapOvr>
    <a:masterClrMapping/>
  </p:clrMapOvr>
  <p:extLst>
    <p:ext uri="{DCECCB84-F9BA-43D5-87BE-67443E8EF086}">
      <p15:sldGuideLst xmlns:p15="http://schemas.microsoft.com/office/powerpoint/2012/main">
        <p15:guide id="10" pos="2525">
          <p15:clr>
            <a:srgbClr val="FDE53C"/>
          </p15:clr>
        </p15:guide>
        <p15:guide id="11" pos="2669">
          <p15:clr>
            <a:srgbClr val="FDE53C"/>
          </p15:clr>
        </p15:guide>
        <p15:guide id="18" pos="5010">
          <p15:clr>
            <a:srgbClr val="FDE53C"/>
          </p15:clr>
        </p15:guide>
        <p15:guide id="19" pos="5154">
          <p15:clr>
            <a:srgbClr val="FDE53C"/>
          </p15:clr>
        </p15:guide>
        <p15:guide id="22" orient="horz" pos="2304">
          <p15:clr>
            <a:srgbClr val="A4A3A4"/>
          </p15:clr>
        </p15:guide>
        <p15:guide id="23" orient="horz" pos="2232">
          <p15:clr>
            <a:srgbClr val="A4A3A4"/>
          </p15:clr>
        </p15:guide>
        <p15:guide id="24" orient="horz" pos="2376">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Slide Number Placeholder">
            <a:extLst>
              <a:ext uri="{FF2B5EF4-FFF2-40B4-BE49-F238E27FC236}">
                <a16:creationId xmlns:a16="http://schemas.microsoft.com/office/drawing/2014/main" id="{80A15201-F299-04EA-E6CE-E722641959C0}"/>
              </a:ext>
            </a:extLst>
          </p:cNvPr>
          <p:cNvSpPr>
            <a:spLocks noGrp="1" noRot="1" noMove="1" noResize="1" noEditPoints="1" noAdjustHandles="1" noChangeArrowheads="1" noChangeShapeType="1"/>
          </p:cNvSpPr>
          <p:nvPr>
            <p:ph type="sldNum" sz="quarter" idx="12"/>
          </p:nvPr>
        </p:nvSpPr>
        <p:spPr>
          <a:xfrm>
            <a:off x="11495577" y="6495100"/>
            <a:ext cx="404321" cy="282957"/>
          </a:xfrm>
        </p:spPr>
        <p:txBody>
          <a:bodyPr>
            <a:noAutofit/>
          </a:bodyPr>
          <a:lstStyle/>
          <a:p>
            <a:fld id="{3E04DF46-C0DC-4ADC-9A6F-918CC4703A43}" type="slidenum">
              <a:rPr lang="en-GB" smtClean="0"/>
              <a:t>‹#›</a:t>
            </a:fld>
            <a:endParaRPr lang="en-GB"/>
          </a:p>
        </p:txBody>
      </p:sp>
      <p:sp>
        <p:nvSpPr>
          <p:cNvPr id="7" name="Footer Placeholder">
            <a:extLst>
              <a:ext uri="{FF2B5EF4-FFF2-40B4-BE49-F238E27FC236}">
                <a16:creationId xmlns:a16="http://schemas.microsoft.com/office/drawing/2014/main" id="{8C02E2E7-130F-8E98-F5E2-0E052FB5C9BB}"/>
              </a:ext>
            </a:extLst>
          </p:cNvPr>
          <p:cNvSpPr>
            <a:spLocks noGrp="1" noRot="1" noMove="1" noResize="1" noEditPoints="1" noAdjustHandles="1" noChangeArrowheads="1" noChangeShapeType="1"/>
          </p:cNvSpPr>
          <p:nvPr>
            <p:ph type="ftr" sz="quarter" idx="11"/>
          </p:nvPr>
        </p:nvSpPr>
        <p:spPr>
          <a:xfrm>
            <a:off x="3251197" y="6495102"/>
            <a:ext cx="3716341" cy="282957"/>
          </a:xfrm>
        </p:spPr>
        <p:txBody>
          <a:bodyPr>
            <a:noAutofit/>
          </a:bodyPr>
          <a:lstStyle/>
          <a:p>
            <a:endParaRPr lang="en-GB"/>
          </a:p>
        </p:txBody>
      </p:sp>
      <p:sp>
        <p:nvSpPr>
          <p:cNvPr id="8" name="Date Placeholder">
            <a:extLst>
              <a:ext uri="{FF2B5EF4-FFF2-40B4-BE49-F238E27FC236}">
                <a16:creationId xmlns:a16="http://schemas.microsoft.com/office/drawing/2014/main" id="{688318DD-F239-9F43-D086-9EBEC3E54025}"/>
              </a:ext>
            </a:extLst>
          </p:cNvPr>
          <p:cNvSpPr>
            <a:spLocks noGrp="1" noRot="1" noMove="1" noResize="1" noEditPoints="1" noAdjustHandles="1" noChangeArrowheads="1" noChangeShapeType="1"/>
          </p:cNvSpPr>
          <p:nvPr>
            <p:ph type="dt" sz="half" idx="10"/>
          </p:nvPr>
        </p:nvSpPr>
        <p:spPr>
          <a:xfrm>
            <a:off x="2265363" y="6495102"/>
            <a:ext cx="757238" cy="282957"/>
          </a:xfrm>
        </p:spPr>
        <p:txBody>
          <a:bodyPr>
            <a:noAutofit/>
          </a:bodyPr>
          <a:lstStyle/>
          <a:p>
            <a:fld id="{A95ACABD-257F-48AB-94D3-B913B9097175}" type="datetime1">
              <a:rPr lang="en-GB" smtClean="0"/>
              <a:t>18/11/2024</a:t>
            </a:fld>
            <a:endParaRPr lang="en-GB"/>
          </a:p>
        </p:txBody>
      </p:sp>
      <p:sp>
        <p:nvSpPr>
          <p:cNvPr id="9" name="Source Placeholder">
            <a:extLst>
              <a:ext uri="{FF2B5EF4-FFF2-40B4-BE49-F238E27FC236}">
                <a16:creationId xmlns:a16="http://schemas.microsoft.com/office/drawing/2014/main" id="{C6CEF957-D49F-C931-2F5D-3BEC205BBE41}"/>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
        <p:nvSpPr>
          <p:cNvPr id="10" name="Subtitle Placeholder">
            <a:extLst>
              <a:ext uri="{FF2B5EF4-FFF2-40B4-BE49-F238E27FC236}">
                <a16:creationId xmlns:a16="http://schemas.microsoft.com/office/drawing/2014/main" id="{6C1C9672-42DD-57E9-416C-57C076682C6B}"/>
              </a:ext>
            </a:extLst>
          </p:cNvPr>
          <p:cNvSpPr>
            <a:spLocks noGrp="1" noRot="1" noMove="1" noResize="1" noEditPoints="1" noAdjustHandles="1" noChangeArrowheads="1" noChangeShapeType="1"/>
          </p:cNvSpPr>
          <p:nvPr>
            <p:ph type="body" sz="quarter" idx="13" hasCustomPrompt="1"/>
          </p:nvPr>
        </p:nvSpPr>
        <p:spPr>
          <a:xfrm>
            <a:off x="292100" y="579495"/>
            <a:ext cx="11607800" cy="436562"/>
          </a:xfrm>
        </p:spPr>
        <p:txBody>
          <a:bodyPr vert="horz" lIns="0" tIns="45720" rIns="0" bIns="45720" rtlCol="0">
            <a:noAutofit/>
          </a:bodyPr>
          <a:lstStyle>
            <a:lvl1pPr marL="0" indent="0">
              <a:buNone/>
              <a:defRPr kumimoji="0" lang="en-GB" b="0" i="0" u="none" strike="noStrike" cap="none" spc="0" normalizeH="0" baseline="0" dirty="0">
                <a:ln>
                  <a:noFill/>
                </a:ln>
                <a:solidFill>
                  <a:schemeClr val="tx1"/>
                </a:solidFill>
                <a:effectLst/>
                <a:uLnTx/>
                <a:uFillTx/>
                <a:latin typeface="Arial" panose="020B0604020202020204"/>
              </a:defRPr>
            </a:lvl1pPr>
          </a:lstStyle>
          <a:p>
            <a:pPr marL="171450" marR="0" lvl="0" indent="-171450" fontAlgn="auto">
              <a:spcBef>
                <a:spcPts val="0"/>
              </a:spcBef>
              <a:spcAft>
                <a:spcPts val="0"/>
              </a:spcAft>
              <a:buClrTx/>
              <a:buSzTx/>
              <a:tabLst/>
            </a:pPr>
            <a:r>
              <a:rPr lang="en-GB"/>
              <a:t>Insert your subtitle in Arial 16pt</a:t>
            </a:r>
          </a:p>
        </p:txBody>
      </p:sp>
      <p:sp>
        <p:nvSpPr>
          <p:cNvPr id="11" name="Title Placeholder">
            <a:extLst>
              <a:ext uri="{FF2B5EF4-FFF2-40B4-BE49-F238E27FC236}">
                <a16:creationId xmlns:a16="http://schemas.microsoft.com/office/drawing/2014/main" id="{85B153CC-4B6C-85AB-FFEB-0F2CD0DA990D}"/>
              </a:ext>
            </a:extLst>
          </p:cNvPr>
          <p:cNvSpPr>
            <a:spLocks noGrp="1" noRot="1" noMove="1" noResize="1" noEditPoints="1" noAdjustHandles="1" noChangeArrowheads="1" noChangeShapeType="1"/>
          </p:cNvSpPr>
          <p:nvPr>
            <p:ph type="title" hasCustomPrompt="1"/>
          </p:nvPr>
        </p:nvSpPr>
        <p:spPr>
          <a:xfrm>
            <a:off x="292100" y="304800"/>
            <a:ext cx="11613314" cy="265590"/>
          </a:xfrm>
        </p:spPr>
        <p:txBody>
          <a:bodyPr>
            <a:noAutofit/>
          </a:bodyPr>
          <a:lstStyle/>
          <a:p>
            <a:r>
              <a:rPr lang="en-US"/>
              <a:t>Insert your slide title in Arial Bold 20pt</a:t>
            </a:r>
            <a:endParaRPr lang="en-GB"/>
          </a:p>
        </p:txBody>
      </p:sp>
    </p:spTree>
    <p:extLst>
      <p:ext uri="{BB962C8B-B14F-4D97-AF65-F5344CB8AC3E}">
        <p14:creationId xmlns:p14="http://schemas.microsoft.com/office/powerpoint/2010/main" val="62408972"/>
      </p:ext>
    </p:extLst>
  </p:cSld>
  <p:clrMapOvr>
    <a:masterClrMapping/>
  </p:clrMapOvr>
  <p:extLst>
    <p:ext uri="{DCECCB84-F9BA-43D5-87BE-67443E8EF086}">
      <p15:sldGuideLst xmlns:p15="http://schemas.microsoft.com/office/powerpoint/2012/main">
        <p15:guide id="8" pos="1904">
          <p15:clr>
            <a:srgbClr val="5ACBF0"/>
          </p15:clr>
        </p15:guide>
        <p15:guide id="9" pos="2048">
          <p15:clr>
            <a:srgbClr val="5ACBF0"/>
          </p15:clr>
        </p15:guide>
        <p15:guide id="10" pos="2525">
          <p15:clr>
            <a:srgbClr val="FDE53C"/>
          </p15:clr>
        </p15:guide>
        <p15:guide id="11" pos="2669">
          <p15:clr>
            <a:srgbClr val="FDE53C"/>
          </p15:clr>
        </p15:guide>
        <p15:guide id="14" pos="3768">
          <p15:clr>
            <a:srgbClr val="A4A3A4"/>
          </p15:clr>
        </p15:guide>
        <p15:guide id="15" pos="3912">
          <p15:clr>
            <a:srgbClr val="A4A3A4"/>
          </p15:clr>
        </p15:guide>
        <p15:guide id="18" pos="5010">
          <p15:clr>
            <a:srgbClr val="FDE53C"/>
          </p15:clr>
        </p15:guide>
        <p15:guide id="19" pos="5154">
          <p15:clr>
            <a:srgbClr val="FDE53C"/>
          </p15:clr>
        </p15:guide>
        <p15:guide id="20" pos="5631">
          <p15:clr>
            <a:srgbClr val="5ACBF0"/>
          </p15:clr>
        </p15:guide>
        <p15:guide id="21" pos="5775">
          <p15:clr>
            <a:srgbClr val="5ACBF0"/>
          </p15:clr>
        </p15:guide>
        <p15:guide id="22" orient="horz" pos="2304">
          <p15:clr>
            <a:srgbClr val="A4A3A4"/>
          </p15:clr>
        </p15:guide>
        <p15:guide id="23" orient="horz" pos="2232">
          <p15:clr>
            <a:srgbClr val="A4A3A4"/>
          </p15:clr>
        </p15:guide>
        <p15:guide id="24" orient="horz" pos="2376">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Slide Number Placeholder">
            <a:extLst>
              <a:ext uri="{FF2B5EF4-FFF2-40B4-BE49-F238E27FC236}">
                <a16:creationId xmlns:a16="http://schemas.microsoft.com/office/drawing/2014/main" id="{FF1CCD16-E874-4575-C807-467DA234694F}"/>
              </a:ext>
            </a:extLst>
          </p:cNvPr>
          <p:cNvSpPr>
            <a:spLocks noGrp="1" noRot="1" noMove="1" noResize="1" noEditPoints="1" noAdjustHandles="1" noChangeArrowheads="1" noChangeShapeType="1"/>
          </p:cNvSpPr>
          <p:nvPr>
            <p:ph type="sldNum" sz="quarter" idx="12"/>
          </p:nvPr>
        </p:nvSpPr>
        <p:spPr>
          <a:xfrm>
            <a:off x="11495577" y="6495100"/>
            <a:ext cx="404321" cy="282957"/>
          </a:xfrm>
        </p:spPr>
        <p:txBody>
          <a:bodyPr>
            <a:noAutofit/>
          </a:bodyPr>
          <a:lstStyle/>
          <a:p>
            <a:fld id="{3E04DF46-C0DC-4ADC-9A6F-918CC4703A43}" type="slidenum">
              <a:rPr lang="en-GB" smtClean="0"/>
              <a:t>‹#›</a:t>
            </a:fld>
            <a:endParaRPr lang="en-GB"/>
          </a:p>
        </p:txBody>
      </p:sp>
      <p:sp>
        <p:nvSpPr>
          <p:cNvPr id="7" name="Footer Placeholder">
            <a:extLst>
              <a:ext uri="{FF2B5EF4-FFF2-40B4-BE49-F238E27FC236}">
                <a16:creationId xmlns:a16="http://schemas.microsoft.com/office/drawing/2014/main" id="{B4915FF7-2EBE-0DA1-DDC3-CE3F3E028DF0}"/>
              </a:ext>
            </a:extLst>
          </p:cNvPr>
          <p:cNvSpPr>
            <a:spLocks noGrp="1" noRot="1" noMove="1" noResize="1" noEditPoints="1" noAdjustHandles="1" noChangeArrowheads="1" noChangeShapeType="1"/>
          </p:cNvSpPr>
          <p:nvPr>
            <p:ph type="ftr" sz="quarter" idx="11"/>
          </p:nvPr>
        </p:nvSpPr>
        <p:spPr>
          <a:xfrm>
            <a:off x="3251197" y="6495102"/>
            <a:ext cx="3716341" cy="282957"/>
          </a:xfrm>
        </p:spPr>
        <p:txBody>
          <a:bodyPr>
            <a:noAutofit/>
          </a:bodyPr>
          <a:lstStyle/>
          <a:p>
            <a:endParaRPr lang="en-GB"/>
          </a:p>
        </p:txBody>
      </p:sp>
      <p:sp>
        <p:nvSpPr>
          <p:cNvPr id="8" name="Date Placeholder">
            <a:extLst>
              <a:ext uri="{FF2B5EF4-FFF2-40B4-BE49-F238E27FC236}">
                <a16:creationId xmlns:a16="http://schemas.microsoft.com/office/drawing/2014/main" id="{BC0175EF-749F-C86F-818F-8A61B8621534}"/>
              </a:ext>
            </a:extLst>
          </p:cNvPr>
          <p:cNvSpPr>
            <a:spLocks noGrp="1" noRot="1" noMove="1" noResize="1" noEditPoints="1" noAdjustHandles="1" noChangeArrowheads="1" noChangeShapeType="1"/>
          </p:cNvSpPr>
          <p:nvPr>
            <p:ph type="dt" sz="half" idx="10"/>
          </p:nvPr>
        </p:nvSpPr>
        <p:spPr>
          <a:xfrm>
            <a:off x="2265363" y="6495102"/>
            <a:ext cx="757238" cy="282957"/>
          </a:xfrm>
        </p:spPr>
        <p:txBody>
          <a:bodyPr>
            <a:noAutofit/>
          </a:bodyPr>
          <a:lstStyle/>
          <a:p>
            <a:fld id="{A95ACABD-257F-48AB-94D3-B913B9097175}" type="datetime1">
              <a:rPr lang="en-GB" smtClean="0"/>
              <a:t>18/11/2024</a:t>
            </a:fld>
            <a:endParaRPr lang="en-GB"/>
          </a:p>
        </p:txBody>
      </p:sp>
      <p:sp>
        <p:nvSpPr>
          <p:cNvPr id="9" name="Source Placeholder">
            <a:extLst>
              <a:ext uri="{FF2B5EF4-FFF2-40B4-BE49-F238E27FC236}">
                <a16:creationId xmlns:a16="http://schemas.microsoft.com/office/drawing/2014/main" id="{3D2B748D-0569-6BAA-D751-0BE3B75C09E8}"/>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rgbClr val="B3B3B3"/>
                </a:solidFill>
              </a:defRPr>
            </a:lvl1pPr>
          </a:lstStyle>
          <a:p>
            <a:pPr marL="171450" lvl="0" indent="-171450">
              <a:spcBef>
                <a:spcPts val="0"/>
              </a:spcBef>
              <a:spcAft>
                <a:spcPts val="0"/>
              </a:spcAft>
            </a:pPr>
            <a:r>
              <a:rPr lang="en-GB"/>
              <a:t>Source, footnote</a:t>
            </a:r>
          </a:p>
        </p:txBody>
      </p:sp>
    </p:spTree>
    <p:extLst>
      <p:ext uri="{BB962C8B-B14F-4D97-AF65-F5344CB8AC3E}">
        <p14:creationId xmlns:p14="http://schemas.microsoft.com/office/powerpoint/2010/main" val="610988905"/>
      </p:ext>
    </p:extLst>
  </p:cSld>
  <p:clrMapOvr>
    <a:masterClrMapping/>
  </p:clrMapOvr>
  <p:extLst>
    <p:ext uri="{DCECCB84-F9BA-43D5-87BE-67443E8EF086}">
      <p15:sldGuideLst xmlns:p15="http://schemas.microsoft.com/office/powerpoint/2012/main">
        <p15:guide id="8" pos="1904">
          <p15:clr>
            <a:srgbClr val="5ACBF0"/>
          </p15:clr>
        </p15:guide>
        <p15:guide id="9" pos="2048">
          <p15:clr>
            <a:srgbClr val="5ACBF0"/>
          </p15:clr>
        </p15:guide>
        <p15:guide id="10" pos="2525">
          <p15:clr>
            <a:srgbClr val="FDE53C"/>
          </p15:clr>
        </p15:guide>
        <p15:guide id="11" pos="2669">
          <p15:clr>
            <a:srgbClr val="FDE53C"/>
          </p15:clr>
        </p15:guide>
        <p15:guide id="14" pos="3768">
          <p15:clr>
            <a:srgbClr val="A4A3A4"/>
          </p15:clr>
        </p15:guide>
        <p15:guide id="15" pos="3912">
          <p15:clr>
            <a:srgbClr val="A4A3A4"/>
          </p15:clr>
        </p15:guide>
        <p15:guide id="18" pos="5010">
          <p15:clr>
            <a:srgbClr val="FDE53C"/>
          </p15:clr>
        </p15:guide>
        <p15:guide id="19" pos="5154">
          <p15:clr>
            <a:srgbClr val="FDE53C"/>
          </p15:clr>
        </p15:guide>
        <p15:guide id="20" pos="5631">
          <p15:clr>
            <a:srgbClr val="5ACBF0"/>
          </p15:clr>
        </p15:guide>
        <p15:guide id="21" pos="5775">
          <p15:clr>
            <a:srgbClr val="5ACBF0"/>
          </p15:clr>
        </p15:guide>
        <p15:guide id="22" orient="horz" pos="2016">
          <p15:clr>
            <a:srgbClr val="A4A3A4"/>
          </p15:clr>
        </p15:guide>
        <p15:guide id="23" orient="horz" pos="2088">
          <p15:clr>
            <a:srgbClr val="A4A3A4"/>
          </p15:clr>
        </p15:guide>
        <p15:guide id="24" orient="horz" pos="1944">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ull-bleed Image Background">
    <p:spTree>
      <p:nvGrpSpPr>
        <p:cNvPr id="1" name=""/>
        <p:cNvGrpSpPr/>
        <p:nvPr/>
      </p:nvGrpSpPr>
      <p:grpSpPr>
        <a:xfrm>
          <a:off x="0" y="0"/>
          <a:ext cx="0" cy="0"/>
          <a:chOff x="0" y="0"/>
          <a:chExt cx="0" cy="0"/>
        </a:xfrm>
      </p:grpSpPr>
      <p:sp>
        <p:nvSpPr>
          <p:cNvPr id="19" name="Off-slide Instructions">
            <a:extLst>
              <a:ext uri="{FF2B5EF4-FFF2-40B4-BE49-F238E27FC236}">
                <a16:creationId xmlns:a16="http://schemas.microsoft.com/office/drawing/2014/main" id="{DA271C09-A92C-0B4B-7460-3B1AE1A0D38E}"/>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12338614" y="0"/>
            <a:ext cx="2812486" cy="2373888"/>
          </a:xfrm>
          <a:prstGeom prst="bracketPair">
            <a:avLst>
              <a:gd name="adj" fmla="val 4083"/>
            </a:avLst>
          </a:prstGeom>
          <a:solidFill>
            <a:srgbClr val="FFFF00">
              <a:alpha val="80000"/>
            </a:srgbClr>
          </a:solidFill>
          <a:ln w="38100">
            <a:solidFill>
              <a:srgbClr val="FFC000"/>
            </a:solidFill>
          </a:ln>
        </p:spPr>
        <p:style>
          <a:lnRef idx="1">
            <a:schemeClr val="accent1"/>
          </a:lnRef>
          <a:fillRef idx="0">
            <a:schemeClr val="accent1"/>
          </a:fillRef>
          <a:effectRef idx="0">
            <a:schemeClr val="accent1"/>
          </a:effectRef>
          <a:fontRef idx="minor">
            <a:schemeClr val="tx1"/>
          </a:fontRef>
        </p:style>
        <p:txBody>
          <a:bodyPr wrap="square" rtlCol="0" anchor="ctr">
            <a:spAutoFit/>
          </a:bodyPr>
          <a:lstStyle/>
          <a:p>
            <a:pPr marL="0" indent="0" algn="l" defTabSz="914400" rtl="0" eaLnBrk="1" latinLnBrk="0" hangingPunct="1">
              <a:spcAft>
                <a:spcPts val="400"/>
              </a:spcAft>
              <a:buFont typeface="+mj-lt"/>
              <a:buNone/>
            </a:pPr>
            <a:r>
              <a:rPr lang="en-US" sz="1200" b="1" kern="1200">
                <a:solidFill>
                  <a:srgbClr val="000000"/>
                </a:solidFill>
                <a:latin typeface="+mn-lt"/>
                <a:ea typeface="+mn-ea"/>
                <a:cs typeface="+mn-cs"/>
              </a:rPr>
              <a:t>If logo, copyright line, footer, etc. are missing:</a:t>
            </a:r>
          </a:p>
          <a:p>
            <a:pPr marL="177800" lvl="0" indent="-177800">
              <a:spcAft>
                <a:spcPts val="400"/>
              </a:spcAft>
              <a:buFont typeface="+mj-lt"/>
              <a:buAutoNum type="arabicPeriod"/>
            </a:pPr>
            <a:r>
              <a:rPr lang="en-US" sz="800">
                <a:solidFill>
                  <a:srgbClr val="000000"/>
                </a:solidFill>
              </a:rPr>
              <a:t>Go to </a:t>
            </a:r>
            <a:r>
              <a:rPr lang="en-US" sz="800" b="1">
                <a:solidFill>
                  <a:srgbClr val="000000"/>
                </a:solidFill>
              </a:rPr>
              <a:t>View &gt; Slide Master</a:t>
            </a:r>
          </a:p>
          <a:p>
            <a:pPr marL="177800" lvl="0" indent="-177800">
              <a:spcAft>
                <a:spcPts val="400"/>
              </a:spcAft>
              <a:buFont typeface="+mj-lt"/>
              <a:buAutoNum type="arabicPeriod"/>
            </a:pPr>
            <a:r>
              <a:rPr lang="en-US" sz="800">
                <a:solidFill>
                  <a:srgbClr val="000000"/>
                </a:solidFill>
              </a:rPr>
              <a:t>Copy logo and footer elements from Layout Master</a:t>
            </a:r>
          </a:p>
          <a:p>
            <a:pPr marL="177800" lvl="0" indent="-177800">
              <a:spcAft>
                <a:spcPts val="400"/>
              </a:spcAft>
              <a:buFont typeface="+mj-lt"/>
              <a:buAutoNum type="arabicPeriod"/>
            </a:pPr>
            <a:r>
              <a:rPr lang="en-US" sz="800">
                <a:solidFill>
                  <a:srgbClr val="000000"/>
                </a:solidFill>
              </a:rPr>
              <a:t>Close Master View</a:t>
            </a:r>
          </a:p>
          <a:p>
            <a:pPr marL="177800" lvl="0" indent="-177800">
              <a:spcAft>
                <a:spcPts val="400"/>
              </a:spcAft>
              <a:buFont typeface="+mj-lt"/>
              <a:buAutoNum type="arabicPeriod"/>
            </a:pPr>
            <a:r>
              <a:rPr lang="en-US" sz="800">
                <a:solidFill>
                  <a:srgbClr val="000000"/>
                </a:solidFill>
              </a:rPr>
              <a:t>Paste on slide</a:t>
            </a:r>
            <a:endParaRPr lang="en-US" sz="1200" b="1">
              <a:solidFill>
                <a:srgbClr val="000000"/>
              </a:solidFill>
            </a:endParaRPr>
          </a:p>
          <a:p>
            <a:pPr>
              <a:spcAft>
                <a:spcPts val="400"/>
              </a:spcAft>
            </a:pPr>
            <a:endParaRPr lang="en-US" sz="1200" b="1">
              <a:solidFill>
                <a:srgbClr val="000000"/>
              </a:solidFill>
            </a:endParaRPr>
          </a:p>
          <a:p>
            <a:pPr>
              <a:spcAft>
                <a:spcPts val="400"/>
              </a:spcAft>
            </a:pPr>
            <a:r>
              <a:rPr lang="en-US" sz="1200" b="1">
                <a:solidFill>
                  <a:srgbClr val="000000"/>
                </a:solidFill>
              </a:rPr>
              <a:t>To replace existing image:</a:t>
            </a:r>
          </a:p>
          <a:p>
            <a:pPr marL="174625" indent="-174625">
              <a:spcAft>
                <a:spcPts val="400"/>
              </a:spcAft>
              <a:buFont typeface="+mj-lt"/>
              <a:buAutoNum type="arabicPeriod"/>
            </a:pPr>
            <a:r>
              <a:rPr lang="en-US" sz="800">
                <a:solidFill>
                  <a:srgbClr val="000000"/>
                </a:solidFill>
              </a:rPr>
              <a:t>Right-click image placeholder</a:t>
            </a:r>
          </a:p>
          <a:p>
            <a:pPr marL="174625" indent="-174625">
              <a:spcAft>
                <a:spcPts val="400"/>
              </a:spcAft>
              <a:buFont typeface="+mj-lt"/>
              <a:buAutoNum type="arabicPeriod"/>
            </a:pPr>
            <a:r>
              <a:rPr lang="en-US" sz="800">
                <a:solidFill>
                  <a:srgbClr val="000000"/>
                </a:solidFill>
              </a:rPr>
              <a:t>Select </a:t>
            </a:r>
            <a:r>
              <a:rPr lang="en-US" sz="800" b="1">
                <a:solidFill>
                  <a:srgbClr val="000000"/>
                </a:solidFill>
              </a:rPr>
              <a:t>Change Picture</a:t>
            </a:r>
          </a:p>
          <a:p>
            <a:pPr marL="174625" indent="-174625">
              <a:spcAft>
                <a:spcPts val="400"/>
              </a:spcAft>
              <a:buFont typeface="+mj-lt"/>
              <a:buAutoNum type="arabicPeriod"/>
            </a:pPr>
            <a:r>
              <a:rPr lang="en-US" sz="800">
                <a:solidFill>
                  <a:srgbClr val="000000"/>
                </a:solidFill>
              </a:rPr>
              <a:t>Select</a:t>
            </a:r>
            <a:r>
              <a:rPr lang="en-US" sz="800" b="1">
                <a:solidFill>
                  <a:srgbClr val="000000"/>
                </a:solidFill>
              </a:rPr>
              <a:t> desired </a:t>
            </a:r>
            <a:r>
              <a:rPr lang="en-US" sz="800">
                <a:solidFill>
                  <a:srgbClr val="000000"/>
                </a:solidFill>
              </a:rPr>
              <a:t>image file (.jpg, .</a:t>
            </a:r>
            <a:r>
              <a:rPr lang="en-US" sz="800" err="1">
                <a:solidFill>
                  <a:srgbClr val="000000"/>
                </a:solidFill>
              </a:rPr>
              <a:t>png</a:t>
            </a:r>
            <a:r>
              <a:rPr lang="en-US" sz="800">
                <a:solidFill>
                  <a:srgbClr val="000000"/>
                </a:solidFill>
              </a:rPr>
              <a:t>, .gif)</a:t>
            </a:r>
          </a:p>
          <a:p>
            <a:pPr marL="174625" indent="-174625">
              <a:spcAft>
                <a:spcPts val="400"/>
              </a:spcAft>
              <a:buFont typeface="+mj-lt"/>
              <a:buAutoNum type="arabicPeriod"/>
            </a:pPr>
            <a:endParaRPr lang="en-US" sz="800">
              <a:solidFill>
                <a:srgbClr val="000000"/>
              </a:solidFill>
            </a:endParaRPr>
          </a:p>
        </p:txBody>
      </p:sp>
      <p:sp>
        <p:nvSpPr>
          <p:cNvPr id="7" name="Picture Placeholder">
            <a:extLst>
              <a:ext uri="{FF2B5EF4-FFF2-40B4-BE49-F238E27FC236}">
                <a16:creationId xmlns:a16="http://schemas.microsoft.com/office/drawing/2014/main" id="{4B940176-20BD-885B-C7DC-D045A7B5B0D1}"/>
              </a:ext>
            </a:extLst>
          </p:cNvPr>
          <p:cNvSpPr>
            <a:spLocks noGrp="1" noRot="1" noMove="1" noResize="1" noEditPoints="1" noAdjustHandles="1" noChangeArrowheads="1" noChangeShapeType="1"/>
          </p:cNvSpPr>
          <p:nvPr>
            <p:ph type="pic" sz="quarter" idx="13" hasCustomPrompt="1"/>
          </p:nvPr>
        </p:nvSpPr>
        <p:spPr>
          <a:xfrm>
            <a:off x="0" y="0"/>
            <a:ext cx="12192000" cy="6858000"/>
          </a:xfrm>
          <a:solidFill>
            <a:schemeClr val="tx1">
              <a:lumMod val="60000"/>
              <a:lumOff val="40000"/>
            </a:schemeClr>
          </a:solidFill>
        </p:spPr>
        <p:txBody>
          <a:bodyPr vert="horz" lIns="9144000" tIns="91440" rIns="182880" bIns="0" rtlCol="0" anchor="t">
            <a:noAutofit/>
          </a:bodyPr>
          <a:lstStyle>
            <a:lvl1pPr marL="231775" indent="-231775">
              <a:buNone/>
              <a:defRPr lang="en-GB" sz="1400" b="1">
                <a:solidFill>
                  <a:srgbClr val="FFFF00"/>
                </a:solidFill>
              </a:defRPr>
            </a:lvl1pPr>
          </a:lstStyle>
          <a:p>
            <a:pPr marL="171450" marR="0" lvl="0" indent="-171450" algn="l" defTabSz="914400" rtl="0" eaLnBrk="1" fontAlgn="auto" latinLnBrk="0" hangingPunct="1">
              <a:lnSpc>
                <a:spcPct val="100000"/>
              </a:lnSpc>
              <a:spcBef>
                <a:spcPts val="1200"/>
              </a:spcBef>
              <a:spcAft>
                <a:spcPts val="0"/>
              </a:spcAft>
              <a:buClrTx/>
              <a:buSzTx/>
              <a:tabLst/>
              <a:defRPr/>
            </a:pPr>
            <a:r>
              <a:rPr lang="en-US"/>
              <a:t>To add image: </a:t>
            </a:r>
            <a:br>
              <a:rPr lang="en-US"/>
            </a:br>
            <a:r>
              <a:rPr lang="en-US"/>
              <a:t>1. Select image placeholder</a:t>
            </a:r>
            <a:br>
              <a:rPr lang="en-US"/>
            </a:br>
            <a:r>
              <a:rPr lang="en-US"/>
              <a:t>2. Drag/drop file or copy/paste image into slide (.jpg, .gif, .</a:t>
            </a:r>
            <a:r>
              <a:rPr lang="en-US" err="1"/>
              <a:t>png</a:t>
            </a:r>
            <a:r>
              <a:rPr lang="en-US"/>
              <a:t>)</a:t>
            </a:r>
            <a:br>
              <a:rPr lang="en-US"/>
            </a:br>
            <a:r>
              <a:rPr lang="en-US"/>
              <a:t>3. Right-click image and “Send to back”</a:t>
            </a:r>
          </a:p>
          <a:p>
            <a:pPr marL="171450" lvl="0" indent="-171450"/>
            <a:endParaRPr lang="en-GB"/>
          </a:p>
        </p:txBody>
      </p:sp>
      <p:sp>
        <p:nvSpPr>
          <p:cNvPr id="5" name="Slide Number Placeholder">
            <a:extLst>
              <a:ext uri="{FF2B5EF4-FFF2-40B4-BE49-F238E27FC236}">
                <a16:creationId xmlns:a16="http://schemas.microsoft.com/office/drawing/2014/main" id="{29AE0AC1-71EF-CCFC-AB5C-8DFA568CA5FE}"/>
              </a:ext>
            </a:extLst>
          </p:cNvPr>
          <p:cNvSpPr>
            <a:spLocks noGrp="1" noRot="1" noMove="1" noResize="1" noEditPoints="1" noAdjustHandles="1" noChangeArrowheads="1" noChangeShapeType="1"/>
          </p:cNvSpPr>
          <p:nvPr>
            <p:ph type="sldNum" sz="quarter" idx="12"/>
          </p:nvPr>
        </p:nvSpPr>
        <p:spPr>
          <a:xfrm>
            <a:off x="11495577" y="6485399"/>
            <a:ext cx="404321" cy="282957"/>
          </a:xfrm>
        </p:spPr>
        <p:txBody>
          <a:bodyPr>
            <a:noAutofit/>
          </a:bodyPr>
          <a:lstStyle>
            <a:lvl1pPr>
              <a:defRPr>
                <a:solidFill>
                  <a:schemeClr val="bg1"/>
                </a:solidFill>
              </a:defRPr>
            </a:lvl1pPr>
          </a:lstStyle>
          <a:p>
            <a:fld id="{3E04DF46-C0DC-4ADC-9A6F-918CC4703A43}" type="slidenum">
              <a:rPr lang="en-GB" smtClean="0"/>
              <a:pPr/>
              <a:t>‹#›</a:t>
            </a:fld>
            <a:endParaRPr lang="en-GB"/>
          </a:p>
        </p:txBody>
      </p:sp>
      <p:sp>
        <p:nvSpPr>
          <p:cNvPr id="15" name="Copyright Line">
            <a:extLst>
              <a:ext uri="{FF2B5EF4-FFF2-40B4-BE49-F238E27FC236}">
                <a16:creationId xmlns:a16="http://schemas.microsoft.com/office/drawing/2014/main" id="{B707803F-60FA-342A-DB2A-415C371CB04E}"/>
              </a:ext>
            </a:extLst>
          </p:cNvPr>
          <p:cNvSpPr txBox="1">
            <a:spLocks noGrp="1" noRot="1" noMove="1" noResize="1" noEditPoints="1" noAdjustHandles="1" noChangeArrowheads="1" noChangeShapeType="1"/>
          </p:cNvSpPr>
          <p:nvPr userDrawn="1"/>
        </p:nvSpPr>
        <p:spPr>
          <a:xfrm>
            <a:off x="9167809" y="6536551"/>
            <a:ext cx="2268453" cy="200055"/>
          </a:xfrm>
          <a:prstGeom prst="rect">
            <a:avLst/>
          </a:prstGeom>
          <a:noFill/>
        </p:spPr>
        <p:txBody>
          <a:bodyPr wrap="square" lIns="0" r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bg1"/>
                </a:solidFill>
              </a:rPr>
              <a:t>© </a:t>
            </a:r>
            <a:fld id="{92E70860-886D-4303-B2B5-BD1295E1FD39}" type="datetimeyyyy">
              <a:rPr lang="en-US" sz="700" smtClean="0">
                <a:solidFill>
                  <a:schemeClr val="bg1"/>
                </a:solidFill>
              </a:rPr>
              <a:t>2024</a:t>
            </a:fld>
            <a:r>
              <a:rPr lang="en-US" sz="700">
                <a:solidFill>
                  <a:schemeClr val="bg1"/>
                </a:solidFill>
              </a:rPr>
              <a:t> Nielsen Consumer LLC. All Rights Reserved.</a:t>
            </a:r>
          </a:p>
        </p:txBody>
      </p:sp>
      <p:sp>
        <p:nvSpPr>
          <p:cNvPr id="6" name="Confidential disclaimer">
            <a:extLst>
              <a:ext uri="{FF2B5EF4-FFF2-40B4-BE49-F238E27FC236}">
                <a16:creationId xmlns:a16="http://schemas.microsoft.com/office/drawing/2014/main" id="{FCE25AF0-0C89-001E-06C2-AD51F5FC7DE2}"/>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bg1"/>
                </a:solidFill>
                <a:latin typeface="+mn-lt"/>
                <a:ea typeface="+mn-ea"/>
                <a:cs typeface="+mn-cs"/>
              </a:rPr>
              <a:t>Confidential and proprietary</a:t>
            </a:r>
          </a:p>
        </p:txBody>
      </p:sp>
      <p:sp>
        <p:nvSpPr>
          <p:cNvPr id="3" name="Footer Placeholder">
            <a:extLst>
              <a:ext uri="{FF2B5EF4-FFF2-40B4-BE49-F238E27FC236}">
                <a16:creationId xmlns:a16="http://schemas.microsoft.com/office/drawing/2014/main" id="{02D2B3EE-E70A-1DEB-939C-DC6B0065BF60}"/>
              </a:ext>
            </a:extLst>
          </p:cNvPr>
          <p:cNvSpPr>
            <a:spLocks noGrp="1" noRot="1" noMove="1" noResize="1" noEditPoints="1" noAdjustHandles="1" noChangeArrowheads="1" noChangeShapeType="1"/>
          </p:cNvSpPr>
          <p:nvPr>
            <p:ph type="ftr" sz="quarter" idx="10"/>
          </p:nvPr>
        </p:nvSpPr>
        <p:spPr>
          <a:xfrm>
            <a:off x="3251197" y="6485399"/>
            <a:ext cx="3716341" cy="282957"/>
          </a:xfrm>
        </p:spPr>
        <p:txBody>
          <a:bodyPr>
            <a:noAutofit/>
          </a:bodyPr>
          <a:lstStyle>
            <a:lvl1pPr>
              <a:defRPr>
                <a:solidFill>
                  <a:schemeClr val="bg1"/>
                </a:solidFill>
              </a:defRPr>
            </a:lvl1pPr>
          </a:lstStyle>
          <a:p>
            <a:endParaRPr lang="en-GB"/>
          </a:p>
        </p:txBody>
      </p:sp>
      <p:sp>
        <p:nvSpPr>
          <p:cNvPr id="4" name="Date Placeholder">
            <a:extLst>
              <a:ext uri="{FF2B5EF4-FFF2-40B4-BE49-F238E27FC236}">
                <a16:creationId xmlns:a16="http://schemas.microsoft.com/office/drawing/2014/main" id="{F13BEA8B-0F53-AC66-58D8-93A2E2ABD13A}"/>
              </a:ext>
            </a:extLst>
          </p:cNvPr>
          <p:cNvSpPr>
            <a:spLocks noGrp="1" noRot="1" noMove="1" noResize="1" noEditPoints="1" noAdjustHandles="1" noChangeArrowheads="1" noChangeShapeType="1"/>
          </p:cNvSpPr>
          <p:nvPr>
            <p:ph type="dt" sz="half" idx="11"/>
          </p:nvPr>
        </p:nvSpPr>
        <p:spPr>
          <a:xfrm>
            <a:off x="2265363" y="6485399"/>
            <a:ext cx="757238" cy="282957"/>
          </a:xfrm>
        </p:spPr>
        <p:txBody>
          <a:bodyPr>
            <a:noAutofit/>
          </a:bodyPr>
          <a:lstStyle>
            <a:lvl1pPr>
              <a:defRPr>
                <a:solidFill>
                  <a:schemeClr val="bg1"/>
                </a:solidFill>
              </a:defRPr>
            </a:lvl1pPr>
          </a:lstStyle>
          <a:p>
            <a:fld id="{F42DF71F-30BE-44BA-A536-D8EF81D0364C}" type="datetime1">
              <a:rPr lang="en-GB" smtClean="0"/>
              <a:pPr/>
              <a:t>18/11/2024</a:t>
            </a:fld>
            <a:endParaRPr lang="en-GB"/>
          </a:p>
        </p:txBody>
      </p:sp>
      <p:cxnSp>
        <p:nvCxnSpPr>
          <p:cNvPr id="16" name="Base Rule">
            <a:extLst>
              <a:ext uri="{FF2B5EF4-FFF2-40B4-BE49-F238E27FC236}">
                <a16:creationId xmlns:a16="http://schemas.microsoft.com/office/drawing/2014/main" id="{A2E4D762-EABE-F9E8-A416-7B524EE5A5F3}"/>
              </a:ext>
            </a:extLst>
          </p:cNvPr>
          <p:cNvCxnSpPr>
            <a:cxnSpLocks noGrp="1" noRot="1" noMove="1" noResize="1" noEditPoints="1" noAdjustHandles="1" noChangeArrowheads="1" noChangeShapeType="1"/>
          </p:cNvCxnSpPr>
          <p:nvPr userDrawn="1"/>
        </p:nvCxnSpPr>
        <p:spPr>
          <a:xfrm>
            <a:off x="292100" y="6395755"/>
            <a:ext cx="1160780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ource Placeholder">
            <a:extLst>
              <a:ext uri="{FF2B5EF4-FFF2-40B4-BE49-F238E27FC236}">
                <a16:creationId xmlns:a16="http://schemas.microsoft.com/office/drawing/2014/main" id="{ED1AEB33-C846-8D27-B334-B80B72329C8E}"/>
              </a:ext>
            </a:extLst>
          </p:cNvPr>
          <p:cNvSpPr>
            <a:spLocks noGrp="1" noRot="1" noMove="1" noResize="1" noEditPoints="1" noAdjustHandles="1" noChangeArrowheads="1" noChangeShapeType="1"/>
          </p:cNvSpPr>
          <p:nvPr>
            <p:ph type="body" sz="quarter" idx="14" hasCustomPrompt="1"/>
          </p:nvPr>
        </p:nvSpPr>
        <p:spPr>
          <a:xfrm>
            <a:off x="292100" y="6108700"/>
            <a:ext cx="11607800" cy="194127"/>
          </a:xfrm>
        </p:spPr>
        <p:txBody>
          <a:bodyPr lIns="0" tIns="0" rIns="0" bIns="0" anchor="b" anchorCtr="0">
            <a:noAutofit/>
          </a:bodyPr>
          <a:lstStyle>
            <a:lvl1pPr marL="0" indent="0">
              <a:buNone/>
              <a:defRPr lang="en-GB" sz="800" dirty="0">
                <a:solidFill>
                  <a:schemeClr val="bg1"/>
                </a:solidFill>
              </a:defRPr>
            </a:lvl1pPr>
          </a:lstStyle>
          <a:p>
            <a:pPr marL="171450" lvl="0" indent="-171450">
              <a:spcBef>
                <a:spcPts val="0"/>
              </a:spcBef>
              <a:spcAft>
                <a:spcPts val="0"/>
              </a:spcAft>
            </a:pPr>
            <a:r>
              <a:rPr lang="en-GB"/>
              <a:t>Source, footnote</a:t>
            </a:r>
          </a:p>
        </p:txBody>
      </p:sp>
      <p:pic>
        <p:nvPicPr>
          <p:cNvPr id="8" name="NIQ GFK Lockup" hidden="1">
            <a:extLst>
              <a:ext uri="{FF2B5EF4-FFF2-40B4-BE49-F238E27FC236}">
                <a16:creationId xmlns:a16="http://schemas.microsoft.com/office/drawing/2014/main" id="{5D3C3BE7-0356-CB3B-CA9F-9B23ECA7BDF9}"/>
              </a:ext>
            </a:extLst>
          </p:cNvPr>
          <p:cNvPicPr>
            <a:picLocks noGrp="1" noRo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2" name="NielsenIQ logo+wordmark" descr="A blue text on a black background&#10;&#10;Description automatically generated" hidden="1">
            <a:extLst>
              <a:ext uri="{FF2B5EF4-FFF2-40B4-BE49-F238E27FC236}">
                <a16:creationId xmlns:a16="http://schemas.microsoft.com/office/drawing/2014/main" id="{3D2C78A3-1318-F9F9-A0FA-2E6F97A0A4AD}"/>
              </a:ext>
            </a:extLst>
          </p:cNvPr>
          <p:cNvPicPr>
            <a:picLocks noGrp="1" noRo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tretch>
            <a:fillRect/>
          </a:stretch>
        </p:blipFill>
        <p:spPr>
          <a:xfrm>
            <a:off x="290130" y="6495154"/>
            <a:ext cx="781433" cy="269593"/>
          </a:xfrm>
          <a:prstGeom prst="rect">
            <a:avLst/>
          </a:prstGeom>
        </p:spPr>
      </p:pic>
      <p:pic>
        <p:nvPicPr>
          <p:cNvPr id="18" name="NIQ Logo">
            <a:extLst>
              <a:ext uri="{FF2B5EF4-FFF2-40B4-BE49-F238E27FC236}">
                <a16:creationId xmlns:a16="http://schemas.microsoft.com/office/drawing/2014/main" id="{74EC100F-70B4-0E01-8BC9-6F09D73757D7}"/>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14172910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Photo Circle">
    <p:spTree>
      <p:nvGrpSpPr>
        <p:cNvPr id="1" name=""/>
        <p:cNvGrpSpPr/>
        <p:nvPr/>
      </p:nvGrpSpPr>
      <p:grpSpPr>
        <a:xfrm>
          <a:off x="0" y="0"/>
          <a:ext cx="0" cy="0"/>
          <a:chOff x="0" y="0"/>
          <a:chExt cx="0" cy="0"/>
        </a:xfrm>
      </p:grpSpPr>
      <p:sp>
        <p:nvSpPr>
          <p:cNvPr id="29" name="Static Light Bkgd">
            <a:extLst>
              <a:ext uri="{FF2B5EF4-FFF2-40B4-BE49-F238E27FC236}">
                <a16:creationId xmlns:a16="http://schemas.microsoft.com/office/drawing/2014/main" id="{EE705342-7994-AFF3-15FD-F6FDEC9AE6B0}"/>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0" name="Photo Accent Circles">
            <a:extLst>
              <a:ext uri="{FF2B5EF4-FFF2-40B4-BE49-F238E27FC236}">
                <a16:creationId xmlns:a16="http://schemas.microsoft.com/office/drawing/2014/main" id="{05F2AB47-2DD7-8B76-D4C4-88A3A382FA8A}"/>
              </a:ext>
            </a:extLst>
          </p:cNvPr>
          <p:cNvGrpSpPr>
            <a:grpSpLocks noGrp="1" noUngrp="1" noRot="1" noMove="1" noResize="1"/>
          </p:cNvGrpSpPr>
          <p:nvPr userDrawn="1"/>
        </p:nvGrpSpPr>
        <p:grpSpPr>
          <a:xfrm>
            <a:off x="5942370" y="1"/>
            <a:ext cx="6249631" cy="6778171"/>
            <a:chOff x="5942370" y="1"/>
            <a:chExt cx="6249631" cy="6778171"/>
          </a:xfrm>
        </p:grpSpPr>
        <p:sp>
          <p:nvSpPr>
            <p:cNvPr id="28" name="Freeform: Shape 27">
              <a:extLst>
                <a:ext uri="{FF2B5EF4-FFF2-40B4-BE49-F238E27FC236}">
                  <a16:creationId xmlns:a16="http://schemas.microsoft.com/office/drawing/2014/main" id="{41DBC157-DD06-141E-B188-1EB8D24163C1}"/>
                </a:ext>
              </a:extLst>
            </p:cNvPr>
            <p:cNvSpPr>
              <a:spLocks noGrp="1" noRot="1" noMove="1" noResize="1" noEditPoints="1" noAdjustHandles="1" noChangeArrowheads="1" noChangeShapeType="1"/>
            </p:cNvSpPr>
            <p:nvPr userDrawn="1"/>
          </p:nvSpPr>
          <p:spPr>
            <a:xfrm>
              <a:off x="5942370" y="1"/>
              <a:ext cx="6249631" cy="6778171"/>
            </a:xfrm>
            <a:custGeom>
              <a:avLst/>
              <a:gdLst>
                <a:gd name="connsiteX0" fmla="*/ 1133398 w 6249631"/>
                <a:gd name="connsiteY0" fmla="*/ 0 h 6778171"/>
                <a:gd name="connsiteX1" fmla="*/ 6249631 w 6249631"/>
                <a:gd name="connsiteY1" fmla="*/ 0 h 6778171"/>
                <a:gd name="connsiteX2" fmla="*/ 6249631 w 6249631"/>
                <a:gd name="connsiteY2" fmla="*/ 6079239 h 6778171"/>
                <a:gd name="connsiteX3" fmla="*/ 6227147 w 6249631"/>
                <a:gd name="connsiteY3" fmla="*/ 6096052 h 6778171"/>
                <a:gd name="connsiteX4" fmla="*/ 3994041 w 6249631"/>
                <a:gd name="connsiteY4" fmla="*/ 6778171 h 6778171"/>
                <a:gd name="connsiteX5" fmla="*/ 0 w 6249631"/>
                <a:gd name="connsiteY5" fmla="*/ 2784130 h 6778171"/>
                <a:gd name="connsiteX6" fmla="*/ 912045 w 6249631"/>
                <a:gd name="connsiteY6" fmla="*/ 243549 h 6778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9631" h="6778171">
                  <a:moveTo>
                    <a:pt x="1133398" y="0"/>
                  </a:moveTo>
                  <a:lnTo>
                    <a:pt x="6249631" y="0"/>
                  </a:lnTo>
                  <a:lnTo>
                    <a:pt x="6249631" y="6079239"/>
                  </a:lnTo>
                  <a:lnTo>
                    <a:pt x="6227147" y="6096052"/>
                  </a:lnTo>
                  <a:cubicBezTo>
                    <a:pt x="5589694" y="6526707"/>
                    <a:pt x="4821234" y="6778171"/>
                    <a:pt x="3994041" y="6778171"/>
                  </a:cubicBezTo>
                  <a:cubicBezTo>
                    <a:pt x="1788193" y="6778171"/>
                    <a:pt x="0" y="4989978"/>
                    <a:pt x="0" y="2784130"/>
                  </a:cubicBezTo>
                  <a:cubicBezTo>
                    <a:pt x="0" y="1819072"/>
                    <a:pt x="342272" y="933955"/>
                    <a:pt x="912045" y="243549"/>
                  </a:cubicBezTo>
                  <a:close/>
                </a:path>
              </a:pathLst>
            </a:cu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a:p>
          </p:txBody>
        </p:sp>
        <p:sp>
          <p:nvSpPr>
            <p:cNvPr id="21" name="Freeform: Shape 20">
              <a:extLst>
                <a:ext uri="{FF2B5EF4-FFF2-40B4-BE49-F238E27FC236}">
                  <a16:creationId xmlns:a16="http://schemas.microsoft.com/office/drawing/2014/main" id="{95D9CB59-0278-69D3-1B88-9D97D9D9BF66}"/>
                </a:ext>
              </a:extLst>
            </p:cNvPr>
            <p:cNvSpPr>
              <a:spLocks noGrp="1" noRot="1" noMove="1" noResize="1" noEditPoints="1" noAdjustHandles="1" noChangeArrowheads="1" noChangeShapeType="1"/>
            </p:cNvSpPr>
            <p:nvPr userDrawn="1"/>
          </p:nvSpPr>
          <p:spPr>
            <a:xfrm>
              <a:off x="6596886" y="1"/>
              <a:ext cx="5595114" cy="6115087"/>
            </a:xfrm>
            <a:custGeom>
              <a:avLst/>
              <a:gdLst>
                <a:gd name="connsiteX0" fmla="*/ 1504880 w 5595114"/>
                <a:gd name="connsiteY0" fmla="*/ 0 h 6115087"/>
                <a:gd name="connsiteX1" fmla="*/ 5157035 w 5595114"/>
                <a:gd name="connsiteY1" fmla="*/ 0 h 6115087"/>
                <a:gd name="connsiteX2" fmla="*/ 5193327 w 5595114"/>
                <a:gd name="connsiteY2" fmla="*/ 22048 h 6115087"/>
                <a:gd name="connsiteX3" fmla="*/ 5449755 w 5595114"/>
                <a:gd name="connsiteY3" fmla="*/ 213802 h 6115087"/>
                <a:gd name="connsiteX4" fmla="*/ 5595114 w 5595114"/>
                <a:gd name="connsiteY4" fmla="*/ 345913 h 6115087"/>
                <a:gd name="connsiteX5" fmla="*/ 5595114 w 5595114"/>
                <a:gd name="connsiteY5" fmla="*/ 5222347 h 6115087"/>
                <a:gd name="connsiteX6" fmla="*/ 5449755 w 5595114"/>
                <a:gd name="connsiteY6" fmla="*/ 5354459 h 6115087"/>
                <a:gd name="connsiteX7" fmla="*/ 3330957 w 5595114"/>
                <a:gd name="connsiteY7" fmla="*/ 6115087 h 6115087"/>
                <a:gd name="connsiteX8" fmla="*/ 0 w 5595114"/>
                <a:gd name="connsiteY8" fmla="*/ 2784130 h 6115087"/>
                <a:gd name="connsiteX9" fmla="*/ 1468588 w 5595114"/>
                <a:gd name="connsiteY9" fmla="*/ 22048 h 611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5114" h="6115087">
                  <a:moveTo>
                    <a:pt x="1504880" y="0"/>
                  </a:moveTo>
                  <a:lnTo>
                    <a:pt x="5157035" y="0"/>
                  </a:lnTo>
                  <a:lnTo>
                    <a:pt x="5193327" y="22048"/>
                  </a:lnTo>
                  <a:cubicBezTo>
                    <a:pt x="5281931" y="81908"/>
                    <a:pt x="5367500" y="145919"/>
                    <a:pt x="5449755" y="213802"/>
                  </a:cubicBezTo>
                  <a:lnTo>
                    <a:pt x="5595114" y="345913"/>
                  </a:lnTo>
                  <a:lnTo>
                    <a:pt x="5595114" y="5222347"/>
                  </a:lnTo>
                  <a:lnTo>
                    <a:pt x="5449755" y="5354459"/>
                  </a:lnTo>
                  <a:cubicBezTo>
                    <a:pt x="4873969" y="5829639"/>
                    <a:pt x="4135798" y="6115087"/>
                    <a:pt x="3330957" y="6115087"/>
                  </a:cubicBezTo>
                  <a:cubicBezTo>
                    <a:pt x="1491320" y="6115087"/>
                    <a:pt x="0" y="4623767"/>
                    <a:pt x="0" y="2784130"/>
                  </a:cubicBezTo>
                  <a:cubicBezTo>
                    <a:pt x="0" y="1634357"/>
                    <a:pt x="582547" y="620645"/>
                    <a:pt x="1468588" y="22048"/>
                  </a:cubicBezTo>
                  <a:close/>
                </a:path>
              </a:pathLst>
            </a:custGeom>
            <a:solidFill>
              <a:srgbClr val="DADAD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rgbClr val="DADADA"/>
                </a:solidFill>
              </a:endParaRPr>
            </a:p>
          </p:txBody>
        </p:sp>
        <p:sp>
          <p:nvSpPr>
            <p:cNvPr id="23" name="Freeform: Shape 22">
              <a:extLst>
                <a:ext uri="{FF2B5EF4-FFF2-40B4-BE49-F238E27FC236}">
                  <a16:creationId xmlns:a16="http://schemas.microsoft.com/office/drawing/2014/main" id="{CEF44984-8F7A-8C11-AE43-676924BE717A}"/>
                </a:ext>
              </a:extLst>
            </p:cNvPr>
            <p:cNvSpPr>
              <a:spLocks noGrp="1" noRot="1" noMove="1" noResize="1" noEditPoints="1" noAdjustHandles="1" noChangeArrowheads="1" noChangeShapeType="1"/>
            </p:cNvSpPr>
            <p:nvPr userDrawn="1"/>
          </p:nvSpPr>
          <p:spPr>
            <a:xfrm>
              <a:off x="7172234" y="28520"/>
              <a:ext cx="5019767" cy="5511220"/>
            </a:xfrm>
            <a:custGeom>
              <a:avLst/>
              <a:gdLst>
                <a:gd name="connsiteX0" fmla="*/ 2755610 w 5019767"/>
                <a:gd name="connsiteY0" fmla="*/ 0 h 5511220"/>
                <a:gd name="connsiteX1" fmla="*/ 4881972 w 5019767"/>
                <a:gd name="connsiteY1" fmla="*/ 1002786 h 5511220"/>
                <a:gd name="connsiteX2" fmla="*/ 5019767 w 5019767"/>
                <a:gd name="connsiteY2" fmla="*/ 1187056 h 5511220"/>
                <a:gd name="connsiteX3" fmla="*/ 5019767 w 5019767"/>
                <a:gd name="connsiteY3" fmla="*/ 4324164 h 5511220"/>
                <a:gd name="connsiteX4" fmla="*/ 4881972 w 5019767"/>
                <a:gd name="connsiteY4" fmla="*/ 4508434 h 5511220"/>
                <a:gd name="connsiteX5" fmla="*/ 2755610 w 5019767"/>
                <a:gd name="connsiteY5" fmla="*/ 5511220 h 5511220"/>
                <a:gd name="connsiteX6" fmla="*/ 0 w 5019767"/>
                <a:gd name="connsiteY6" fmla="*/ 2755610 h 5511220"/>
                <a:gd name="connsiteX7" fmla="*/ 2755610 w 5019767"/>
                <a:gd name="connsiteY7" fmla="*/ 0 h 5511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19767" h="5511220">
                  <a:moveTo>
                    <a:pt x="2755610" y="0"/>
                  </a:moveTo>
                  <a:cubicBezTo>
                    <a:pt x="3611668" y="0"/>
                    <a:pt x="4376553" y="390360"/>
                    <a:pt x="4881972" y="1002786"/>
                  </a:cubicBezTo>
                  <a:lnTo>
                    <a:pt x="5019767" y="1187056"/>
                  </a:lnTo>
                  <a:lnTo>
                    <a:pt x="5019767" y="4324164"/>
                  </a:lnTo>
                  <a:lnTo>
                    <a:pt x="4881972" y="4508434"/>
                  </a:lnTo>
                  <a:cubicBezTo>
                    <a:pt x="4376553" y="5120861"/>
                    <a:pt x="3611668" y="5511220"/>
                    <a:pt x="2755610" y="5511220"/>
                  </a:cubicBezTo>
                  <a:cubicBezTo>
                    <a:pt x="1233729" y="5511220"/>
                    <a:pt x="0" y="4277491"/>
                    <a:pt x="0" y="2755610"/>
                  </a:cubicBezTo>
                  <a:cubicBezTo>
                    <a:pt x="0" y="1233729"/>
                    <a:pt x="1233729" y="0"/>
                    <a:pt x="2755610"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sp>
        <p:nvSpPr>
          <p:cNvPr id="9" name="Copyright Line">
            <a:extLst>
              <a:ext uri="{FF2B5EF4-FFF2-40B4-BE49-F238E27FC236}">
                <a16:creationId xmlns:a16="http://schemas.microsoft.com/office/drawing/2014/main" id="{D2389545-B6D7-497B-37D4-C8C4C52F8A14}"/>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5" name="Confidential disclaimer">
            <a:extLst>
              <a:ext uri="{FF2B5EF4-FFF2-40B4-BE49-F238E27FC236}">
                <a16:creationId xmlns:a16="http://schemas.microsoft.com/office/drawing/2014/main" id="{0B3A39F8-8D7C-C8DD-497D-7F28EC8D8B6D}"/>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26" name="Footer Placeholder">
            <a:extLst>
              <a:ext uri="{FF2B5EF4-FFF2-40B4-BE49-F238E27FC236}">
                <a16:creationId xmlns:a16="http://schemas.microsoft.com/office/drawing/2014/main" id="{82B2F640-F33B-8BC7-0A7C-2CC5589C1730}"/>
              </a:ext>
            </a:extLst>
          </p:cNvPr>
          <p:cNvSpPr>
            <a:spLocks noGrp="1" noRot="1" noMove="1" noResize="1" noEditPoints="1" noAdjustHandles="1" noChangeArrowheads="1" noChangeShapeType="1"/>
          </p:cNvSpPr>
          <p:nvPr>
            <p:ph type="ftr" sz="quarter" idx="15"/>
          </p:nvPr>
        </p:nvSpPr>
        <p:spPr>
          <a:xfrm>
            <a:off x="3251195" y="6485399"/>
            <a:ext cx="3716341" cy="282957"/>
          </a:xfrm>
        </p:spPr>
        <p:txBody>
          <a:bodyPr/>
          <a:lstStyle>
            <a:lvl1pPr algn="l">
              <a:defRPr/>
            </a:lvl1pPr>
          </a:lstStyle>
          <a:p>
            <a:endParaRPr lang="en-GB"/>
          </a:p>
        </p:txBody>
      </p:sp>
      <p:sp>
        <p:nvSpPr>
          <p:cNvPr id="25" name="Picture Placeholder">
            <a:extLst>
              <a:ext uri="{FF2B5EF4-FFF2-40B4-BE49-F238E27FC236}">
                <a16:creationId xmlns:a16="http://schemas.microsoft.com/office/drawing/2014/main" id="{278BDEAF-4B5A-EDEC-5FBB-5BDC0B1311E4}"/>
              </a:ext>
            </a:extLst>
          </p:cNvPr>
          <p:cNvSpPr>
            <a:spLocks noGrp="1" noRot="1" noMove="1" noResize="1" noEditPoints="1" noAdjustHandles="1" noChangeArrowheads="1" noChangeShapeType="1"/>
          </p:cNvSpPr>
          <p:nvPr>
            <p:ph type="pic" sz="quarter" idx="12" hasCustomPrompt="1"/>
          </p:nvPr>
        </p:nvSpPr>
        <p:spPr>
          <a:xfrm>
            <a:off x="7465671" y="321957"/>
            <a:ext cx="4726329" cy="4924346"/>
          </a:xfrm>
          <a:custGeom>
            <a:avLst/>
            <a:gdLst>
              <a:gd name="connsiteX0" fmla="*/ 2462173 w 4726329"/>
              <a:gd name="connsiteY0" fmla="*/ 0 h 4924346"/>
              <a:gd name="connsiteX1" fmla="*/ 4627175 w 4726329"/>
              <a:gd name="connsiteY1" fmla="*/ 1288555 h 4924346"/>
              <a:gd name="connsiteX2" fmla="*/ 4726329 w 4726329"/>
              <a:gd name="connsiteY2" fmla="*/ 1494386 h 4924346"/>
              <a:gd name="connsiteX3" fmla="*/ 4726329 w 4726329"/>
              <a:gd name="connsiteY3" fmla="*/ 3429960 h 4924346"/>
              <a:gd name="connsiteX4" fmla="*/ 4627175 w 4726329"/>
              <a:gd name="connsiteY4" fmla="*/ 3635791 h 4924346"/>
              <a:gd name="connsiteX5" fmla="*/ 2462173 w 4726329"/>
              <a:gd name="connsiteY5" fmla="*/ 4924346 h 4924346"/>
              <a:gd name="connsiteX6" fmla="*/ 0 w 4726329"/>
              <a:gd name="connsiteY6" fmla="*/ 2462173 h 4924346"/>
              <a:gd name="connsiteX7" fmla="*/ 2462173 w 4726329"/>
              <a:gd name="connsiteY7" fmla="*/ 0 h 4924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6329" h="4924346">
                <a:moveTo>
                  <a:pt x="2462173" y="0"/>
                </a:moveTo>
                <a:cubicBezTo>
                  <a:pt x="3397050" y="0"/>
                  <a:pt x="4210233" y="521034"/>
                  <a:pt x="4627175" y="1288555"/>
                </a:cubicBezTo>
                <a:lnTo>
                  <a:pt x="4726329" y="1494386"/>
                </a:lnTo>
                <a:lnTo>
                  <a:pt x="4726329" y="3429960"/>
                </a:lnTo>
                <a:lnTo>
                  <a:pt x="4627175" y="3635791"/>
                </a:lnTo>
                <a:cubicBezTo>
                  <a:pt x="4210233" y="4403313"/>
                  <a:pt x="3397050" y="4924346"/>
                  <a:pt x="2462173" y="4924346"/>
                </a:cubicBezTo>
                <a:cubicBezTo>
                  <a:pt x="1102352" y="4924346"/>
                  <a:pt x="0" y="3821994"/>
                  <a:pt x="0" y="2462173"/>
                </a:cubicBezTo>
                <a:cubicBezTo>
                  <a:pt x="0" y="1102352"/>
                  <a:pt x="1102352" y="0"/>
                  <a:pt x="2462173" y="0"/>
                </a:cubicBezTo>
                <a:close/>
              </a:path>
            </a:pathLst>
          </a:custGeom>
          <a:solidFill>
            <a:srgbClr val="777777"/>
          </a:solidFill>
        </p:spPr>
        <p:txBody>
          <a:bodyPr wrap="square" anchor="ctr" anchorCtr="1">
            <a:noAutofit/>
          </a:bodyPr>
          <a:lstStyle>
            <a:lvl1pPr marL="0" indent="0" algn="ctr">
              <a:buNone/>
              <a:defRPr>
                <a:solidFill>
                  <a:srgbClr val="FFFFFF"/>
                </a:solidFill>
              </a:defRPr>
            </a:lvl1pPr>
          </a:lstStyle>
          <a:p>
            <a:r>
              <a:rPr lang="en-US"/>
              <a:t>Click picture icon to add photo</a:t>
            </a:r>
          </a:p>
        </p:txBody>
      </p:sp>
      <p:sp>
        <p:nvSpPr>
          <p:cNvPr id="11" name="Date Placeholder">
            <a:extLst>
              <a:ext uri="{FF2B5EF4-FFF2-40B4-BE49-F238E27FC236}">
                <a16:creationId xmlns:a16="http://schemas.microsoft.com/office/drawing/2014/main" id="{56FDEAC7-8736-5846-42B8-66DC00FA3B94}"/>
              </a:ext>
            </a:extLst>
          </p:cNvPr>
          <p:cNvSpPr>
            <a:spLocks noGrp="1" noRot="1" noMove="1" noResize="1" noEditPoints="1" noAdjustHandles="1" noChangeArrowheads="1" noChangeShapeType="1"/>
          </p:cNvSpPr>
          <p:nvPr>
            <p:ph type="dt" sz="half" idx="14"/>
          </p:nvPr>
        </p:nvSpPr>
        <p:spPr>
          <a:xfrm>
            <a:off x="292100" y="5036705"/>
            <a:ext cx="1744664" cy="282957"/>
          </a:xfrm>
        </p:spPr>
        <p:txBody>
          <a:bodyPr/>
          <a:lstStyle>
            <a:lvl1pPr>
              <a:defRPr sz="1200">
                <a:solidFill>
                  <a:srgbClr val="555555"/>
                </a:solidFill>
              </a:defRPr>
            </a:lvl1pPr>
          </a:lstStyle>
          <a:p>
            <a:fld id="{1C2394C5-9FC7-4913-9E8E-D41BCF75875A}" type="datetime1">
              <a:rPr lang="en-GB" smtClean="0"/>
              <a:t>18/11/2024</a:t>
            </a:fld>
            <a:endParaRPr lang="en-GB"/>
          </a:p>
        </p:txBody>
      </p:sp>
      <p:sp>
        <p:nvSpPr>
          <p:cNvPr id="3" name="Title/Dept Placeholder">
            <a:extLst>
              <a:ext uri="{FF2B5EF4-FFF2-40B4-BE49-F238E27FC236}">
                <a16:creationId xmlns:a16="http://schemas.microsoft.com/office/drawing/2014/main" id="{F49547DD-E825-E7A3-C48A-64AA78C199D4}"/>
              </a:ext>
            </a:extLst>
          </p:cNvPr>
          <p:cNvSpPr>
            <a:spLocks noGrp="1" noRot="1" noMove="1" noResize="1" noEditPoints="1" noAdjustHandles="1" noChangeArrowheads="1" noChangeShapeType="1"/>
          </p:cNvSpPr>
          <p:nvPr>
            <p:ph type="body" sz="quarter" idx="11" hasCustomPrompt="1"/>
          </p:nvPr>
        </p:nvSpPr>
        <p:spPr>
          <a:xfrm>
            <a:off x="292100" y="4560602"/>
            <a:ext cx="6689728" cy="344385"/>
          </a:xfrm>
        </p:spPr>
        <p:txBody>
          <a:bodyPr tIns="0" bIns="0">
            <a:noAutofit/>
          </a:bodyPr>
          <a:lstStyle>
            <a:lvl1pPr marL="0" indent="0">
              <a:lnSpc>
                <a:spcPct val="100000"/>
              </a:lnSpc>
              <a:spcBef>
                <a:spcPts val="0"/>
              </a:spcBef>
              <a:spcAft>
                <a:spcPts val="0"/>
              </a:spcAft>
              <a:buNone/>
              <a:defRPr sz="1200" b="0">
                <a:solidFill>
                  <a:srgbClr val="555555"/>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2" name="Presenter Name Placeholder">
            <a:extLst>
              <a:ext uri="{FF2B5EF4-FFF2-40B4-BE49-F238E27FC236}">
                <a16:creationId xmlns:a16="http://schemas.microsoft.com/office/drawing/2014/main" id="{5A598B2A-BB91-C356-7BCC-18D04DA85A8D}"/>
              </a:ext>
            </a:extLst>
          </p:cNvPr>
          <p:cNvSpPr>
            <a:spLocks noGrp="1" noRot="1" noMove="1" noResize="1" noEditPoints="1" noAdjustHandles="1" noChangeArrowheads="1" noChangeShapeType="1"/>
          </p:cNvSpPr>
          <p:nvPr>
            <p:ph type="body" sz="quarter" idx="10" hasCustomPrompt="1"/>
          </p:nvPr>
        </p:nvSpPr>
        <p:spPr>
          <a:xfrm>
            <a:off x="292100" y="4192468"/>
            <a:ext cx="6689728" cy="344384"/>
          </a:xfrm>
        </p:spPr>
        <p:txBody>
          <a:bodyPr tIns="0" bIns="0" anchor="b" anchorCtr="0">
            <a:noAutofit/>
          </a:bodyPr>
          <a:lstStyle>
            <a:lvl1pPr marL="0" indent="0">
              <a:lnSpc>
                <a:spcPct val="100000"/>
              </a:lnSpc>
              <a:spcBef>
                <a:spcPts val="0"/>
              </a:spcBef>
              <a:spcAft>
                <a:spcPts val="0"/>
              </a:spcAft>
              <a:buNone/>
              <a:defRPr sz="1200" b="1">
                <a:solidFill>
                  <a:srgbClr val="555555"/>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8" name="Subtitle Placeholder">
            <a:extLst>
              <a:ext uri="{FF2B5EF4-FFF2-40B4-BE49-F238E27FC236}">
                <a16:creationId xmlns:a16="http://schemas.microsoft.com/office/drawing/2014/main" id="{23B6A8FC-C3C4-F7DA-BF00-D56866D5808E}"/>
              </a:ext>
            </a:extLst>
          </p:cNvPr>
          <p:cNvSpPr>
            <a:spLocks noGrp="1" noRot="1" noMove="1" noResize="1" noEditPoints="1" noAdjustHandles="1" noChangeArrowheads="1" noChangeShapeType="1"/>
          </p:cNvSpPr>
          <p:nvPr>
            <p:ph type="subTitle" idx="1"/>
          </p:nvPr>
        </p:nvSpPr>
        <p:spPr>
          <a:xfrm>
            <a:off x="292100" y="3114710"/>
            <a:ext cx="6689729" cy="837882"/>
          </a:xfrm>
        </p:spPr>
        <p:txBody>
          <a:bodyPr>
            <a:noAutofit/>
          </a:bodyPr>
          <a:lstStyle>
            <a:lvl1pPr marL="0" indent="0" algn="l">
              <a:spcBef>
                <a:spcPts val="0"/>
              </a:spcBef>
              <a:spcAft>
                <a:spcPts val="0"/>
              </a:spcAft>
              <a:buNone/>
              <a:defRPr sz="2000">
                <a:solidFill>
                  <a:srgbClr val="55555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Title Placeholder">
            <a:extLst>
              <a:ext uri="{FF2B5EF4-FFF2-40B4-BE49-F238E27FC236}">
                <a16:creationId xmlns:a16="http://schemas.microsoft.com/office/drawing/2014/main" id="{615225DC-38B1-15E3-05E6-88F5A6B976CF}"/>
              </a:ext>
            </a:extLst>
          </p:cNvPr>
          <p:cNvSpPr>
            <a:spLocks noGrp="1" noRot="1" noMove="1" noResize="1" noEditPoints="1" noAdjustHandles="1" noChangeArrowheads="1" noChangeShapeType="1"/>
          </p:cNvSpPr>
          <p:nvPr>
            <p:ph type="ctrTitle" hasCustomPrompt="1"/>
          </p:nvPr>
        </p:nvSpPr>
        <p:spPr>
          <a:xfrm>
            <a:off x="292100" y="654818"/>
            <a:ext cx="6689729" cy="2387600"/>
          </a:xfrm>
          <a:prstGeom prst="rect">
            <a:avLst/>
          </a:prstGeom>
        </p:spPr>
        <p:txBody>
          <a:bodyPr anchor="b">
            <a:noAutofit/>
          </a:bodyPr>
          <a:lstStyle>
            <a:lvl1pPr algn="l">
              <a:defRPr sz="4400">
                <a:solidFill>
                  <a:srgbClr val="555555"/>
                </a:solidFill>
              </a:defRPr>
            </a:lvl1pPr>
          </a:lstStyle>
          <a:p>
            <a:r>
              <a:rPr lang="en-US"/>
              <a:t>Insert your presentation title here maximum of three lines</a:t>
            </a:r>
          </a:p>
        </p:txBody>
      </p:sp>
      <p:pic>
        <p:nvPicPr>
          <p:cNvPr id="7" name="NielsenIQ GFK lockup" hidden="1">
            <a:extLst>
              <a:ext uri="{FF2B5EF4-FFF2-40B4-BE49-F238E27FC236}">
                <a16:creationId xmlns:a16="http://schemas.microsoft.com/office/drawing/2014/main" id="{0FDFD67B-3477-8375-7F26-D08E6067C995}"/>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6122" y="5539740"/>
            <a:ext cx="3377876" cy="753596"/>
          </a:xfrm>
          <a:prstGeom prst="rect">
            <a:avLst/>
          </a:prstGeom>
        </p:spPr>
      </p:pic>
      <p:pic>
        <p:nvPicPr>
          <p:cNvPr id="14" name="NielsenIQ logo+wordmark" descr="A blue text on a black background&#10;&#10;Description automatically generated" hidden="1">
            <a:extLst>
              <a:ext uri="{FF2B5EF4-FFF2-40B4-BE49-F238E27FC236}">
                <a16:creationId xmlns:a16="http://schemas.microsoft.com/office/drawing/2014/main" id="{C8F8171E-1658-79B9-9EAC-E88E789EA287}"/>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tretch>
            <a:fillRect/>
          </a:stretch>
        </p:blipFill>
        <p:spPr>
          <a:xfrm>
            <a:off x="288558" y="5563212"/>
            <a:ext cx="2155411" cy="743616"/>
          </a:xfrm>
          <a:prstGeom prst="rect">
            <a:avLst/>
          </a:prstGeom>
        </p:spPr>
      </p:pic>
      <p:sp>
        <p:nvSpPr>
          <p:cNvPr id="22" name="Nielsen wordmark">
            <a:extLst>
              <a:ext uri="{FF2B5EF4-FFF2-40B4-BE49-F238E27FC236}">
                <a16:creationId xmlns:a16="http://schemas.microsoft.com/office/drawing/2014/main" id="{D75B41C8-8FEA-463D-AB87-6F4962F7D5EE}"/>
              </a:ext>
            </a:extLst>
          </p:cNvPr>
          <p:cNvSpPr>
            <a:spLocks noGrp="1" noRot="1" noMove="1" noResize="1" noEditPoints="1" noAdjustHandles="1" noChangeArrowheads="1" noChangeShapeType="1"/>
          </p:cNvSpPr>
          <p:nvPr/>
        </p:nvSpPr>
        <p:spPr>
          <a:xfrm>
            <a:off x="295274" y="5686380"/>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accent1"/>
          </a:solidFill>
          <a:ln w="774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20543063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39" name="Abstracted logo">
            <a:extLst>
              <a:ext uri="{FF2B5EF4-FFF2-40B4-BE49-F238E27FC236}">
                <a16:creationId xmlns:a16="http://schemas.microsoft.com/office/drawing/2014/main" id="{37C4672C-8363-CE87-84A0-A85A94F793F9}"/>
              </a:ext>
            </a:extLst>
          </p:cNvPr>
          <p:cNvSpPr>
            <a:spLocks noGrp="1" noRot="1" noMove="1" noResize="1" noEditPoints="1" noAdjustHandles="1" noChangeArrowheads="1" noChangeShapeType="1"/>
          </p:cNvSpPr>
          <p:nvPr/>
        </p:nvSpPr>
        <p:spPr>
          <a:xfrm>
            <a:off x="0" y="1"/>
            <a:ext cx="11495577" cy="6496681"/>
          </a:xfrm>
          <a:custGeom>
            <a:avLst/>
            <a:gdLst>
              <a:gd name="connsiteX0" fmla="*/ 0 w 11495577"/>
              <a:gd name="connsiteY0" fmla="*/ 0 h 6496681"/>
              <a:gd name="connsiteX1" fmla="*/ 704099 w 11495577"/>
              <a:gd name="connsiteY1" fmla="*/ 0 h 6496681"/>
              <a:gd name="connsiteX2" fmla="*/ 741689 w 11495577"/>
              <a:gd name="connsiteY2" fmla="*/ 102812 h 6496681"/>
              <a:gd name="connsiteX3" fmla="*/ 3783129 w 11495577"/>
              <a:gd name="connsiteY3" fmla="*/ 2118000 h 6496681"/>
              <a:gd name="connsiteX4" fmla="*/ 6824569 w 11495577"/>
              <a:gd name="connsiteY4" fmla="*/ 102812 h 6496681"/>
              <a:gd name="connsiteX5" fmla="*/ 6862160 w 11495577"/>
              <a:gd name="connsiteY5" fmla="*/ 0 h 6496681"/>
              <a:gd name="connsiteX6" fmla="*/ 10037149 w 11495577"/>
              <a:gd name="connsiteY6" fmla="*/ 0 h 6496681"/>
              <a:gd name="connsiteX7" fmla="*/ 10016547 w 11495577"/>
              <a:gd name="connsiteY7" fmla="*/ 118329 h 6496681"/>
              <a:gd name="connsiteX8" fmla="*/ 9239892 w 11495577"/>
              <a:gd name="connsiteY8" fmla="*/ 2084828 h 6496681"/>
              <a:gd name="connsiteX9" fmla="*/ 11495577 w 11495577"/>
              <a:gd name="connsiteY9" fmla="*/ 4340512 h 6496681"/>
              <a:gd name="connsiteX10" fmla="*/ 9339409 w 11495577"/>
              <a:gd name="connsiteY10" fmla="*/ 6496681 h 6496681"/>
              <a:gd name="connsiteX11" fmla="*/ 7083724 w 11495577"/>
              <a:gd name="connsiteY11" fmla="*/ 4224410 h 6496681"/>
              <a:gd name="connsiteX12" fmla="*/ 3799716 w 11495577"/>
              <a:gd name="connsiteY12" fmla="*/ 5153221 h 6496681"/>
              <a:gd name="connsiteX13" fmla="*/ 2713 w 11495577"/>
              <a:gd name="connsiteY13" fmla="*/ 3888664 h 6496681"/>
              <a:gd name="connsiteX14" fmla="*/ 0 w 11495577"/>
              <a:gd name="connsiteY14" fmla="*/ 3886530 h 649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95577" h="6496681">
                <a:moveTo>
                  <a:pt x="0" y="0"/>
                </a:moveTo>
                <a:lnTo>
                  <a:pt x="704099" y="0"/>
                </a:lnTo>
                <a:lnTo>
                  <a:pt x="741689" y="102812"/>
                </a:lnTo>
                <a:cubicBezTo>
                  <a:pt x="1242376" y="1287668"/>
                  <a:pt x="2414792" y="2118000"/>
                  <a:pt x="3783129" y="2118000"/>
                </a:cubicBezTo>
                <a:cubicBezTo>
                  <a:pt x="5151467" y="2118000"/>
                  <a:pt x="6323883" y="1287668"/>
                  <a:pt x="6824569" y="102812"/>
                </a:cubicBezTo>
                <a:lnTo>
                  <a:pt x="6862160" y="0"/>
                </a:lnTo>
                <a:lnTo>
                  <a:pt x="10037149" y="0"/>
                </a:lnTo>
                <a:lnTo>
                  <a:pt x="10016547" y="118329"/>
                </a:lnTo>
                <a:cubicBezTo>
                  <a:pt x="9868343" y="824040"/>
                  <a:pt x="9602709" y="1483589"/>
                  <a:pt x="9239892" y="2084828"/>
                </a:cubicBezTo>
                <a:lnTo>
                  <a:pt x="11495577" y="4340512"/>
                </a:lnTo>
                <a:lnTo>
                  <a:pt x="9339409" y="6496681"/>
                </a:lnTo>
                <a:lnTo>
                  <a:pt x="7083724" y="4224410"/>
                </a:lnTo>
                <a:cubicBezTo>
                  <a:pt x="6138328" y="4821503"/>
                  <a:pt x="5010486" y="5153221"/>
                  <a:pt x="3799716" y="5153221"/>
                </a:cubicBezTo>
                <a:cubicBezTo>
                  <a:pt x="2377992" y="5153221"/>
                  <a:pt x="1063024" y="4682402"/>
                  <a:pt x="2713" y="3888664"/>
                </a:cubicBezTo>
                <a:lnTo>
                  <a:pt x="0" y="3886530"/>
                </a:lnTo>
                <a:close/>
              </a:path>
            </a:pathLst>
          </a:custGeom>
          <a:solidFill>
            <a:schemeClr val="bg2">
              <a:lumMod val="95000"/>
            </a:schemeClr>
          </a:solidFill>
          <a:ln w="165830" cap="flat">
            <a:noFill/>
            <a:prstDash val="solid"/>
            <a:miter/>
          </a:ln>
        </p:spPr>
        <p:txBody>
          <a:bodyPr rtlCol="0" anchor="ctr">
            <a:noAutofit/>
          </a:bodyPr>
          <a:lstStyle/>
          <a:p>
            <a:endParaRPr lang="en-US"/>
          </a:p>
        </p:txBody>
      </p:sp>
      <p:sp>
        <p:nvSpPr>
          <p:cNvPr id="7" name="Confidential disclaimer">
            <a:extLst>
              <a:ext uri="{FF2B5EF4-FFF2-40B4-BE49-F238E27FC236}">
                <a16:creationId xmlns:a16="http://schemas.microsoft.com/office/drawing/2014/main" id="{8C7D221E-197F-4D9A-2DBE-264A762EB7A1}"/>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26" name="Footer Placeholder">
            <a:extLst>
              <a:ext uri="{FF2B5EF4-FFF2-40B4-BE49-F238E27FC236}">
                <a16:creationId xmlns:a16="http://schemas.microsoft.com/office/drawing/2014/main" id="{6DAF4C10-B884-4C63-31AE-C07181CF51A9}"/>
              </a:ext>
            </a:extLst>
          </p:cNvPr>
          <p:cNvSpPr>
            <a:spLocks noGrp="1" noRot="1" noMove="1" noResize="1" noEditPoints="1" noAdjustHandles="1" noChangeArrowheads="1" noChangeShapeType="1"/>
          </p:cNvSpPr>
          <p:nvPr>
            <p:ph type="ftr" sz="quarter" idx="16"/>
          </p:nvPr>
        </p:nvSpPr>
        <p:spPr>
          <a:xfrm>
            <a:off x="3251197" y="6485399"/>
            <a:ext cx="3716341" cy="282957"/>
          </a:xfrm>
          <a:noFill/>
        </p:spPr>
        <p:txBody>
          <a:bodyPr>
            <a:noAutofit/>
          </a:bodyPr>
          <a:lstStyle>
            <a:lvl1pPr algn="l">
              <a:defRPr/>
            </a:lvl1pPr>
          </a:lstStyle>
          <a:p>
            <a:endParaRPr lang="en-GB"/>
          </a:p>
        </p:txBody>
      </p:sp>
      <p:sp>
        <p:nvSpPr>
          <p:cNvPr id="16" name="Copyright Line">
            <a:extLst>
              <a:ext uri="{FF2B5EF4-FFF2-40B4-BE49-F238E27FC236}">
                <a16:creationId xmlns:a16="http://schemas.microsoft.com/office/drawing/2014/main" id="{8D552AA0-2719-EBF2-2C9E-A8D7C82BEB55}"/>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13" name="Contact Info Placeholder">
            <a:extLst>
              <a:ext uri="{FF2B5EF4-FFF2-40B4-BE49-F238E27FC236}">
                <a16:creationId xmlns:a16="http://schemas.microsoft.com/office/drawing/2014/main" id="{C53A8FC6-F70F-155C-7171-C3706040B829}"/>
              </a:ext>
            </a:extLst>
          </p:cNvPr>
          <p:cNvSpPr>
            <a:spLocks noGrp="1" noRot="1" noMove="1" noResize="1" noEditPoints="1" noAdjustHandles="1" noChangeArrowheads="1" noChangeShapeType="1"/>
          </p:cNvSpPr>
          <p:nvPr>
            <p:ph type="body" sz="quarter" idx="14"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Contact information</a:t>
            </a:r>
          </a:p>
        </p:txBody>
      </p:sp>
      <p:sp>
        <p:nvSpPr>
          <p:cNvPr id="12" name="Presenter Name Placeholder">
            <a:extLst>
              <a:ext uri="{FF2B5EF4-FFF2-40B4-BE49-F238E27FC236}">
                <a16:creationId xmlns:a16="http://schemas.microsoft.com/office/drawing/2014/main" id="{FDEBEBA6-435D-29FE-A7B2-7A24861035E7}"/>
              </a:ext>
            </a:extLst>
          </p:cNvPr>
          <p:cNvSpPr>
            <a:spLocks noGrp="1" noRot="1" noMove="1" noResize="1" noEditPoints="1" noAdjustHandles="1" noChangeArrowheads="1" noChangeShapeType="1"/>
          </p:cNvSpPr>
          <p:nvPr>
            <p:ph type="body" sz="quarter" idx="13"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Subtitle Placeholder">
            <a:extLst>
              <a:ext uri="{FF2B5EF4-FFF2-40B4-BE49-F238E27FC236}">
                <a16:creationId xmlns:a16="http://schemas.microsoft.com/office/drawing/2014/main" id="{811C7246-8A71-F257-DB0D-3E1F23CE6970}"/>
              </a:ext>
            </a:extLst>
          </p:cNvPr>
          <p:cNvSpPr>
            <a:spLocks noGrp="1" noRot="1" noMove="1" noResize="1" noEditPoints="1" noAdjustHandles="1" noChangeArrowheads="1" noChangeShapeType="1"/>
          </p:cNvSpPr>
          <p:nvPr>
            <p:ph type="body" idx="1" hasCustomPrompt="1"/>
          </p:nvPr>
        </p:nvSpPr>
        <p:spPr>
          <a:xfrm>
            <a:off x="292100" y="3136050"/>
            <a:ext cx="7121979" cy="829817"/>
          </a:xfrm>
        </p:spPr>
        <p:txBody>
          <a:bodyPr>
            <a:noAutofit/>
          </a:bodyPr>
          <a:lstStyle>
            <a:lvl1pPr marL="0" indent="0">
              <a:buNone/>
              <a:defRPr sz="2400">
                <a:solidFill>
                  <a:schemeClr val="tx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all to action]</a:t>
            </a:r>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953699"/>
            <a:ext cx="7121979" cy="1938435"/>
          </a:xfrm>
        </p:spPr>
        <p:txBody>
          <a:bodyPr anchor="b">
            <a:noAutofit/>
          </a:bodyPr>
          <a:lstStyle>
            <a:lvl1pPr>
              <a:defRPr sz="3600">
                <a:solidFill>
                  <a:schemeClr val="tx1"/>
                </a:solidFill>
              </a:defRPr>
            </a:lvl1pPr>
          </a:lstStyle>
          <a:p>
            <a:r>
              <a:rPr lang="en-US"/>
              <a:t>[Thank you]</a:t>
            </a:r>
            <a:endParaRPr lang="en-GB"/>
          </a:p>
        </p:txBody>
      </p:sp>
      <p:pic>
        <p:nvPicPr>
          <p:cNvPr id="4" name="NielsenIQ GFK lockup" hidden="1">
            <a:extLst>
              <a:ext uri="{FF2B5EF4-FFF2-40B4-BE49-F238E27FC236}">
                <a16:creationId xmlns:a16="http://schemas.microsoft.com/office/drawing/2014/main" id="{DCA6E8BC-B77A-54A1-C369-91956B34FEC5}"/>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6122" y="5539740"/>
            <a:ext cx="3377876" cy="753596"/>
          </a:xfrm>
          <a:prstGeom prst="rect">
            <a:avLst/>
          </a:prstGeom>
        </p:spPr>
      </p:pic>
      <p:pic>
        <p:nvPicPr>
          <p:cNvPr id="22" name="NielsenIQ logo+wordmark" descr="A blue text on a black background&#10;&#10;Description automatically generated" hidden="1">
            <a:extLst>
              <a:ext uri="{FF2B5EF4-FFF2-40B4-BE49-F238E27FC236}">
                <a16:creationId xmlns:a16="http://schemas.microsoft.com/office/drawing/2014/main" id="{B75E8267-9411-9919-62E4-BB9AB43721F4}"/>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tretch>
            <a:fillRect/>
          </a:stretch>
        </p:blipFill>
        <p:spPr>
          <a:xfrm>
            <a:off x="288558" y="5563212"/>
            <a:ext cx="2155411" cy="743616"/>
          </a:xfrm>
          <a:prstGeom prst="rect">
            <a:avLst/>
          </a:prstGeom>
        </p:spPr>
      </p:pic>
      <p:sp>
        <p:nvSpPr>
          <p:cNvPr id="5" name="Nielsen wordmark">
            <a:extLst>
              <a:ext uri="{FF2B5EF4-FFF2-40B4-BE49-F238E27FC236}">
                <a16:creationId xmlns:a16="http://schemas.microsoft.com/office/drawing/2014/main" id="{0A2688EF-BBA7-DD42-EAFC-01D7D42070AF}"/>
              </a:ext>
            </a:extLst>
          </p:cNvPr>
          <p:cNvSpPr>
            <a:spLocks noGrp="1" noRot="1" noMove="1" noResize="1" noEditPoints="1" noAdjustHandles="1" noChangeArrowheads="1" noChangeShapeType="1"/>
          </p:cNvSpPr>
          <p:nvPr userDrawn="1"/>
        </p:nvSpPr>
        <p:spPr>
          <a:xfrm>
            <a:off x="295274" y="5686380"/>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accent1"/>
          </a:solidFill>
          <a:ln w="774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32055132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hank You Dark">
    <p:bg>
      <p:bgPr>
        <a:solidFill>
          <a:schemeClr val="tx2"/>
        </a:solidFill>
        <a:effectLst/>
      </p:bgPr>
    </p:bg>
    <p:spTree>
      <p:nvGrpSpPr>
        <p:cNvPr id="1" name=""/>
        <p:cNvGrpSpPr/>
        <p:nvPr/>
      </p:nvGrpSpPr>
      <p:grpSpPr>
        <a:xfrm>
          <a:off x="0" y="0"/>
          <a:ext cx="0" cy="0"/>
          <a:chOff x="0" y="0"/>
          <a:chExt cx="0" cy="0"/>
        </a:xfrm>
      </p:grpSpPr>
      <p:sp>
        <p:nvSpPr>
          <p:cNvPr id="39" name="Abstracted logo">
            <a:extLst>
              <a:ext uri="{FF2B5EF4-FFF2-40B4-BE49-F238E27FC236}">
                <a16:creationId xmlns:a16="http://schemas.microsoft.com/office/drawing/2014/main" id="{37C4672C-8363-CE87-84A0-A85A94F793F9}"/>
              </a:ext>
            </a:extLst>
          </p:cNvPr>
          <p:cNvSpPr>
            <a:spLocks noGrp="1" noRot="1" noMove="1" noResize="1" noEditPoints="1" noAdjustHandles="1" noChangeArrowheads="1" noChangeShapeType="1"/>
          </p:cNvSpPr>
          <p:nvPr/>
        </p:nvSpPr>
        <p:spPr>
          <a:xfrm>
            <a:off x="0" y="1"/>
            <a:ext cx="11495577" cy="6496681"/>
          </a:xfrm>
          <a:custGeom>
            <a:avLst/>
            <a:gdLst>
              <a:gd name="connsiteX0" fmla="*/ 0 w 11495577"/>
              <a:gd name="connsiteY0" fmla="*/ 0 h 6496681"/>
              <a:gd name="connsiteX1" fmla="*/ 704099 w 11495577"/>
              <a:gd name="connsiteY1" fmla="*/ 0 h 6496681"/>
              <a:gd name="connsiteX2" fmla="*/ 741689 w 11495577"/>
              <a:gd name="connsiteY2" fmla="*/ 102812 h 6496681"/>
              <a:gd name="connsiteX3" fmla="*/ 3783129 w 11495577"/>
              <a:gd name="connsiteY3" fmla="*/ 2118000 h 6496681"/>
              <a:gd name="connsiteX4" fmla="*/ 6824569 w 11495577"/>
              <a:gd name="connsiteY4" fmla="*/ 102812 h 6496681"/>
              <a:gd name="connsiteX5" fmla="*/ 6862160 w 11495577"/>
              <a:gd name="connsiteY5" fmla="*/ 0 h 6496681"/>
              <a:gd name="connsiteX6" fmla="*/ 10037149 w 11495577"/>
              <a:gd name="connsiteY6" fmla="*/ 0 h 6496681"/>
              <a:gd name="connsiteX7" fmla="*/ 10016547 w 11495577"/>
              <a:gd name="connsiteY7" fmla="*/ 118329 h 6496681"/>
              <a:gd name="connsiteX8" fmla="*/ 9239892 w 11495577"/>
              <a:gd name="connsiteY8" fmla="*/ 2084828 h 6496681"/>
              <a:gd name="connsiteX9" fmla="*/ 11495577 w 11495577"/>
              <a:gd name="connsiteY9" fmla="*/ 4340512 h 6496681"/>
              <a:gd name="connsiteX10" fmla="*/ 9339409 w 11495577"/>
              <a:gd name="connsiteY10" fmla="*/ 6496681 h 6496681"/>
              <a:gd name="connsiteX11" fmla="*/ 7083724 w 11495577"/>
              <a:gd name="connsiteY11" fmla="*/ 4224410 h 6496681"/>
              <a:gd name="connsiteX12" fmla="*/ 3799716 w 11495577"/>
              <a:gd name="connsiteY12" fmla="*/ 5153221 h 6496681"/>
              <a:gd name="connsiteX13" fmla="*/ 2713 w 11495577"/>
              <a:gd name="connsiteY13" fmla="*/ 3888664 h 6496681"/>
              <a:gd name="connsiteX14" fmla="*/ 0 w 11495577"/>
              <a:gd name="connsiteY14" fmla="*/ 3886530 h 649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95577" h="6496681">
                <a:moveTo>
                  <a:pt x="0" y="0"/>
                </a:moveTo>
                <a:lnTo>
                  <a:pt x="704099" y="0"/>
                </a:lnTo>
                <a:lnTo>
                  <a:pt x="741689" y="102812"/>
                </a:lnTo>
                <a:cubicBezTo>
                  <a:pt x="1242376" y="1287668"/>
                  <a:pt x="2414792" y="2118000"/>
                  <a:pt x="3783129" y="2118000"/>
                </a:cubicBezTo>
                <a:cubicBezTo>
                  <a:pt x="5151467" y="2118000"/>
                  <a:pt x="6323883" y="1287668"/>
                  <a:pt x="6824569" y="102812"/>
                </a:cubicBezTo>
                <a:lnTo>
                  <a:pt x="6862160" y="0"/>
                </a:lnTo>
                <a:lnTo>
                  <a:pt x="10037149" y="0"/>
                </a:lnTo>
                <a:lnTo>
                  <a:pt x="10016547" y="118329"/>
                </a:lnTo>
                <a:cubicBezTo>
                  <a:pt x="9868343" y="824040"/>
                  <a:pt x="9602709" y="1483589"/>
                  <a:pt x="9239892" y="2084828"/>
                </a:cubicBezTo>
                <a:lnTo>
                  <a:pt x="11495577" y="4340512"/>
                </a:lnTo>
                <a:lnTo>
                  <a:pt x="9339409" y="6496681"/>
                </a:lnTo>
                <a:lnTo>
                  <a:pt x="7083724" y="4224410"/>
                </a:lnTo>
                <a:cubicBezTo>
                  <a:pt x="6138328" y="4821503"/>
                  <a:pt x="5010486" y="5153221"/>
                  <a:pt x="3799716" y="5153221"/>
                </a:cubicBezTo>
                <a:cubicBezTo>
                  <a:pt x="2377992" y="5153221"/>
                  <a:pt x="1063024" y="4682402"/>
                  <a:pt x="2713" y="3888664"/>
                </a:cubicBezTo>
                <a:lnTo>
                  <a:pt x="0" y="3886530"/>
                </a:lnTo>
                <a:close/>
              </a:path>
            </a:pathLst>
          </a:custGeom>
          <a:solidFill>
            <a:srgbClr val="1F2358"/>
          </a:solidFill>
          <a:ln w="165830" cap="flat">
            <a:noFill/>
            <a:prstDash val="solid"/>
            <a:miter/>
          </a:ln>
        </p:spPr>
        <p:txBody>
          <a:bodyPr rtlCol="0" anchor="ctr">
            <a:noAutofit/>
          </a:bodyPr>
          <a:lstStyle/>
          <a:p>
            <a:endParaRPr lang="en-US"/>
          </a:p>
        </p:txBody>
      </p:sp>
      <p:sp>
        <p:nvSpPr>
          <p:cNvPr id="2" name="Confidential disclaimer">
            <a:extLst>
              <a:ext uri="{FF2B5EF4-FFF2-40B4-BE49-F238E27FC236}">
                <a16:creationId xmlns:a16="http://schemas.microsoft.com/office/drawing/2014/main" id="{CC2B4C36-E651-2950-6A7E-EA8C3223EADE}"/>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6" name="Footer Placeholder">
            <a:extLst>
              <a:ext uri="{FF2B5EF4-FFF2-40B4-BE49-F238E27FC236}">
                <a16:creationId xmlns:a16="http://schemas.microsoft.com/office/drawing/2014/main" id="{6567EAC2-C7F5-1090-5CB4-EBD818C469AD}"/>
              </a:ext>
            </a:extLst>
          </p:cNvPr>
          <p:cNvSpPr>
            <a:spLocks noGrp="1" noRot="1" noMove="1" noResize="1" noEditPoints="1" noAdjustHandles="1" noChangeArrowheads="1" noChangeShapeType="1"/>
          </p:cNvSpPr>
          <p:nvPr>
            <p:ph type="ftr" sz="quarter" idx="16"/>
          </p:nvPr>
        </p:nvSpPr>
        <p:spPr>
          <a:xfrm>
            <a:off x="3251197" y="6485399"/>
            <a:ext cx="3716341" cy="282957"/>
          </a:xfrm>
          <a:noFill/>
        </p:spPr>
        <p:txBody>
          <a:bodyPr>
            <a:noAutofit/>
          </a:bodyPr>
          <a:lstStyle>
            <a:lvl1pPr algn="l">
              <a:defRPr>
                <a:solidFill>
                  <a:schemeClr val="bg1"/>
                </a:solidFill>
              </a:defRPr>
            </a:lvl1pPr>
          </a:lstStyle>
          <a:p>
            <a:endParaRPr lang="en-GB"/>
          </a:p>
        </p:txBody>
      </p:sp>
      <p:sp>
        <p:nvSpPr>
          <p:cNvPr id="14" name="Copyright Line">
            <a:extLst>
              <a:ext uri="{FF2B5EF4-FFF2-40B4-BE49-F238E27FC236}">
                <a16:creationId xmlns:a16="http://schemas.microsoft.com/office/drawing/2014/main" id="{F7126EC3-8C35-EE2B-ADB1-C715FE7A9F84}"/>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17" name="Contact Info Placeholder">
            <a:extLst>
              <a:ext uri="{FF2B5EF4-FFF2-40B4-BE49-F238E27FC236}">
                <a16:creationId xmlns:a16="http://schemas.microsoft.com/office/drawing/2014/main" id="{A3FB210C-3E75-B9CF-9D2B-068286A55F3F}"/>
              </a:ext>
            </a:extLst>
          </p:cNvPr>
          <p:cNvSpPr>
            <a:spLocks noGrp="1" noRot="1" noMove="1" noResize="1" noEditPoints="1" noAdjustHandles="1" noChangeArrowheads="1" noChangeShapeType="1"/>
          </p:cNvSpPr>
          <p:nvPr>
            <p:ph type="body" sz="quarter" idx="14"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Contact information</a:t>
            </a:r>
          </a:p>
        </p:txBody>
      </p:sp>
      <p:sp>
        <p:nvSpPr>
          <p:cNvPr id="24" name="Presenter Name Placeholder">
            <a:extLst>
              <a:ext uri="{FF2B5EF4-FFF2-40B4-BE49-F238E27FC236}">
                <a16:creationId xmlns:a16="http://schemas.microsoft.com/office/drawing/2014/main" id="{9CCE47FC-ABF8-A3D7-1819-33209FC9E53C}"/>
              </a:ext>
            </a:extLst>
          </p:cNvPr>
          <p:cNvSpPr>
            <a:spLocks noGrp="1" noRot="1" noMove="1" noResize="1" noEditPoints="1" noAdjustHandles="1" noChangeArrowheads="1" noChangeShapeType="1"/>
          </p:cNvSpPr>
          <p:nvPr>
            <p:ph type="body" sz="quarter" idx="13"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25" name="Subtitle Placeholder">
            <a:extLst>
              <a:ext uri="{FF2B5EF4-FFF2-40B4-BE49-F238E27FC236}">
                <a16:creationId xmlns:a16="http://schemas.microsoft.com/office/drawing/2014/main" id="{10BFC0B4-2BF4-2A65-9425-84381B182E3F}"/>
              </a:ext>
            </a:extLst>
          </p:cNvPr>
          <p:cNvSpPr>
            <a:spLocks noGrp="1" noRot="1" noMove="1" noResize="1" noEditPoints="1" noAdjustHandles="1" noChangeArrowheads="1" noChangeShapeType="1"/>
          </p:cNvSpPr>
          <p:nvPr>
            <p:ph type="body" idx="1" hasCustomPrompt="1"/>
          </p:nvPr>
        </p:nvSpPr>
        <p:spPr>
          <a:xfrm>
            <a:off x="292100" y="3136050"/>
            <a:ext cx="7121979" cy="829817"/>
          </a:xfrm>
        </p:spPr>
        <p:txBody>
          <a:bodyPr>
            <a:noAutofit/>
          </a:bodyPr>
          <a:lstStyle>
            <a:lvl1pPr marL="0" indent="0">
              <a:buNone/>
              <a:defRPr sz="24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all to action]</a:t>
            </a:r>
          </a:p>
        </p:txBody>
      </p:sp>
      <p:sp>
        <p:nvSpPr>
          <p:cNvPr id="27" name="Title Placeholder">
            <a:extLst>
              <a:ext uri="{FF2B5EF4-FFF2-40B4-BE49-F238E27FC236}">
                <a16:creationId xmlns:a16="http://schemas.microsoft.com/office/drawing/2014/main" id="{ABB00A9C-AB66-516A-550B-B734DF89C334}"/>
              </a:ext>
            </a:extLst>
          </p:cNvPr>
          <p:cNvSpPr>
            <a:spLocks noGrp="1" noRot="1" noMove="1" noResize="1" noEditPoints="1" noAdjustHandles="1" noChangeArrowheads="1" noChangeShapeType="1"/>
          </p:cNvSpPr>
          <p:nvPr>
            <p:ph type="title" hasCustomPrompt="1"/>
          </p:nvPr>
        </p:nvSpPr>
        <p:spPr>
          <a:xfrm>
            <a:off x="292100" y="953699"/>
            <a:ext cx="7121979" cy="1938435"/>
          </a:xfrm>
        </p:spPr>
        <p:txBody>
          <a:bodyPr anchor="b">
            <a:noAutofit/>
          </a:bodyPr>
          <a:lstStyle>
            <a:lvl1pPr>
              <a:defRPr sz="3600">
                <a:solidFill>
                  <a:schemeClr val="bg1"/>
                </a:solidFill>
              </a:defRPr>
            </a:lvl1pPr>
          </a:lstStyle>
          <a:p>
            <a:r>
              <a:rPr lang="en-US"/>
              <a:t>[Thank you]</a:t>
            </a:r>
            <a:endParaRPr lang="en-GB"/>
          </a:p>
        </p:txBody>
      </p:sp>
      <p:pic>
        <p:nvPicPr>
          <p:cNvPr id="3" name="NielsenIQ GFK lockup" hidden="1">
            <a:extLst>
              <a:ext uri="{FF2B5EF4-FFF2-40B4-BE49-F238E27FC236}">
                <a16:creationId xmlns:a16="http://schemas.microsoft.com/office/drawing/2014/main" id="{8991D051-ABB0-DBF5-92EA-40EAAEB0F576}"/>
              </a:ext>
            </a:extLst>
          </p:cNvPr>
          <p:cNvPicPr>
            <a:picLocks noGrp="1" noRo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86122" y="5539740"/>
            <a:ext cx="3377876" cy="753596"/>
          </a:xfrm>
          <a:prstGeom prst="rect">
            <a:avLst/>
          </a:prstGeom>
        </p:spPr>
      </p:pic>
      <p:pic>
        <p:nvPicPr>
          <p:cNvPr id="22" name="NielsenIQ logo+wordmark" descr="A blue text on a black background&#10;&#10;Description automatically generated" hidden="1">
            <a:extLst>
              <a:ext uri="{FF2B5EF4-FFF2-40B4-BE49-F238E27FC236}">
                <a16:creationId xmlns:a16="http://schemas.microsoft.com/office/drawing/2014/main" id="{B75E8267-9411-9919-62E4-BB9AB43721F4}"/>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tretch>
            <a:fillRect/>
          </a:stretch>
        </p:blipFill>
        <p:spPr>
          <a:xfrm>
            <a:off x="288558" y="5563212"/>
            <a:ext cx="2155411" cy="743616"/>
          </a:xfrm>
          <a:prstGeom prst="rect">
            <a:avLst/>
          </a:prstGeom>
        </p:spPr>
      </p:pic>
      <p:sp>
        <p:nvSpPr>
          <p:cNvPr id="28" name="Nielsen wordmark">
            <a:extLst>
              <a:ext uri="{FF2B5EF4-FFF2-40B4-BE49-F238E27FC236}">
                <a16:creationId xmlns:a16="http://schemas.microsoft.com/office/drawing/2014/main" id="{B8D9CC60-F1A1-B774-0169-5108239545D7}"/>
              </a:ext>
            </a:extLst>
          </p:cNvPr>
          <p:cNvSpPr>
            <a:spLocks noGrp="1" noRot="1" noMove="1" noResize="1" noEditPoints="1" noAdjustHandles="1" noChangeArrowheads="1" noChangeShapeType="1"/>
          </p:cNvSpPr>
          <p:nvPr userDrawn="1"/>
        </p:nvSpPr>
        <p:spPr>
          <a:xfrm>
            <a:off x="295274" y="5686380"/>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accent1"/>
          </a:solidFill>
          <a:ln w="7744" cap="flat">
            <a:noFill/>
            <a:prstDash val="solid"/>
            <a:miter/>
          </a:ln>
        </p:spPr>
        <p:txBody>
          <a:bodyPr wrap="square" rtlCol="0" anchor="ctr">
            <a:noAutofit/>
          </a:bodyPr>
          <a:lstStyle/>
          <a:p>
            <a:endParaRPr lang="en-US">
              <a:solidFill>
                <a:schemeClr val="bg1"/>
              </a:solidFill>
            </a:endParaRPr>
          </a:p>
        </p:txBody>
      </p:sp>
    </p:spTree>
    <p:extLst>
      <p:ext uri="{BB962C8B-B14F-4D97-AF65-F5344CB8AC3E}">
        <p14:creationId xmlns:p14="http://schemas.microsoft.com/office/powerpoint/2010/main" val="18590300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hank You Dark">
    <p:bg>
      <p:bgPr>
        <a:solidFill>
          <a:schemeClr val="tx2"/>
        </a:solidFill>
        <a:effectLst/>
      </p:bgPr>
    </p:bg>
    <p:spTree>
      <p:nvGrpSpPr>
        <p:cNvPr id="1" name=""/>
        <p:cNvGrpSpPr/>
        <p:nvPr/>
      </p:nvGrpSpPr>
      <p:grpSpPr>
        <a:xfrm>
          <a:off x="0" y="0"/>
          <a:ext cx="0" cy="0"/>
          <a:chOff x="0" y="0"/>
          <a:chExt cx="0" cy="0"/>
        </a:xfrm>
      </p:grpSpPr>
      <p:sp>
        <p:nvSpPr>
          <p:cNvPr id="39" name="Abstracted logo">
            <a:extLst>
              <a:ext uri="{FF2B5EF4-FFF2-40B4-BE49-F238E27FC236}">
                <a16:creationId xmlns:a16="http://schemas.microsoft.com/office/drawing/2014/main" id="{37C4672C-8363-CE87-84A0-A85A94F793F9}"/>
              </a:ext>
            </a:extLst>
          </p:cNvPr>
          <p:cNvSpPr>
            <a:spLocks noGrp="1" noRot="1" noMove="1" noResize="1" noEditPoints="1" noAdjustHandles="1" noChangeArrowheads="1" noChangeShapeType="1"/>
          </p:cNvSpPr>
          <p:nvPr/>
        </p:nvSpPr>
        <p:spPr>
          <a:xfrm>
            <a:off x="0" y="1"/>
            <a:ext cx="11495577" cy="6496681"/>
          </a:xfrm>
          <a:custGeom>
            <a:avLst/>
            <a:gdLst>
              <a:gd name="connsiteX0" fmla="*/ 0 w 11495577"/>
              <a:gd name="connsiteY0" fmla="*/ 0 h 6496681"/>
              <a:gd name="connsiteX1" fmla="*/ 704099 w 11495577"/>
              <a:gd name="connsiteY1" fmla="*/ 0 h 6496681"/>
              <a:gd name="connsiteX2" fmla="*/ 741689 w 11495577"/>
              <a:gd name="connsiteY2" fmla="*/ 102812 h 6496681"/>
              <a:gd name="connsiteX3" fmla="*/ 3783129 w 11495577"/>
              <a:gd name="connsiteY3" fmla="*/ 2118000 h 6496681"/>
              <a:gd name="connsiteX4" fmla="*/ 6824569 w 11495577"/>
              <a:gd name="connsiteY4" fmla="*/ 102812 h 6496681"/>
              <a:gd name="connsiteX5" fmla="*/ 6862160 w 11495577"/>
              <a:gd name="connsiteY5" fmla="*/ 0 h 6496681"/>
              <a:gd name="connsiteX6" fmla="*/ 10037149 w 11495577"/>
              <a:gd name="connsiteY6" fmla="*/ 0 h 6496681"/>
              <a:gd name="connsiteX7" fmla="*/ 10016547 w 11495577"/>
              <a:gd name="connsiteY7" fmla="*/ 118329 h 6496681"/>
              <a:gd name="connsiteX8" fmla="*/ 9239892 w 11495577"/>
              <a:gd name="connsiteY8" fmla="*/ 2084828 h 6496681"/>
              <a:gd name="connsiteX9" fmla="*/ 11495577 w 11495577"/>
              <a:gd name="connsiteY9" fmla="*/ 4340512 h 6496681"/>
              <a:gd name="connsiteX10" fmla="*/ 9339409 w 11495577"/>
              <a:gd name="connsiteY10" fmla="*/ 6496681 h 6496681"/>
              <a:gd name="connsiteX11" fmla="*/ 7083724 w 11495577"/>
              <a:gd name="connsiteY11" fmla="*/ 4224410 h 6496681"/>
              <a:gd name="connsiteX12" fmla="*/ 3799716 w 11495577"/>
              <a:gd name="connsiteY12" fmla="*/ 5153221 h 6496681"/>
              <a:gd name="connsiteX13" fmla="*/ 2713 w 11495577"/>
              <a:gd name="connsiteY13" fmla="*/ 3888664 h 6496681"/>
              <a:gd name="connsiteX14" fmla="*/ 0 w 11495577"/>
              <a:gd name="connsiteY14" fmla="*/ 3886530 h 649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95577" h="6496681">
                <a:moveTo>
                  <a:pt x="0" y="0"/>
                </a:moveTo>
                <a:lnTo>
                  <a:pt x="704099" y="0"/>
                </a:lnTo>
                <a:lnTo>
                  <a:pt x="741689" y="102812"/>
                </a:lnTo>
                <a:cubicBezTo>
                  <a:pt x="1242376" y="1287668"/>
                  <a:pt x="2414792" y="2118000"/>
                  <a:pt x="3783129" y="2118000"/>
                </a:cubicBezTo>
                <a:cubicBezTo>
                  <a:pt x="5151467" y="2118000"/>
                  <a:pt x="6323883" y="1287668"/>
                  <a:pt x="6824569" y="102812"/>
                </a:cubicBezTo>
                <a:lnTo>
                  <a:pt x="6862160" y="0"/>
                </a:lnTo>
                <a:lnTo>
                  <a:pt x="10037149" y="0"/>
                </a:lnTo>
                <a:lnTo>
                  <a:pt x="10016547" y="118329"/>
                </a:lnTo>
                <a:cubicBezTo>
                  <a:pt x="9868343" y="824040"/>
                  <a:pt x="9602709" y="1483589"/>
                  <a:pt x="9239892" y="2084828"/>
                </a:cubicBezTo>
                <a:lnTo>
                  <a:pt x="11495577" y="4340512"/>
                </a:lnTo>
                <a:lnTo>
                  <a:pt x="9339409" y="6496681"/>
                </a:lnTo>
                <a:lnTo>
                  <a:pt x="7083724" y="4224410"/>
                </a:lnTo>
                <a:cubicBezTo>
                  <a:pt x="6138328" y="4821503"/>
                  <a:pt x="5010486" y="5153221"/>
                  <a:pt x="3799716" y="5153221"/>
                </a:cubicBezTo>
                <a:cubicBezTo>
                  <a:pt x="2377992" y="5153221"/>
                  <a:pt x="1063024" y="4682402"/>
                  <a:pt x="2713" y="3888664"/>
                </a:cubicBezTo>
                <a:lnTo>
                  <a:pt x="0" y="3886530"/>
                </a:lnTo>
                <a:close/>
              </a:path>
            </a:pathLst>
          </a:custGeom>
          <a:solidFill>
            <a:srgbClr val="1F2358"/>
          </a:solidFill>
          <a:ln w="165830" cap="flat">
            <a:noFill/>
            <a:prstDash val="solid"/>
            <a:miter/>
          </a:ln>
        </p:spPr>
        <p:txBody>
          <a:bodyPr rtlCol="0" anchor="ctr">
            <a:noAutofit/>
          </a:bodyPr>
          <a:lstStyle/>
          <a:p>
            <a:endParaRPr lang="en-US"/>
          </a:p>
        </p:txBody>
      </p:sp>
      <p:sp>
        <p:nvSpPr>
          <p:cNvPr id="2" name="Confidential disclaimer">
            <a:extLst>
              <a:ext uri="{FF2B5EF4-FFF2-40B4-BE49-F238E27FC236}">
                <a16:creationId xmlns:a16="http://schemas.microsoft.com/office/drawing/2014/main" id="{CC2B4C36-E651-2950-6A7E-EA8C3223EADE}"/>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14" name="Copyright Line">
            <a:extLst>
              <a:ext uri="{FF2B5EF4-FFF2-40B4-BE49-F238E27FC236}">
                <a16:creationId xmlns:a16="http://schemas.microsoft.com/office/drawing/2014/main" id="{F7126EC3-8C35-EE2B-ADB1-C715FE7A9F84}"/>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17" name="Contact Info Placeholder">
            <a:extLst>
              <a:ext uri="{FF2B5EF4-FFF2-40B4-BE49-F238E27FC236}">
                <a16:creationId xmlns:a16="http://schemas.microsoft.com/office/drawing/2014/main" id="{A3FB210C-3E75-B9CF-9D2B-068286A55F3F}"/>
              </a:ext>
            </a:extLst>
          </p:cNvPr>
          <p:cNvSpPr>
            <a:spLocks noGrp="1" noRot="1" noMove="1" noResize="1" noEditPoints="1" noAdjustHandles="1" noChangeArrowheads="1" noChangeShapeType="1"/>
          </p:cNvSpPr>
          <p:nvPr>
            <p:ph type="body" sz="quarter" idx="14"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Contact information</a:t>
            </a:r>
          </a:p>
        </p:txBody>
      </p:sp>
      <p:sp>
        <p:nvSpPr>
          <p:cNvPr id="24" name="Presenter Name Placeholder">
            <a:extLst>
              <a:ext uri="{FF2B5EF4-FFF2-40B4-BE49-F238E27FC236}">
                <a16:creationId xmlns:a16="http://schemas.microsoft.com/office/drawing/2014/main" id="{9CCE47FC-ABF8-A3D7-1819-33209FC9E53C}"/>
              </a:ext>
            </a:extLst>
          </p:cNvPr>
          <p:cNvSpPr>
            <a:spLocks noGrp="1" noRot="1" noMove="1" noResize="1" noEditPoints="1" noAdjustHandles="1" noChangeArrowheads="1" noChangeShapeType="1"/>
          </p:cNvSpPr>
          <p:nvPr>
            <p:ph type="body" sz="quarter" idx="13"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25" name="Subtitle Placeholder">
            <a:extLst>
              <a:ext uri="{FF2B5EF4-FFF2-40B4-BE49-F238E27FC236}">
                <a16:creationId xmlns:a16="http://schemas.microsoft.com/office/drawing/2014/main" id="{10BFC0B4-2BF4-2A65-9425-84381B182E3F}"/>
              </a:ext>
            </a:extLst>
          </p:cNvPr>
          <p:cNvSpPr>
            <a:spLocks noGrp="1" noRot="1" noMove="1" noResize="1" noEditPoints="1" noAdjustHandles="1" noChangeArrowheads="1" noChangeShapeType="1"/>
          </p:cNvSpPr>
          <p:nvPr>
            <p:ph type="body" idx="1" hasCustomPrompt="1"/>
          </p:nvPr>
        </p:nvSpPr>
        <p:spPr>
          <a:xfrm>
            <a:off x="292100" y="3136050"/>
            <a:ext cx="7121979" cy="829817"/>
          </a:xfrm>
        </p:spPr>
        <p:txBody>
          <a:bodyPr>
            <a:noAutofit/>
          </a:bodyPr>
          <a:lstStyle>
            <a:lvl1pPr marL="0" indent="0">
              <a:buNone/>
              <a:defRPr sz="24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all to action]</a:t>
            </a:r>
          </a:p>
        </p:txBody>
      </p:sp>
      <p:sp>
        <p:nvSpPr>
          <p:cNvPr id="27" name="Title Placeholder">
            <a:extLst>
              <a:ext uri="{FF2B5EF4-FFF2-40B4-BE49-F238E27FC236}">
                <a16:creationId xmlns:a16="http://schemas.microsoft.com/office/drawing/2014/main" id="{ABB00A9C-AB66-516A-550B-B734DF89C334}"/>
              </a:ext>
            </a:extLst>
          </p:cNvPr>
          <p:cNvSpPr>
            <a:spLocks noGrp="1" noRot="1" noMove="1" noResize="1" noEditPoints="1" noAdjustHandles="1" noChangeArrowheads="1" noChangeShapeType="1"/>
          </p:cNvSpPr>
          <p:nvPr>
            <p:ph type="title" hasCustomPrompt="1"/>
          </p:nvPr>
        </p:nvSpPr>
        <p:spPr>
          <a:xfrm>
            <a:off x="292100" y="953699"/>
            <a:ext cx="7121979" cy="1938435"/>
          </a:xfrm>
        </p:spPr>
        <p:txBody>
          <a:bodyPr anchor="b">
            <a:noAutofit/>
          </a:bodyPr>
          <a:lstStyle>
            <a:lvl1pPr>
              <a:defRPr sz="3600">
                <a:solidFill>
                  <a:schemeClr val="bg1"/>
                </a:solidFill>
              </a:defRPr>
            </a:lvl1pPr>
          </a:lstStyle>
          <a:p>
            <a:r>
              <a:rPr lang="en-US"/>
              <a:t>[Thank you]</a:t>
            </a:r>
            <a:endParaRPr lang="en-GB"/>
          </a:p>
        </p:txBody>
      </p:sp>
      <p:pic>
        <p:nvPicPr>
          <p:cNvPr id="3" name="NielsenIQ GFK lockup" hidden="1">
            <a:extLst>
              <a:ext uri="{FF2B5EF4-FFF2-40B4-BE49-F238E27FC236}">
                <a16:creationId xmlns:a16="http://schemas.microsoft.com/office/drawing/2014/main" id="{8991D051-ABB0-DBF5-92EA-40EAAEB0F576}"/>
              </a:ext>
            </a:extLst>
          </p:cNvPr>
          <p:cNvPicPr>
            <a:picLocks noGrp="1" noRo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86122" y="5539740"/>
            <a:ext cx="3377876" cy="753596"/>
          </a:xfrm>
          <a:prstGeom prst="rect">
            <a:avLst/>
          </a:prstGeom>
        </p:spPr>
      </p:pic>
      <p:pic>
        <p:nvPicPr>
          <p:cNvPr id="22" name="NielsenIQ logo+wordmark" descr="A blue text on a black background&#10;&#10;Description automatically generated" hidden="1">
            <a:extLst>
              <a:ext uri="{FF2B5EF4-FFF2-40B4-BE49-F238E27FC236}">
                <a16:creationId xmlns:a16="http://schemas.microsoft.com/office/drawing/2014/main" id="{B75E8267-9411-9919-62E4-BB9AB43721F4}"/>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tretch>
            <a:fillRect/>
          </a:stretch>
        </p:blipFill>
        <p:spPr>
          <a:xfrm>
            <a:off x="288558" y="5563212"/>
            <a:ext cx="2155411" cy="743616"/>
          </a:xfrm>
          <a:prstGeom prst="rect">
            <a:avLst/>
          </a:prstGeom>
        </p:spPr>
      </p:pic>
      <p:sp>
        <p:nvSpPr>
          <p:cNvPr id="28" name="Nielsen wordmark">
            <a:extLst>
              <a:ext uri="{FF2B5EF4-FFF2-40B4-BE49-F238E27FC236}">
                <a16:creationId xmlns:a16="http://schemas.microsoft.com/office/drawing/2014/main" id="{B8D9CC60-F1A1-B774-0169-5108239545D7}"/>
              </a:ext>
            </a:extLst>
          </p:cNvPr>
          <p:cNvSpPr>
            <a:spLocks noGrp="1" noRot="1" noMove="1" noResize="1" noEditPoints="1" noAdjustHandles="1" noChangeArrowheads="1" noChangeShapeType="1"/>
          </p:cNvSpPr>
          <p:nvPr userDrawn="1"/>
        </p:nvSpPr>
        <p:spPr>
          <a:xfrm>
            <a:off x="295274" y="5686380"/>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accent3"/>
          </a:solidFill>
          <a:ln w="7744" cap="flat">
            <a:noFill/>
            <a:prstDash val="solid"/>
            <a:miter/>
          </a:ln>
        </p:spPr>
        <p:txBody>
          <a:bodyPr wrap="square" rtlCol="0" anchor="ctr">
            <a:noAutofit/>
          </a:bodyPr>
          <a:lstStyle/>
          <a:p>
            <a:endParaRPr lang="en-US">
              <a:solidFill>
                <a:schemeClr val="bg1"/>
              </a:solidFill>
            </a:endParaRPr>
          </a:p>
        </p:txBody>
      </p:sp>
    </p:spTree>
    <p:extLst>
      <p:ext uri="{BB962C8B-B14F-4D97-AF65-F5344CB8AC3E}">
        <p14:creationId xmlns:p14="http://schemas.microsoft.com/office/powerpoint/2010/main" val="22719373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08502663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yp_title_and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2F25C-611F-5946-A757-98CBE87CC8B7}"/>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noChangeAspect="1"/>
          </p:cNvSpPr>
          <p:nvPr>
            <p:ph type="body" sz="quarter" idx="13" hasCustomPrompt="1"/>
          </p:nvPr>
        </p:nvSpPr>
        <p:spPr>
          <a:xfrm>
            <a:off x="288558" y="845697"/>
            <a:ext cx="11582400"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
        <p:nvSpPr>
          <p:cNvPr id="11" name="Text Placeholder 10">
            <a:extLst>
              <a:ext uri="{FF2B5EF4-FFF2-40B4-BE49-F238E27FC236}">
                <a16:creationId xmlns:a16="http://schemas.microsoft.com/office/drawing/2014/main" id="{D84B7C4B-5E7C-3B57-7A87-AA7A24A5F2B5}"/>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5" name="Straight Connector 4">
            <a:extLst>
              <a:ext uri="{FF2B5EF4-FFF2-40B4-BE49-F238E27FC236}">
                <a16:creationId xmlns:a16="http://schemas.microsoft.com/office/drawing/2014/main" id="{6FD4EA98-BF31-5C57-6FCA-CC2DE7D012B7}"/>
              </a:ext>
            </a:extLst>
          </p:cNvPr>
          <p:cNvCxnSpPr>
            <a:cxnSpLocks/>
          </p:cNvCxnSpPr>
          <p:nvPr userDrawn="1"/>
        </p:nvCxnSpPr>
        <p:spPr>
          <a:xfrm>
            <a:off x="278932" y="718606"/>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592811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secHead" preserve="1">
  <p:cSld name="2_Section Header Blue">
    <p:spTree>
      <p:nvGrpSpPr>
        <p:cNvPr id="1" name=""/>
        <p:cNvGrpSpPr/>
        <p:nvPr/>
      </p:nvGrpSpPr>
      <p:grpSpPr>
        <a:xfrm>
          <a:off x="0" y="0"/>
          <a:ext cx="0" cy="0"/>
          <a:chOff x="0" y="0"/>
          <a:chExt cx="0" cy="0"/>
        </a:xfrm>
      </p:grpSpPr>
      <p:sp>
        <p:nvSpPr>
          <p:cNvPr id="7" name="Static Blue Bkgd">
            <a:extLst>
              <a:ext uri="{FF2B5EF4-FFF2-40B4-BE49-F238E27FC236}">
                <a16:creationId xmlns:a16="http://schemas.microsoft.com/office/drawing/2014/main" id="{D1093FDC-ACBE-C97A-79EC-30B506F35131}"/>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2D6D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Base Rule">
            <a:extLst>
              <a:ext uri="{FF2B5EF4-FFF2-40B4-BE49-F238E27FC236}">
                <a16:creationId xmlns:a16="http://schemas.microsoft.com/office/drawing/2014/main" id="{BF009615-489A-5DA8-222F-36CEB46D77B1}"/>
              </a:ext>
            </a:extLst>
          </p:cNvPr>
          <p:cNvCxnSpPr>
            <a:cxnSpLocks noGrp="1" noRot="1" noMove="1" noResize="1" noEditPoints="1" noAdjustHandles="1" noChangeArrowheads="1" noChangeShapeType="1"/>
          </p:cNvCxnSpPr>
          <p:nvPr userDrawn="1"/>
        </p:nvCxnSpPr>
        <p:spPr>
          <a:xfrm>
            <a:off x="292100" y="6395755"/>
            <a:ext cx="11607801"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6" name="Slide Number Placeholder">
            <a:extLst>
              <a:ext uri="{FF2B5EF4-FFF2-40B4-BE49-F238E27FC236}">
                <a16:creationId xmlns:a16="http://schemas.microsoft.com/office/drawing/2014/main" id="{74E97C96-6264-45A7-BD31-3F850D5B4046}"/>
              </a:ext>
            </a:extLst>
          </p:cNvPr>
          <p:cNvSpPr>
            <a:spLocks noGrp="1" noRot="1" noMove="1" noResize="1" noEditPoints="1" noAdjustHandles="1" noChangeArrowheads="1" noChangeShapeType="1"/>
          </p:cNvSpPr>
          <p:nvPr>
            <p:ph type="sldNum" sz="quarter" idx="12"/>
          </p:nvPr>
        </p:nvSpPr>
        <p:spPr/>
        <p:txBody>
          <a:bodyPr/>
          <a:lstStyle>
            <a:lvl1pPr>
              <a:defRPr>
                <a:solidFill>
                  <a:srgbClr val="FFFFFF"/>
                </a:solidFill>
              </a:defRPr>
            </a:lvl1pPr>
          </a:lstStyle>
          <a:p>
            <a:fld id="{3E04DF46-C0DC-4ADC-9A6F-918CC4703A43}" type="slidenum">
              <a:rPr lang="en-GB" smtClean="0"/>
              <a:pPr/>
              <a:t>‹#›</a:t>
            </a:fld>
            <a:endParaRPr lang="en-GB"/>
          </a:p>
        </p:txBody>
      </p:sp>
      <p:sp>
        <p:nvSpPr>
          <p:cNvPr id="8" name="Copyright Line">
            <a:extLst>
              <a:ext uri="{FF2B5EF4-FFF2-40B4-BE49-F238E27FC236}">
                <a16:creationId xmlns:a16="http://schemas.microsoft.com/office/drawing/2014/main" id="{D18F1FC4-106D-3BF8-BC65-D648A021FC0D}"/>
              </a:ext>
            </a:extLst>
          </p:cNvPr>
          <p:cNvSpPr txBox="1">
            <a:spLocks noGrp="1" noRot="1" noMove="1" noResize="1" noEditPoints="1" noAdjustHandles="1" noChangeArrowheads="1" noChangeShapeType="1"/>
          </p:cNvSpPr>
          <p:nvPr userDrawn="1"/>
        </p:nvSpPr>
        <p:spPr>
          <a:xfrm>
            <a:off x="9167809" y="6526849"/>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rgbClr val="BBBBBB"/>
                </a:solidFill>
              </a:rPr>
              <a:t>© </a:t>
            </a:r>
            <a:fld id="{92E70860-886D-4303-B2B5-BD1295E1FD39}" type="datetimeyyyy">
              <a:rPr lang="en-US" sz="700" smtClean="0">
                <a:solidFill>
                  <a:srgbClr val="BBBBBB"/>
                </a:solidFill>
              </a:rPr>
              <a:t>2024</a:t>
            </a:fld>
            <a:r>
              <a:rPr lang="en-US" sz="700">
                <a:solidFill>
                  <a:srgbClr val="BBBBBB"/>
                </a:solidFill>
              </a:rPr>
              <a:t> Nielsen Consumer LLC. All Rights Reserved.</a:t>
            </a:r>
          </a:p>
        </p:txBody>
      </p:sp>
      <p:sp>
        <p:nvSpPr>
          <p:cNvPr id="11" name="Confidential disclaimer">
            <a:extLst>
              <a:ext uri="{FF2B5EF4-FFF2-40B4-BE49-F238E27FC236}">
                <a16:creationId xmlns:a16="http://schemas.microsoft.com/office/drawing/2014/main" id="{6DA018A3-AFD9-D355-AE28-82676195255B}"/>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5" name="Footer Placeholder">
            <a:extLst>
              <a:ext uri="{FF2B5EF4-FFF2-40B4-BE49-F238E27FC236}">
                <a16:creationId xmlns:a16="http://schemas.microsoft.com/office/drawing/2014/main" id="{9E3F8F0F-7B47-2BB9-7F93-A25C99023E14}"/>
              </a:ext>
            </a:extLst>
          </p:cNvPr>
          <p:cNvSpPr>
            <a:spLocks noGrp="1" noRot="1" noMove="1" noResize="1" noEditPoints="1" noAdjustHandles="1" noChangeArrowheads="1" noChangeShapeType="1"/>
          </p:cNvSpPr>
          <p:nvPr>
            <p:ph type="ftr" sz="quarter" idx="11"/>
          </p:nvPr>
        </p:nvSpPr>
        <p:spPr>
          <a:solidFill>
            <a:schemeClr val="accent1"/>
          </a:solidFill>
        </p:spPr>
        <p:txBody>
          <a:bodyPr/>
          <a:lstStyle>
            <a:lvl1pPr>
              <a:defRPr>
                <a:solidFill>
                  <a:srgbClr val="FFFFFF"/>
                </a:solidFill>
              </a:defRPr>
            </a:lvl1pPr>
          </a:lstStyle>
          <a:p>
            <a:endParaRPr lang="en-GB"/>
          </a:p>
        </p:txBody>
      </p:sp>
      <p:sp>
        <p:nvSpPr>
          <p:cNvPr id="4" name="Date Placeholder">
            <a:extLst>
              <a:ext uri="{FF2B5EF4-FFF2-40B4-BE49-F238E27FC236}">
                <a16:creationId xmlns:a16="http://schemas.microsoft.com/office/drawing/2014/main" id="{51D28747-A5DD-1E44-1383-00C1095A0E2F}"/>
              </a:ext>
            </a:extLst>
          </p:cNvPr>
          <p:cNvSpPr>
            <a:spLocks noGrp="1" noRot="1" noMove="1" noResize="1" noEditPoints="1" noAdjustHandles="1" noChangeArrowheads="1" noChangeShapeType="1"/>
          </p:cNvSpPr>
          <p:nvPr>
            <p:ph type="dt" sz="half" idx="10"/>
          </p:nvPr>
        </p:nvSpPr>
        <p:spPr/>
        <p:txBody>
          <a:bodyPr/>
          <a:lstStyle>
            <a:lvl1pPr>
              <a:defRPr>
                <a:solidFill>
                  <a:srgbClr val="FFFFFF"/>
                </a:solidFill>
              </a:defRPr>
            </a:lvl1pPr>
          </a:lstStyle>
          <a:p>
            <a:fld id="{DE0BD3D1-6E87-4D3B-832D-3A9C60D16F09}" type="datetime1">
              <a:rPr lang="en-GB" smtClean="0"/>
              <a:t>18/11/2024</a:t>
            </a:fld>
            <a:endParaRPr lang="en-GB"/>
          </a:p>
        </p:txBody>
      </p:sp>
      <p:sp>
        <p:nvSpPr>
          <p:cNvPr id="3" name="Subtitle Placeholder">
            <a:extLst>
              <a:ext uri="{FF2B5EF4-FFF2-40B4-BE49-F238E27FC236}">
                <a16:creationId xmlns:a16="http://schemas.microsoft.com/office/drawing/2014/main" id="{811C7246-8A71-F257-DB0D-3E1F23CE6970}"/>
              </a:ext>
            </a:extLst>
          </p:cNvPr>
          <p:cNvSpPr>
            <a:spLocks noGrp="1" noRot="1" noMove="1" noResize="1" noEditPoints="1" noAdjustHandles="1" noChangeArrowheads="1" noChangeShapeType="1"/>
          </p:cNvSpPr>
          <p:nvPr>
            <p:ph type="body" idx="1"/>
          </p:nvPr>
        </p:nvSpPr>
        <p:spPr>
          <a:xfrm>
            <a:off x="292100" y="3945964"/>
            <a:ext cx="7121979" cy="1500187"/>
          </a:xfrm>
        </p:spPr>
        <p:txBody>
          <a:bodyPr>
            <a:noAutofit/>
          </a:bodyPr>
          <a:lstStyle>
            <a:lvl1pPr marL="0" indent="0">
              <a:buNone/>
              <a:defRPr sz="2000">
                <a:solidFill>
                  <a:srgbClr val="FFFFFF"/>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1219200"/>
            <a:ext cx="7121979" cy="2401887"/>
          </a:xfrm>
        </p:spPr>
        <p:txBody>
          <a:bodyPr anchor="b">
            <a:noAutofit/>
          </a:bodyPr>
          <a:lstStyle>
            <a:lvl1pPr>
              <a:defRPr sz="4400">
                <a:solidFill>
                  <a:srgbClr val="FFFFFF"/>
                </a:solidFill>
              </a:defRPr>
            </a:lvl1pPr>
          </a:lstStyle>
          <a:p>
            <a:r>
              <a:rPr lang="en-US"/>
              <a:t>Insert your section header title here maximum of three lines</a:t>
            </a:r>
            <a:endParaRPr lang="en-GB"/>
          </a:p>
        </p:txBody>
      </p:sp>
      <p:pic>
        <p:nvPicPr>
          <p:cNvPr id="14" name="NIQ GFK Lockup" hidden="1">
            <a:extLst>
              <a:ext uri="{FF2B5EF4-FFF2-40B4-BE49-F238E27FC236}">
                <a16:creationId xmlns:a16="http://schemas.microsoft.com/office/drawing/2014/main" id="{EAEBAA35-FD7E-BA1F-342A-81B244F88CFF}"/>
              </a:ext>
            </a:extLst>
          </p:cNvPr>
          <p:cNvPicPr>
            <a:picLocks noGrp="1" noRot="1" noChangeAspec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25" name="NielsenIQ logo+wordmark" hidden="1">
            <a:extLst>
              <a:ext uri="{FF2B5EF4-FFF2-40B4-BE49-F238E27FC236}">
                <a16:creationId xmlns:a16="http://schemas.microsoft.com/office/drawing/2014/main" id="{598FBCD8-A3EE-4A06-6724-A1F5D7027567}"/>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rcRect/>
          <a:stretch/>
        </p:blipFill>
        <p:spPr>
          <a:xfrm>
            <a:off x="290132" y="6495154"/>
            <a:ext cx="781428" cy="269593"/>
          </a:xfrm>
          <a:prstGeom prst="rect">
            <a:avLst/>
          </a:prstGeom>
        </p:spPr>
      </p:pic>
      <p:pic>
        <p:nvPicPr>
          <p:cNvPr id="22" name="NIQ Logo">
            <a:extLst>
              <a:ext uri="{FF2B5EF4-FFF2-40B4-BE49-F238E27FC236}">
                <a16:creationId xmlns:a16="http://schemas.microsoft.com/office/drawing/2014/main" id="{C3AC3518-07F7-E20B-4D4C-9D6C3D043778}"/>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39216114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secHead" preserve="1">
  <p:cSld name="1_Section Header Dark">
    <p:spTree>
      <p:nvGrpSpPr>
        <p:cNvPr id="1" name=""/>
        <p:cNvGrpSpPr/>
        <p:nvPr/>
      </p:nvGrpSpPr>
      <p:grpSpPr>
        <a:xfrm>
          <a:off x="0" y="0"/>
          <a:ext cx="0" cy="0"/>
          <a:chOff x="0" y="0"/>
          <a:chExt cx="0" cy="0"/>
        </a:xfrm>
      </p:grpSpPr>
      <p:sp>
        <p:nvSpPr>
          <p:cNvPr id="7" name="Static Dark Bkgd">
            <a:extLst>
              <a:ext uri="{FF2B5EF4-FFF2-40B4-BE49-F238E27FC236}">
                <a16:creationId xmlns:a16="http://schemas.microsoft.com/office/drawing/2014/main" id="{D1093FDC-ACBE-C97A-79EC-30B506F35131}"/>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060A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Base Rule">
            <a:extLst>
              <a:ext uri="{FF2B5EF4-FFF2-40B4-BE49-F238E27FC236}">
                <a16:creationId xmlns:a16="http://schemas.microsoft.com/office/drawing/2014/main" id="{BF009615-489A-5DA8-222F-36CEB46D77B1}"/>
              </a:ext>
            </a:extLst>
          </p:cNvPr>
          <p:cNvCxnSpPr>
            <a:cxnSpLocks noGrp="1" noRot="1" noMove="1" noResize="1" noEditPoints="1" noAdjustHandles="1" noChangeArrowheads="1" noChangeShapeType="1"/>
          </p:cNvCxnSpPr>
          <p:nvPr userDrawn="1"/>
        </p:nvCxnSpPr>
        <p:spPr>
          <a:xfrm>
            <a:off x="292100" y="6395755"/>
            <a:ext cx="11607801"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6" name="Slide Number Placeholder">
            <a:extLst>
              <a:ext uri="{FF2B5EF4-FFF2-40B4-BE49-F238E27FC236}">
                <a16:creationId xmlns:a16="http://schemas.microsoft.com/office/drawing/2014/main" id="{74E97C96-6264-45A7-BD31-3F850D5B4046}"/>
              </a:ext>
            </a:extLst>
          </p:cNvPr>
          <p:cNvSpPr>
            <a:spLocks noGrp="1" noRot="1" noMove="1" noResize="1" noEditPoints="1" noAdjustHandles="1" noChangeArrowheads="1" noChangeShapeType="1"/>
          </p:cNvSpPr>
          <p:nvPr>
            <p:ph type="sldNum" sz="quarter" idx="12"/>
          </p:nvPr>
        </p:nvSpPr>
        <p:spPr/>
        <p:txBody>
          <a:bodyPr/>
          <a:lstStyle>
            <a:lvl1pPr>
              <a:defRPr>
                <a:solidFill>
                  <a:srgbClr val="FFFFFF"/>
                </a:solidFill>
              </a:defRPr>
            </a:lvl1pPr>
          </a:lstStyle>
          <a:p>
            <a:fld id="{3E04DF46-C0DC-4ADC-9A6F-918CC4703A43}" type="slidenum">
              <a:rPr lang="en-GB" smtClean="0"/>
              <a:pPr/>
              <a:t>‹#›</a:t>
            </a:fld>
            <a:endParaRPr lang="en-GB"/>
          </a:p>
        </p:txBody>
      </p:sp>
      <p:sp>
        <p:nvSpPr>
          <p:cNvPr id="8" name="Copyright Line">
            <a:extLst>
              <a:ext uri="{FF2B5EF4-FFF2-40B4-BE49-F238E27FC236}">
                <a16:creationId xmlns:a16="http://schemas.microsoft.com/office/drawing/2014/main" id="{D18F1FC4-106D-3BF8-BC65-D648A021FC0D}"/>
              </a:ext>
            </a:extLst>
          </p:cNvPr>
          <p:cNvSpPr txBox="1">
            <a:spLocks noGrp="1" noRot="1" noMove="1" noResize="1" noEditPoints="1" noAdjustHandles="1" noChangeArrowheads="1" noChangeShapeType="1"/>
          </p:cNvSpPr>
          <p:nvPr userDrawn="1"/>
        </p:nvSpPr>
        <p:spPr>
          <a:xfrm>
            <a:off x="9167809" y="6526849"/>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rgbClr val="BBBBBB"/>
                </a:solidFill>
              </a:rPr>
              <a:t>© </a:t>
            </a:r>
            <a:fld id="{92E70860-886D-4303-B2B5-BD1295E1FD39}" type="datetimeyyyy">
              <a:rPr lang="en-US" sz="700" smtClean="0">
                <a:solidFill>
                  <a:srgbClr val="BBBBBB"/>
                </a:solidFill>
              </a:rPr>
              <a:t>2024</a:t>
            </a:fld>
            <a:r>
              <a:rPr lang="en-US" sz="700">
                <a:solidFill>
                  <a:srgbClr val="BBBBBB"/>
                </a:solidFill>
              </a:rPr>
              <a:t> Nielsen Consumer LLC. All Rights Reserved.</a:t>
            </a:r>
          </a:p>
        </p:txBody>
      </p:sp>
      <p:sp>
        <p:nvSpPr>
          <p:cNvPr id="11" name="Confidential disclaimer">
            <a:extLst>
              <a:ext uri="{FF2B5EF4-FFF2-40B4-BE49-F238E27FC236}">
                <a16:creationId xmlns:a16="http://schemas.microsoft.com/office/drawing/2014/main" id="{E92240A2-16A2-92E0-CB79-8A8DDCBFE3B1}"/>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5" name="Footer Placeholder">
            <a:extLst>
              <a:ext uri="{FF2B5EF4-FFF2-40B4-BE49-F238E27FC236}">
                <a16:creationId xmlns:a16="http://schemas.microsoft.com/office/drawing/2014/main" id="{9E3F8F0F-7B47-2BB9-7F93-A25C99023E14}"/>
              </a:ext>
            </a:extLst>
          </p:cNvPr>
          <p:cNvSpPr>
            <a:spLocks noGrp="1" noRot="1" noMove="1" noResize="1" noEditPoints="1" noAdjustHandles="1" noChangeArrowheads="1" noChangeShapeType="1"/>
          </p:cNvSpPr>
          <p:nvPr>
            <p:ph type="ftr" sz="quarter" idx="11"/>
          </p:nvPr>
        </p:nvSpPr>
        <p:spPr>
          <a:solidFill>
            <a:schemeClr val="tx2"/>
          </a:solidFill>
        </p:spPr>
        <p:txBody>
          <a:bodyPr/>
          <a:lstStyle>
            <a:lvl1pPr>
              <a:defRPr>
                <a:solidFill>
                  <a:srgbClr val="FFFFFF"/>
                </a:solidFill>
              </a:defRPr>
            </a:lvl1pPr>
          </a:lstStyle>
          <a:p>
            <a:endParaRPr lang="en-GB"/>
          </a:p>
        </p:txBody>
      </p:sp>
      <p:sp>
        <p:nvSpPr>
          <p:cNvPr id="4" name="Date Placeholder">
            <a:extLst>
              <a:ext uri="{FF2B5EF4-FFF2-40B4-BE49-F238E27FC236}">
                <a16:creationId xmlns:a16="http://schemas.microsoft.com/office/drawing/2014/main" id="{51D28747-A5DD-1E44-1383-00C1095A0E2F}"/>
              </a:ext>
            </a:extLst>
          </p:cNvPr>
          <p:cNvSpPr>
            <a:spLocks noGrp="1" noRot="1" noMove="1" noResize="1" noEditPoints="1" noAdjustHandles="1" noChangeArrowheads="1" noChangeShapeType="1"/>
          </p:cNvSpPr>
          <p:nvPr>
            <p:ph type="dt" sz="half" idx="10"/>
          </p:nvPr>
        </p:nvSpPr>
        <p:spPr/>
        <p:txBody>
          <a:bodyPr/>
          <a:lstStyle>
            <a:lvl1pPr>
              <a:defRPr>
                <a:solidFill>
                  <a:srgbClr val="FFFFFF"/>
                </a:solidFill>
              </a:defRPr>
            </a:lvl1pPr>
          </a:lstStyle>
          <a:p>
            <a:fld id="{83E59825-7B6A-49C3-B207-8F8E163BC2C4}" type="datetime1">
              <a:rPr lang="en-GB" smtClean="0"/>
              <a:t>18/11/2024</a:t>
            </a:fld>
            <a:endParaRPr lang="en-GB"/>
          </a:p>
        </p:txBody>
      </p:sp>
      <p:sp>
        <p:nvSpPr>
          <p:cNvPr id="3" name="Subtitle Placeholder">
            <a:extLst>
              <a:ext uri="{FF2B5EF4-FFF2-40B4-BE49-F238E27FC236}">
                <a16:creationId xmlns:a16="http://schemas.microsoft.com/office/drawing/2014/main" id="{811C7246-8A71-F257-DB0D-3E1F23CE6970}"/>
              </a:ext>
            </a:extLst>
          </p:cNvPr>
          <p:cNvSpPr>
            <a:spLocks noGrp="1" noRot="1" noMove="1" noResize="1" noEditPoints="1" noAdjustHandles="1" noChangeArrowheads="1" noChangeShapeType="1"/>
          </p:cNvSpPr>
          <p:nvPr>
            <p:ph type="body" idx="1"/>
          </p:nvPr>
        </p:nvSpPr>
        <p:spPr>
          <a:xfrm>
            <a:off x="292100" y="3945964"/>
            <a:ext cx="7121979" cy="1500187"/>
          </a:xfrm>
        </p:spPr>
        <p:txBody>
          <a:bodyPr>
            <a:noAutofit/>
          </a:bodyPr>
          <a:lstStyle>
            <a:lvl1pPr marL="0" indent="0">
              <a:buNone/>
              <a:defRPr sz="2000">
                <a:solidFill>
                  <a:srgbClr val="FFFFFF"/>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2" name="Title Placeholder">
            <a:extLst>
              <a:ext uri="{FF2B5EF4-FFF2-40B4-BE49-F238E27FC236}">
                <a16:creationId xmlns:a16="http://schemas.microsoft.com/office/drawing/2014/main" id="{D9E3A23B-F3DB-B7EF-DCB8-D944C23E6D3B}"/>
              </a:ext>
            </a:extLst>
          </p:cNvPr>
          <p:cNvSpPr>
            <a:spLocks noGrp="1" noRot="1" noMove="1" noResize="1" noEditPoints="1" noAdjustHandles="1" noChangeArrowheads="1" noChangeShapeType="1"/>
          </p:cNvSpPr>
          <p:nvPr>
            <p:ph type="title" hasCustomPrompt="1"/>
          </p:nvPr>
        </p:nvSpPr>
        <p:spPr>
          <a:xfrm>
            <a:off x="292100" y="1219200"/>
            <a:ext cx="7121979" cy="2401887"/>
          </a:xfrm>
        </p:spPr>
        <p:txBody>
          <a:bodyPr anchor="b">
            <a:noAutofit/>
          </a:bodyPr>
          <a:lstStyle>
            <a:lvl1pPr>
              <a:defRPr sz="4400">
                <a:solidFill>
                  <a:srgbClr val="FFFFFF"/>
                </a:solidFill>
              </a:defRPr>
            </a:lvl1pPr>
          </a:lstStyle>
          <a:p>
            <a:r>
              <a:rPr lang="en-US"/>
              <a:t>Insert your section header title here maximum of three lines</a:t>
            </a:r>
            <a:endParaRPr lang="en-GB"/>
          </a:p>
        </p:txBody>
      </p:sp>
      <p:pic>
        <p:nvPicPr>
          <p:cNvPr id="9" name="NIQ GFK Lockup" hidden="1">
            <a:extLst>
              <a:ext uri="{FF2B5EF4-FFF2-40B4-BE49-F238E27FC236}">
                <a16:creationId xmlns:a16="http://schemas.microsoft.com/office/drawing/2014/main" id="{F72C93F2-029A-F706-FCA1-C00C6620AA84}"/>
              </a:ext>
            </a:extLst>
          </p:cNvPr>
          <p:cNvPicPr>
            <a:picLocks noGrp="1" noRot="1" noMove="1" noResize="1" noEditPoints="1" noAdjustHandles="1" noChangeArrowheads="1" noChangeShapeType="1" noCrop="1"/>
          </p:cNvPicPr>
          <p:nvPr userDrawn="1"/>
        </p:nvPicPr>
        <p:blipFill rotWithShape="1">
          <a:blip r:embed="rId2"/>
          <a:srcRect l="23" r="23"/>
          <a:stretch/>
        </p:blipFill>
        <p:spPr>
          <a:xfrm>
            <a:off x="302626" y="6462285"/>
            <a:ext cx="906224" cy="329184"/>
          </a:xfrm>
          <a:prstGeom prst="rect">
            <a:avLst/>
          </a:prstGeom>
        </p:spPr>
      </p:pic>
      <p:pic>
        <p:nvPicPr>
          <p:cNvPr id="24" name="NielsenIQ logo+wordmark" descr="A blue text on a black background&#10;&#10;Description automatically generated" hidden="1">
            <a:extLst>
              <a:ext uri="{FF2B5EF4-FFF2-40B4-BE49-F238E27FC236}">
                <a16:creationId xmlns:a16="http://schemas.microsoft.com/office/drawing/2014/main" id="{30EA2721-2669-7CC1-263F-E48ACB34B739}"/>
              </a:ext>
            </a:extLst>
          </p:cNvPr>
          <p:cNvPicPr>
            <a:picLocks noGrp="1" noRot="1" noChangeAspect="1" noMove="1" noResize="1" noEditPoints="1" noAdjustHandles="1" noChangeArrowheads="1" noChangeShapeType="1" noCrop="1"/>
          </p:cNvPicPr>
          <p:nvPr userDrawn="1"/>
        </p:nvPicPr>
        <p:blipFill>
          <a:blip r:embed="rId3" cstate="print">
            <a:extLst>
              <a:ext uri="{28A0092B-C50C-407E-A947-70E740481C1C}">
                <a14:useLocalDpi xmlns:a14="http://schemas.microsoft.com/office/drawing/2010/main" val="0"/>
              </a:ext>
            </a:extLst>
          </a:blip>
          <a:stretch>
            <a:fillRect/>
          </a:stretch>
        </p:blipFill>
        <p:spPr>
          <a:xfrm>
            <a:off x="290130" y="6495154"/>
            <a:ext cx="781433" cy="269593"/>
          </a:xfrm>
          <a:prstGeom prst="rect">
            <a:avLst/>
          </a:prstGeom>
        </p:spPr>
      </p:pic>
      <p:pic>
        <p:nvPicPr>
          <p:cNvPr id="22" name="NIQ Logo">
            <a:extLst>
              <a:ext uri="{FF2B5EF4-FFF2-40B4-BE49-F238E27FC236}">
                <a16:creationId xmlns:a16="http://schemas.microsoft.com/office/drawing/2014/main" id="{C2F586F8-1BDB-2AFF-F8FE-C01DC3808778}"/>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14238366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6791521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1_cobranded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Q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
        <p:nvSpPr>
          <p:cNvPr id="5" name="Picture Placeholder 7">
            <a:extLst>
              <a:ext uri="{FF2B5EF4-FFF2-40B4-BE49-F238E27FC236}">
                <a16:creationId xmlns:a16="http://schemas.microsoft.com/office/drawing/2014/main" id="{6D756667-F2D3-52FC-1B79-5EA11BFFDEA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34318299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5366981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Photo Circle Blue">
    <p:spTree>
      <p:nvGrpSpPr>
        <p:cNvPr id="1" name=""/>
        <p:cNvGrpSpPr/>
        <p:nvPr/>
      </p:nvGrpSpPr>
      <p:grpSpPr>
        <a:xfrm>
          <a:off x="0" y="0"/>
          <a:ext cx="0" cy="0"/>
          <a:chOff x="0" y="0"/>
          <a:chExt cx="0" cy="0"/>
        </a:xfrm>
      </p:grpSpPr>
      <p:sp>
        <p:nvSpPr>
          <p:cNvPr id="29" name="Static Light Bkgd">
            <a:extLst>
              <a:ext uri="{FF2B5EF4-FFF2-40B4-BE49-F238E27FC236}">
                <a16:creationId xmlns:a16="http://schemas.microsoft.com/office/drawing/2014/main" id="{EE705342-7994-AFF3-15FD-F6FDEC9AE6B0}"/>
              </a:ext>
            </a:extLst>
          </p:cNvPr>
          <p:cNvSpPr>
            <a:spLocks noGrp="1" noRot="1" noMove="1" noResize="1" noEditPoints="1" noAdjustHandles="1" noChangeArrowheads="1" noChangeShapeType="1"/>
          </p:cNvSpPr>
          <p:nvPr userDrawn="1"/>
        </p:nvSpPr>
        <p:spPr>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Photo Accent Circles">
            <a:extLst>
              <a:ext uri="{FF2B5EF4-FFF2-40B4-BE49-F238E27FC236}">
                <a16:creationId xmlns:a16="http://schemas.microsoft.com/office/drawing/2014/main" id="{142AC587-6F39-6154-A37A-868A63F4F005}"/>
              </a:ext>
            </a:extLst>
          </p:cNvPr>
          <p:cNvGrpSpPr>
            <a:grpSpLocks noGrp="1" noUngrp="1" noRot="1" noMove="1" noResize="1"/>
          </p:cNvGrpSpPr>
          <p:nvPr userDrawn="1"/>
        </p:nvGrpSpPr>
        <p:grpSpPr>
          <a:xfrm>
            <a:off x="5942370" y="1"/>
            <a:ext cx="6249631" cy="6778171"/>
            <a:chOff x="5942370" y="1"/>
            <a:chExt cx="6249631" cy="6778171"/>
          </a:xfrm>
        </p:grpSpPr>
        <p:sp>
          <p:nvSpPr>
            <p:cNvPr id="28" name="Freeform: Shape 27">
              <a:extLst>
                <a:ext uri="{FF2B5EF4-FFF2-40B4-BE49-F238E27FC236}">
                  <a16:creationId xmlns:a16="http://schemas.microsoft.com/office/drawing/2014/main" id="{41DBC157-DD06-141E-B188-1EB8D24163C1}"/>
                </a:ext>
              </a:extLst>
            </p:cNvPr>
            <p:cNvSpPr>
              <a:spLocks noGrp="1" noRot="1" noMove="1" noResize="1" noEditPoints="1" noAdjustHandles="1" noChangeArrowheads="1" noChangeShapeType="1"/>
            </p:cNvSpPr>
            <p:nvPr userDrawn="1"/>
          </p:nvSpPr>
          <p:spPr>
            <a:xfrm>
              <a:off x="5942370" y="1"/>
              <a:ext cx="6249631" cy="6778171"/>
            </a:xfrm>
            <a:custGeom>
              <a:avLst/>
              <a:gdLst>
                <a:gd name="connsiteX0" fmla="*/ 1133398 w 6249631"/>
                <a:gd name="connsiteY0" fmla="*/ 0 h 6778171"/>
                <a:gd name="connsiteX1" fmla="*/ 6249631 w 6249631"/>
                <a:gd name="connsiteY1" fmla="*/ 0 h 6778171"/>
                <a:gd name="connsiteX2" fmla="*/ 6249631 w 6249631"/>
                <a:gd name="connsiteY2" fmla="*/ 6079239 h 6778171"/>
                <a:gd name="connsiteX3" fmla="*/ 6227147 w 6249631"/>
                <a:gd name="connsiteY3" fmla="*/ 6096052 h 6778171"/>
                <a:gd name="connsiteX4" fmla="*/ 3994041 w 6249631"/>
                <a:gd name="connsiteY4" fmla="*/ 6778171 h 6778171"/>
                <a:gd name="connsiteX5" fmla="*/ 0 w 6249631"/>
                <a:gd name="connsiteY5" fmla="*/ 2784130 h 6778171"/>
                <a:gd name="connsiteX6" fmla="*/ 912045 w 6249631"/>
                <a:gd name="connsiteY6" fmla="*/ 243549 h 6778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9631" h="6778171">
                  <a:moveTo>
                    <a:pt x="1133398" y="0"/>
                  </a:moveTo>
                  <a:lnTo>
                    <a:pt x="6249631" y="0"/>
                  </a:lnTo>
                  <a:lnTo>
                    <a:pt x="6249631" y="6079239"/>
                  </a:lnTo>
                  <a:lnTo>
                    <a:pt x="6227147" y="6096052"/>
                  </a:lnTo>
                  <a:cubicBezTo>
                    <a:pt x="5589694" y="6526707"/>
                    <a:pt x="4821234" y="6778171"/>
                    <a:pt x="3994041" y="6778171"/>
                  </a:cubicBezTo>
                  <a:cubicBezTo>
                    <a:pt x="1788193" y="6778171"/>
                    <a:pt x="0" y="4989978"/>
                    <a:pt x="0" y="2784130"/>
                  </a:cubicBezTo>
                  <a:cubicBezTo>
                    <a:pt x="0" y="1819072"/>
                    <a:pt x="342272" y="933955"/>
                    <a:pt x="912045" y="243549"/>
                  </a:cubicBezTo>
                  <a:close/>
                </a:path>
              </a:pathLst>
            </a:custGeom>
            <a:solidFill>
              <a:srgbClr val="0A52ED"/>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a:p>
          </p:txBody>
        </p:sp>
        <p:sp>
          <p:nvSpPr>
            <p:cNvPr id="21" name="Freeform: Shape 20">
              <a:extLst>
                <a:ext uri="{FF2B5EF4-FFF2-40B4-BE49-F238E27FC236}">
                  <a16:creationId xmlns:a16="http://schemas.microsoft.com/office/drawing/2014/main" id="{95D9CB59-0278-69D3-1B88-9D97D9D9BF66}"/>
                </a:ext>
              </a:extLst>
            </p:cNvPr>
            <p:cNvSpPr>
              <a:spLocks noGrp="1" noRot="1" noMove="1" noResize="1" noEditPoints="1" noAdjustHandles="1" noChangeArrowheads="1" noChangeShapeType="1"/>
            </p:cNvSpPr>
            <p:nvPr userDrawn="1"/>
          </p:nvSpPr>
          <p:spPr>
            <a:xfrm>
              <a:off x="6596886" y="1"/>
              <a:ext cx="5595114" cy="6115087"/>
            </a:xfrm>
            <a:custGeom>
              <a:avLst/>
              <a:gdLst>
                <a:gd name="connsiteX0" fmla="*/ 1504880 w 5595114"/>
                <a:gd name="connsiteY0" fmla="*/ 0 h 6115087"/>
                <a:gd name="connsiteX1" fmla="*/ 5157035 w 5595114"/>
                <a:gd name="connsiteY1" fmla="*/ 0 h 6115087"/>
                <a:gd name="connsiteX2" fmla="*/ 5193327 w 5595114"/>
                <a:gd name="connsiteY2" fmla="*/ 22048 h 6115087"/>
                <a:gd name="connsiteX3" fmla="*/ 5449755 w 5595114"/>
                <a:gd name="connsiteY3" fmla="*/ 213802 h 6115087"/>
                <a:gd name="connsiteX4" fmla="*/ 5595114 w 5595114"/>
                <a:gd name="connsiteY4" fmla="*/ 345913 h 6115087"/>
                <a:gd name="connsiteX5" fmla="*/ 5595114 w 5595114"/>
                <a:gd name="connsiteY5" fmla="*/ 5222347 h 6115087"/>
                <a:gd name="connsiteX6" fmla="*/ 5449755 w 5595114"/>
                <a:gd name="connsiteY6" fmla="*/ 5354459 h 6115087"/>
                <a:gd name="connsiteX7" fmla="*/ 3330957 w 5595114"/>
                <a:gd name="connsiteY7" fmla="*/ 6115087 h 6115087"/>
                <a:gd name="connsiteX8" fmla="*/ 0 w 5595114"/>
                <a:gd name="connsiteY8" fmla="*/ 2784130 h 6115087"/>
                <a:gd name="connsiteX9" fmla="*/ 1468588 w 5595114"/>
                <a:gd name="connsiteY9" fmla="*/ 22048 h 611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5114" h="6115087">
                  <a:moveTo>
                    <a:pt x="1504880" y="0"/>
                  </a:moveTo>
                  <a:lnTo>
                    <a:pt x="5157035" y="0"/>
                  </a:lnTo>
                  <a:lnTo>
                    <a:pt x="5193327" y="22048"/>
                  </a:lnTo>
                  <a:cubicBezTo>
                    <a:pt x="5281931" y="81908"/>
                    <a:pt x="5367500" y="145919"/>
                    <a:pt x="5449755" y="213802"/>
                  </a:cubicBezTo>
                  <a:lnTo>
                    <a:pt x="5595114" y="345913"/>
                  </a:lnTo>
                  <a:lnTo>
                    <a:pt x="5595114" y="5222347"/>
                  </a:lnTo>
                  <a:lnTo>
                    <a:pt x="5449755" y="5354459"/>
                  </a:lnTo>
                  <a:cubicBezTo>
                    <a:pt x="4873969" y="5829639"/>
                    <a:pt x="4135798" y="6115087"/>
                    <a:pt x="3330957" y="6115087"/>
                  </a:cubicBezTo>
                  <a:cubicBezTo>
                    <a:pt x="1491320" y="6115087"/>
                    <a:pt x="0" y="4623767"/>
                    <a:pt x="0" y="2784130"/>
                  </a:cubicBezTo>
                  <a:cubicBezTo>
                    <a:pt x="0" y="1634357"/>
                    <a:pt x="582547" y="620645"/>
                    <a:pt x="1468588" y="22048"/>
                  </a:cubicBezTo>
                  <a:close/>
                </a:path>
              </a:pathLst>
            </a:custGeom>
            <a:solidFill>
              <a:srgbClr val="0946C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rgbClr val="DADADA"/>
                </a:solidFill>
              </a:endParaRPr>
            </a:p>
          </p:txBody>
        </p:sp>
        <p:sp>
          <p:nvSpPr>
            <p:cNvPr id="23" name="Freeform: Shape 22">
              <a:extLst>
                <a:ext uri="{FF2B5EF4-FFF2-40B4-BE49-F238E27FC236}">
                  <a16:creationId xmlns:a16="http://schemas.microsoft.com/office/drawing/2014/main" id="{CEF44984-8F7A-8C11-AE43-676924BE717A}"/>
                </a:ext>
              </a:extLst>
            </p:cNvPr>
            <p:cNvSpPr>
              <a:spLocks noGrp="1" noRot="1" noMove="1" noResize="1" noEditPoints="1" noAdjustHandles="1" noChangeArrowheads="1" noChangeShapeType="1"/>
            </p:cNvSpPr>
            <p:nvPr userDrawn="1"/>
          </p:nvSpPr>
          <p:spPr>
            <a:xfrm>
              <a:off x="7172234" y="28520"/>
              <a:ext cx="5019767" cy="5511220"/>
            </a:xfrm>
            <a:custGeom>
              <a:avLst/>
              <a:gdLst>
                <a:gd name="connsiteX0" fmla="*/ 2755610 w 5019767"/>
                <a:gd name="connsiteY0" fmla="*/ 0 h 5511220"/>
                <a:gd name="connsiteX1" fmla="*/ 4881972 w 5019767"/>
                <a:gd name="connsiteY1" fmla="*/ 1002786 h 5511220"/>
                <a:gd name="connsiteX2" fmla="*/ 5019767 w 5019767"/>
                <a:gd name="connsiteY2" fmla="*/ 1187056 h 5511220"/>
                <a:gd name="connsiteX3" fmla="*/ 5019767 w 5019767"/>
                <a:gd name="connsiteY3" fmla="*/ 4324164 h 5511220"/>
                <a:gd name="connsiteX4" fmla="*/ 4881972 w 5019767"/>
                <a:gd name="connsiteY4" fmla="*/ 4508434 h 5511220"/>
                <a:gd name="connsiteX5" fmla="*/ 2755610 w 5019767"/>
                <a:gd name="connsiteY5" fmla="*/ 5511220 h 5511220"/>
                <a:gd name="connsiteX6" fmla="*/ 0 w 5019767"/>
                <a:gd name="connsiteY6" fmla="*/ 2755610 h 5511220"/>
                <a:gd name="connsiteX7" fmla="*/ 2755610 w 5019767"/>
                <a:gd name="connsiteY7" fmla="*/ 0 h 5511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19767" h="5511220">
                  <a:moveTo>
                    <a:pt x="2755610" y="0"/>
                  </a:moveTo>
                  <a:cubicBezTo>
                    <a:pt x="3611668" y="0"/>
                    <a:pt x="4376553" y="390360"/>
                    <a:pt x="4881972" y="1002786"/>
                  </a:cubicBezTo>
                  <a:lnTo>
                    <a:pt x="5019767" y="1187056"/>
                  </a:lnTo>
                  <a:lnTo>
                    <a:pt x="5019767" y="4324164"/>
                  </a:lnTo>
                  <a:lnTo>
                    <a:pt x="4881972" y="4508434"/>
                  </a:lnTo>
                  <a:cubicBezTo>
                    <a:pt x="4376553" y="5120861"/>
                    <a:pt x="3611668" y="5511220"/>
                    <a:pt x="2755610" y="5511220"/>
                  </a:cubicBezTo>
                  <a:cubicBezTo>
                    <a:pt x="1233729" y="5511220"/>
                    <a:pt x="0" y="4277491"/>
                    <a:pt x="0" y="2755610"/>
                  </a:cubicBezTo>
                  <a:cubicBezTo>
                    <a:pt x="0" y="1233729"/>
                    <a:pt x="1233729" y="0"/>
                    <a:pt x="2755610" y="0"/>
                  </a:cubicBezTo>
                  <a:close/>
                </a:path>
              </a:pathLst>
            </a:custGeom>
            <a:solidFill>
              <a:srgbClr val="073BAC"/>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sp>
        <p:nvSpPr>
          <p:cNvPr id="9" name="Copyright Line">
            <a:extLst>
              <a:ext uri="{FF2B5EF4-FFF2-40B4-BE49-F238E27FC236}">
                <a16:creationId xmlns:a16="http://schemas.microsoft.com/office/drawing/2014/main" id="{D2389545-B6D7-497B-37D4-C8C4C52F8A14}"/>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10" name="Confidential disclaimer">
            <a:extLst>
              <a:ext uri="{FF2B5EF4-FFF2-40B4-BE49-F238E27FC236}">
                <a16:creationId xmlns:a16="http://schemas.microsoft.com/office/drawing/2014/main" id="{8C70182C-829B-A5E4-6775-1B5FA533227D}"/>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5" name="Footer Placeholder">
            <a:extLst>
              <a:ext uri="{FF2B5EF4-FFF2-40B4-BE49-F238E27FC236}">
                <a16:creationId xmlns:a16="http://schemas.microsoft.com/office/drawing/2014/main" id="{30FBF3F0-9A58-D48C-BF4F-1611549E2897}"/>
              </a:ext>
            </a:extLst>
          </p:cNvPr>
          <p:cNvSpPr>
            <a:spLocks noGrp="1" noRot="1" noMove="1" noResize="1" noEditPoints="1" noAdjustHandles="1" noChangeArrowheads="1" noChangeShapeType="1"/>
          </p:cNvSpPr>
          <p:nvPr>
            <p:ph type="ftr" sz="quarter" idx="15"/>
          </p:nvPr>
        </p:nvSpPr>
        <p:spPr/>
        <p:txBody>
          <a:bodyPr/>
          <a:lstStyle>
            <a:lvl1pPr>
              <a:defRPr>
                <a:solidFill>
                  <a:schemeClr val="bg1"/>
                </a:solidFill>
              </a:defRPr>
            </a:lvl1pPr>
          </a:lstStyle>
          <a:p>
            <a:endParaRPr lang="en-GB"/>
          </a:p>
        </p:txBody>
      </p:sp>
      <p:sp>
        <p:nvSpPr>
          <p:cNvPr id="25" name="Picture Placeholder">
            <a:extLst>
              <a:ext uri="{FF2B5EF4-FFF2-40B4-BE49-F238E27FC236}">
                <a16:creationId xmlns:a16="http://schemas.microsoft.com/office/drawing/2014/main" id="{278BDEAF-4B5A-EDEC-5FBB-5BDC0B1311E4}"/>
              </a:ext>
            </a:extLst>
          </p:cNvPr>
          <p:cNvSpPr>
            <a:spLocks noGrp="1" noRot="1" noMove="1" noResize="1" noEditPoints="1" noAdjustHandles="1" noChangeArrowheads="1" noChangeShapeType="1"/>
          </p:cNvSpPr>
          <p:nvPr>
            <p:ph type="pic" sz="quarter" idx="12" hasCustomPrompt="1"/>
          </p:nvPr>
        </p:nvSpPr>
        <p:spPr>
          <a:xfrm>
            <a:off x="7465671" y="321957"/>
            <a:ext cx="4726329" cy="4924346"/>
          </a:xfrm>
          <a:custGeom>
            <a:avLst/>
            <a:gdLst>
              <a:gd name="connsiteX0" fmla="*/ 2462173 w 4726329"/>
              <a:gd name="connsiteY0" fmla="*/ 0 h 4924346"/>
              <a:gd name="connsiteX1" fmla="*/ 4627175 w 4726329"/>
              <a:gd name="connsiteY1" fmla="*/ 1288555 h 4924346"/>
              <a:gd name="connsiteX2" fmla="*/ 4726329 w 4726329"/>
              <a:gd name="connsiteY2" fmla="*/ 1494386 h 4924346"/>
              <a:gd name="connsiteX3" fmla="*/ 4726329 w 4726329"/>
              <a:gd name="connsiteY3" fmla="*/ 3429960 h 4924346"/>
              <a:gd name="connsiteX4" fmla="*/ 4627175 w 4726329"/>
              <a:gd name="connsiteY4" fmla="*/ 3635791 h 4924346"/>
              <a:gd name="connsiteX5" fmla="*/ 2462173 w 4726329"/>
              <a:gd name="connsiteY5" fmla="*/ 4924346 h 4924346"/>
              <a:gd name="connsiteX6" fmla="*/ 0 w 4726329"/>
              <a:gd name="connsiteY6" fmla="*/ 2462173 h 4924346"/>
              <a:gd name="connsiteX7" fmla="*/ 2462173 w 4726329"/>
              <a:gd name="connsiteY7" fmla="*/ 0 h 4924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6329" h="4924346">
                <a:moveTo>
                  <a:pt x="2462173" y="0"/>
                </a:moveTo>
                <a:cubicBezTo>
                  <a:pt x="3397050" y="0"/>
                  <a:pt x="4210233" y="521034"/>
                  <a:pt x="4627175" y="1288555"/>
                </a:cubicBezTo>
                <a:lnTo>
                  <a:pt x="4726329" y="1494386"/>
                </a:lnTo>
                <a:lnTo>
                  <a:pt x="4726329" y="3429960"/>
                </a:lnTo>
                <a:lnTo>
                  <a:pt x="4627175" y="3635791"/>
                </a:lnTo>
                <a:cubicBezTo>
                  <a:pt x="4210233" y="4403313"/>
                  <a:pt x="3397050" y="4924346"/>
                  <a:pt x="2462173" y="4924346"/>
                </a:cubicBezTo>
                <a:cubicBezTo>
                  <a:pt x="1102352" y="4924346"/>
                  <a:pt x="0" y="3821994"/>
                  <a:pt x="0" y="2462173"/>
                </a:cubicBezTo>
                <a:cubicBezTo>
                  <a:pt x="0" y="1102352"/>
                  <a:pt x="1102352" y="0"/>
                  <a:pt x="2462173" y="0"/>
                </a:cubicBezTo>
                <a:close/>
              </a:path>
            </a:pathLst>
          </a:custGeom>
          <a:solidFill>
            <a:srgbClr val="777777"/>
          </a:solidFill>
        </p:spPr>
        <p:txBody>
          <a:bodyPr wrap="square" anchor="ctr" anchorCtr="1">
            <a:noAutofit/>
          </a:bodyPr>
          <a:lstStyle>
            <a:lvl1pPr marL="0" indent="0" algn="ctr">
              <a:buNone/>
              <a:defRPr>
                <a:solidFill>
                  <a:srgbClr val="FFFFFF"/>
                </a:solidFill>
              </a:defRPr>
            </a:lvl1pPr>
          </a:lstStyle>
          <a:p>
            <a:r>
              <a:rPr lang="en-US"/>
              <a:t>Click picture icon to add photo</a:t>
            </a:r>
          </a:p>
        </p:txBody>
      </p:sp>
      <p:sp>
        <p:nvSpPr>
          <p:cNvPr id="11" name="Date Placeholder">
            <a:extLst>
              <a:ext uri="{FF2B5EF4-FFF2-40B4-BE49-F238E27FC236}">
                <a16:creationId xmlns:a16="http://schemas.microsoft.com/office/drawing/2014/main" id="{56FDEAC7-8736-5846-42B8-66DC00FA3B94}"/>
              </a:ext>
            </a:extLst>
          </p:cNvPr>
          <p:cNvSpPr>
            <a:spLocks noGrp="1" noRot="1" noMove="1" noResize="1" noEditPoints="1" noAdjustHandles="1" noChangeArrowheads="1" noChangeShapeType="1"/>
          </p:cNvSpPr>
          <p:nvPr>
            <p:ph type="dt" sz="half" idx="14"/>
          </p:nvPr>
        </p:nvSpPr>
        <p:spPr>
          <a:xfrm>
            <a:off x="292100" y="5036705"/>
            <a:ext cx="1744664" cy="282957"/>
          </a:xfrm>
        </p:spPr>
        <p:txBody>
          <a:bodyPr/>
          <a:lstStyle>
            <a:lvl1pPr>
              <a:defRPr sz="1200">
                <a:solidFill>
                  <a:srgbClr val="FFFFFF"/>
                </a:solidFill>
              </a:defRPr>
            </a:lvl1pPr>
          </a:lstStyle>
          <a:p>
            <a:fld id="{C75F7465-666F-4675-891F-E92434DCB819}" type="datetime1">
              <a:rPr lang="en-GB" smtClean="0"/>
              <a:t>18/11/2024</a:t>
            </a:fld>
            <a:endParaRPr lang="en-GB"/>
          </a:p>
        </p:txBody>
      </p:sp>
      <p:sp>
        <p:nvSpPr>
          <p:cNvPr id="3" name="Title/Dept Placeholder">
            <a:extLst>
              <a:ext uri="{FF2B5EF4-FFF2-40B4-BE49-F238E27FC236}">
                <a16:creationId xmlns:a16="http://schemas.microsoft.com/office/drawing/2014/main" id="{F49547DD-E825-E7A3-C48A-64AA78C199D4}"/>
              </a:ext>
            </a:extLst>
          </p:cNvPr>
          <p:cNvSpPr>
            <a:spLocks noGrp="1" noRot="1" noMove="1" noResize="1" noEditPoints="1" noAdjustHandles="1" noChangeArrowheads="1" noChangeShapeType="1"/>
          </p:cNvSpPr>
          <p:nvPr>
            <p:ph type="body" sz="quarter" idx="11" hasCustomPrompt="1"/>
          </p:nvPr>
        </p:nvSpPr>
        <p:spPr>
          <a:xfrm>
            <a:off x="292100" y="4560602"/>
            <a:ext cx="6689728" cy="344385"/>
          </a:xfrm>
        </p:spPr>
        <p:txBody>
          <a:bodyPr tIns="0" bIns="0">
            <a:noAutofit/>
          </a:bodyPr>
          <a:lstStyle>
            <a:lvl1pPr marL="0" indent="0">
              <a:lnSpc>
                <a:spcPct val="100000"/>
              </a:lnSpc>
              <a:spcBef>
                <a:spcPts val="0"/>
              </a:spcBef>
              <a:spcAft>
                <a:spcPts val="0"/>
              </a:spcAft>
              <a:buNone/>
              <a:defRPr sz="1200" b="0">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2" name="Presenter Name Placeholder">
            <a:extLst>
              <a:ext uri="{FF2B5EF4-FFF2-40B4-BE49-F238E27FC236}">
                <a16:creationId xmlns:a16="http://schemas.microsoft.com/office/drawing/2014/main" id="{5A598B2A-BB91-C356-7BCC-18D04DA85A8D}"/>
              </a:ext>
            </a:extLst>
          </p:cNvPr>
          <p:cNvSpPr>
            <a:spLocks noGrp="1" noRot="1" noMove="1" noResize="1" noEditPoints="1" noAdjustHandles="1" noChangeArrowheads="1" noChangeShapeType="1"/>
          </p:cNvSpPr>
          <p:nvPr>
            <p:ph type="body" sz="quarter" idx="10" hasCustomPrompt="1"/>
          </p:nvPr>
        </p:nvSpPr>
        <p:spPr>
          <a:xfrm>
            <a:off x="292100" y="4192468"/>
            <a:ext cx="6689728" cy="344384"/>
          </a:xfrm>
        </p:spPr>
        <p:txBody>
          <a:bodyPr tIns="0" bIns="0" anchor="b" anchorCtr="0">
            <a:noAutofit/>
          </a:bodyPr>
          <a:lstStyle>
            <a:lvl1pPr marL="0" indent="0">
              <a:lnSpc>
                <a:spcPct val="100000"/>
              </a:lnSpc>
              <a:spcBef>
                <a:spcPts val="0"/>
              </a:spcBef>
              <a:spcAft>
                <a:spcPts val="0"/>
              </a:spcAft>
              <a:buNone/>
              <a:defRPr sz="1200" b="1">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8" name="Subtitle Placeholder">
            <a:extLst>
              <a:ext uri="{FF2B5EF4-FFF2-40B4-BE49-F238E27FC236}">
                <a16:creationId xmlns:a16="http://schemas.microsoft.com/office/drawing/2014/main" id="{23B6A8FC-C3C4-F7DA-BF00-D56866D5808E}"/>
              </a:ext>
            </a:extLst>
          </p:cNvPr>
          <p:cNvSpPr>
            <a:spLocks noGrp="1" noRot="1" noMove="1" noResize="1" noEditPoints="1" noAdjustHandles="1" noChangeArrowheads="1" noChangeShapeType="1"/>
          </p:cNvSpPr>
          <p:nvPr>
            <p:ph type="subTitle" idx="1"/>
          </p:nvPr>
        </p:nvSpPr>
        <p:spPr>
          <a:xfrm>
            <a:off x="292100" y="3114710"/>
            <a:ext cx="6689729" cy="837882"/>
          </a:xfrm>
        </p:spPr>
        <p:txBody>
          <a:bodyPr>
            <a:noAutofit/>
          </a:bodyPr>
          <a:lstStyle>
            <a:lvl1pPr marL="0" indent="0" algn="l">
              <a:spcBef>
                <a:spcPts val="0"/>
              </a:spcBef>
              <a:spcAft>
                <a:spcPts val="0"/>
              </a:spcAft>
              <a:buNone/>
              <a:defRPr sz="20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Title Placeholder">
            <a:extLst>
              <a:ext uri="{FF2B5EF4-FFF2-40B4-BE49-F238E27FC236}">
                <a16:creationId xmlns:a16="http://schemas.microsoft.com/office/drawing/2014/main" id="{615225DC-38B1-15E3-05E6-88F5A6B976CF}"/>
              </a:ext>
            </a:extLst>
          </p:cNvPr>
          <p:cNvSpPr>
            <a:spLocks noGrp="1" noRot="1" noMove="1" noResize="1" noEditPoints="1" noAdjustHandles="1" noChangeArrowheads="1" noChangeShapeType="1"/>
          </p:cNvSpPr>
          <p:nvPr>
            <p:ph type="ctrTitle" hasCustomPrompt="1"/>
          </p:nvPr>
        </p:nvSpPr>
        <p:spPr>
          <a:xfrm>
            <a:off x="292100" y="1214225"/>
            <a:ext cx="6689729" cy="1828193"/>
          </a:xfrm>
          <a:prstGeom prst="rect">
            <a:avLst/>
          </a:prstGeom>
        </p:spPr>
        <p:txBody>
          <a:bodyPr anchor="b">
            <a:noAutofit/>
          </a:bodyPr>
          <a:lstStyle>
            <a:lvl1pPr algn="l">
              <a:defRPr sz="4400">
                <a:solidFill>
                  <a:srgbClr val="FFFFFF"/>
                </a:solidFill>
              </a:defRPr>
            </a:lvl1pPr>
          </a:lstStyle>
          <a:p>
            <a:r>
              <a:rPr lang="en-US"/>
              <a:t>Insert your presentation title here maximum of three lines</a:t>
            </a:r>
          </a:p>
        </p:txBody>
      </p:sp>
      <p:pic>
        <p:nvPicPr>
          <p:cNvPr id="7" name="NielsenIQ GFK lockup" hidden="1">
            <a:extLst>
              <a:ext uri="{FF2B5EF4-FFF2-40B4-BE49-F238E27FC236}">
                <a16:creationId xmlns:a16="http://schemas.microsoft.com/office/drawing/2014/main" id="{38C64FBC-CEA2-AB8D-1C98-40BE4309F854}"/>
              </a:ext>
            </a:extLst>
          </p:cNvPr>
          <p:cNvPicPr>
            <a:picLocks noGrp="1" noRo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86122" y="5539740"/>
            <a:ext cx="3377876" cy="753596"/>
          </a:xfrm>
          <a:prstGeom prst="rect">
            <a:avLst/>
          </a:prstGeom>
        </p:spPr>
      </p:pic>
      <p:pic>
        <p:nvPicPr>
          <p:cNvPr id="14" name="NielsenIQ logo+wordmark" hidden="1">
            <a:extLst>
              <a:ext uri="{FF2B5EF4-FFF2-40B4-BE49-F238E27FC236}">
                <a16:creationId xmlns:a16="http://schemas.microsoft.com/office/drawing/2014/main" id="{4592FCA5-867A-BB8D-E995-7A4C9EC3E96A}"/>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rcRect/>
          <a:stretch/>
        </p:blipFill>
        <p:spPr>
          <a:xfrm>
            <a:off x="288559" y="5563212"/>
            <a:ext cx="2155408" cy="743616"/>
          </a:xfrm>
          <a:prstGeom prst="rect">
            <a:avLst/>
          </a:prstGeom>
        </p:spPr>
      </p:pic>
      <p:sp>
        <p:nvSpPr>
          <p:cNvPr id="24" name="Nielsen wordmark">
            <a:extLst>
              <a:ext uri="{FF2B5EF4-FFF2-40B4-BE49-F238E27FC236}">
                <a16:creationId xmlns:a16="http://schemas.microsoft.com/office/drawing/2014/main" id="{8E329D7C-9D9C-5C6C-56E6-95CB0519B113}"/>
              </a:ext>
            </a:extLst>
          </p:cNvPr>
          <p:cNvSpPr>
            <a:spLocks noGrp="1" noRot="1" noMove="1" noResize="1" noEditPoints="1" noAdjustHandles="1" noChangeArrowheads="1" noChangeShapeType="1"/>
          </p:cNvSpPr>
          <p:nvPr userDrawn="1"/>
        </p:nvSpPr>
        <p:spPr>
          <a:xfrm>
            <a:off x="295274" y="5686380"/>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tx2"/>
          </a:solidFill>
          <a:ln w="774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24014539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cover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p:spPr>
        <p:txBody>
          <a:bodyPr anchor="b">
            <a:noAutofit/>
          </a:bodyPr>
          <a:lstStyle>
            <a:lvl1pPr algn="l">
              <a:defRPr sz="5400">
                <a:solidFill>
                  <a:schemeClr val="tx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solidFill>
              </a:rPr>
              <a:t>© 2023 Nielsen Consumer LLC. All Rights Reserved.</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userDrawn="1"/>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5A8605A2-A6E9-EC94-9E56-90DDBAD35A0A}"/>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7" name="Text Placeholder 17">
            <a:extLst>
              <a:ext uri="{FF2B5EF4-FFF2-40B4-BE49-F238E27FC236}">
                <a16:creationId xmlns:a16="http://schemas.microsoft.com/office/drawing/2014/main" id="{3685AD82-6787-48AF-A22F-3B00153B3641}"/>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8" name="Text Placeholder 17">
            <a:extLst>
              <a:ext uri="{FF2B5EF4-FFF2-40B4-BE49-F238E27FC236}">
                <a16:creationId xmlns:a16="http://schemas.microsoft.com/office/drawing/2014/main" id="{F5944916-51FE-3EDB-647A-59CBDF40CBE3}"/>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2084512992"/>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7E793A-4DA1-5244-7154-3CC1D40612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F03CEE-D9FE-7CCC-6700-1C2188F7507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6E21EB-CF53-3CAE-6C2E-6B4B6BCA26CE}"/>
              </a:ext>
            </a:extLst>
          </p:cNvPr>
          <p:cNvSpPr>
            <a:spLocks noGrp="1"/>
          </p:cNvSpPr>
          <p:nvPr>
            <p:ph type="dt" sz="half" idx="10"/>
          </p:nvPr>
        </p:nvSpPr>
        <p:spPr/>
        <p:txBody>
          <a:bodyPr/>
          <a:lstStyle/>
          <a:p>
            <a:fld id="{422EE7FC-6ADF-4898-B70E-0DCFA4BBF3C3}" type="datetimeFigureOut">
              <a:rPr lang="en-US" smtClean="0"/>
              <a:t>11/18/2024</a:t>
            </a:fld>
            <a:endParaRPr lang="en-US"/>
          </a:p>
        </p:txBody>
      </p:sp>
      <p:sp>
        <p:nvSpPr>
          <p:cNvPr id="5" name="Footer Placeholder 4">
            <a:extLst>
              <a:ext uri="{FF2B5EF4-FFF2-40B4-BE49-F238E27FC236}">
                <a16:creationId xmlns:a16="http://schemas.microsoft.com/office/drawing/2014/main" id="{6111A6CD-A9CE-2D1D-6CAF-B01EC31BFB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DA19C1-22DF-0535-EB0D-A81A3337DEE6}"/>
              </a:ext>
            </a:extLst>
          </p:cNvPr>
          <p:cNvSpPr>
            <a:spLocks noGrp="1"/>
          </p:cNvSpPr>
          <p:nvPr>
            <p:ph type="sldNum" sz="quarter" idx="12"/>
          </p:nvPr>
        </p:nvSpPr>
        <p:spPr/>
        <p:txBody>
          <a:bodyPr/>
          <a:lstStyle/>
          <a:p>
            <a:fld id="{F3B5B696-B773-4CB3-AF7B-C4EC27D9A332}" type="slidenum">
              <a:rPr lang="en-US" smtClean="0"/>
              <a:t>‹#›</a:t>
            </a:fld>
            <a:endParaRPr lang="en-US"/>
          </a:p>
        </p:txBody>
      </p:sp>
      <p:pic>
        <p:nvPicPr>
          <p:cNvPr id="7" name="NIQ Logo">
            <a:extLst>
              <a:ext uri="{FF2B5EF4-FFF2-40B4-BE49-F238E27FC236}">
                <a16:creationId xmlns:a16="http://schemas.microsoft.com/office/drawing/2014/main" id="{5BF7A829-42FD-1B17-E95E-62F77FEFE967}"/>
              </a:ext>
            </a:extLst>
          </p:cNvPr>
          <p:cNvPicPr>
            <a:picLocks/>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302944912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1_title_and_content">
  <p:cSld name="2_title_and_content">
    <p:spTree>
      <p:nvGrpSpPr>
        <p:cNvPr id="1" name="Shape 229"/>
        <p:cNvGrpSpPr/>
        <p:nvPr/>
      </p:nvGrpSpPr>
      <p:grpSpPr>
        <a:xfrm>
          <a:off x="0" y="0"/>
          <a:ext cx="0" cy="0"/>
          <a:chOff x="0" y="0"/>
          <a:chExt cx="0" cy="0"/>
        </a:xfrm>
      </p:grpSpPr>
      <p:sp>
        <p:nvSpPr>
          <p:cNvPr id="230" name="Google Shape;230;p113"/>
          <p:cNvSpPr txBox="1">
            <a:spLocks noGrp="1"/>
          </p:cNvSpPr>
          <p:nvPr>
            <p:ph type="body" idx="1"/>
          </p:nvPr>
        </p:nvSpPr>
        <p:spPr>
          <a:xfrm>
            <a:off x="288559" y="1825625"/>
            <a:ext cx="11597639" cy="3836139"/>
          </a:xfrm>
          <a:prstGeom prst="rect">
            <a:avLst/>
          </a:prstGeom>
          <a:noFill/>
          <a:ln>
            <a:noFill/>
          </a:ln>
        </p:spPr>
        <p:txBody>
          <a:bodyPr spcFirstLastPara="1" wrap="square" lIns="0" tIns="45700" rIns="0" bIns="45700" anchor="t" anchorCtr="0">
            <a:noAutofit/>
          </a:bodyPr>
          <a:lstStyle>
            <a:lvl1pPr marL="457189" lvl="0" indent="-342891" algn="l">
              <a:lnSpc>
                <a:spcPct val="100000"/>
              </a:lnSpc>
              <a:spcBef>
                <a:spcPts val="0"/>
              </a:spcBef>
              <a:spcAft>
                <a:spcPts val="0"/>
              </a:spcAft>
              <a:buClr>
                <a:schemeClr val="dk1"/>
              </a:buClr>
              <a:buSzPts val="1800"/>
              <a:buChar char="•"/>
              <a:defRPr/>
            </a:lvl1pPr>
            <a:lvl2pPr marL="914377" lvl="1" indent="-342891" algn="l">
              <a:lnSpc>
                <a:spcPct val="100000"/>
              </a:lnSpc>
              <a:spcBef>
                <a:spcPts val="600"/>
              </a:spcBef>
              <a:spcAft>
                <a:spcPts val="0"/>
              </a:spcAft>
              <a:buClr>
                <a:schemeClr val="dk1"/>
              </a:buClr>
              <a:buSzPts val="1800"/>
              <a:buChar char="-"/>
              <a:defRPr/>
            </a:lvl2pPr>
            <a:lvl3pPr marL="1371566" lvl="2" indent="-342891" algn="l">
              <a:lnSpc>
                <a:spcPct val="100000"/>
              </a:lnSpc>
              <a:spcBef>
                <a:spcPts val="600"/>
              </a:spcBef>
              <a:spcAft>
                <a:spcPts val="0"/>
              </a:spcAft>
              <a:buClr>
                <a:schemeClr val="dk1"/>
              </a:buClr>
              <a:buSzPts val="1800"/>
              <a:buChar char="•"/>
              <a:defRPr/>
            </a:lvl3pPr>
            <a:lvl4pPr marL="1828754" lvl="3" indent="-342891" algn="l">
              <a:lnSpc>
                <a:spcPct val="100000"/>
              </a:lnSpc>
              <a:spcBef>
                <a:spcPts val="600"/>
              </a:spcBef>
              <a:spcAft>
                <a:spcPts val="0"/>
              </a:spcAft>
              <a:buClr>
                <a:schemeClr val="dk1"/>
              </a:buClr>
              <a:buSzPts val="1800"/>
              <a:buChar char="•"/>
              <a:defRPr/>
            </a:lvl4pPr>
            <a:lvl5pPr marL="2285943" lvl="4" indent="-342891" algn="l">
              <a:lnSpc>
                <a:spcPct val="100000"/>
              </a:lnSpc>
              <a:spcBef>
                <a:spcPts val="600"/>
              </a:spcBef>
              <a:spcAft>
                <a:spcPts val="0"/>
              </a:spcAft>
              <a:buClr>
                <a:schemeClr val="dk1"/>
              </a:buClr>
              <a:buSzPts val="1800"/>
              <a:buChar char="•"/>
              <a:defRPr/>
            </a:lvl5pPr>
            <a:lvl6pPr marL="2743131" lvl="5" indent="-342891" algn="l">
              <a:lnSpc>
                <a:spcPct val="90000"/>
              </a:lnSpc>
              <a:spcBef>
                <a:spcPts val="6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231" name="Google Shape;231;p113"/>
          <p:cNvSpPr txBox="1">
            <a:spLocks noGrp="1"/>
          </p:cNvSpPr>
          <p:nvPr>
            <p:ph type="sldNum" idx="12"/>
          </p:nvPr>
        </p:nvSpPr>
        <p:spPr>
          <a:xfrm>
            <a:off x="10985325" y="6435204"/>
            <a:ext cx="901875" cy="365125"/>
          </a:xfrm>
          <a:prstGeom prst="rect">
            <a:avLst/>
          </a:prstGeom>
          <a:noFill/>
          <a:ln>
            <a:noFill/>
          </a:ln>
        </p:spPr>
        <p:txBody>
          <a:bodyPr spcFirstLastPara="1" wrap="square" lIns="0" tIns="45700" rIns="0"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
        <p:nvSpPr>
          <p:cNvPr id="232" name="Google Shape;232;p113"/>
          <p:cNvSpPr txBox="1">
            <a:spLocks noGrp="1"/>
          </p:cNvSpPr>
          <p:nvPr>
            <p:ph type="body" idx="2"/>
          </p:nvPr>
        </p:nvSpPr>
        <p:spPr>
          <a:xfrm>
            <a:off x="288559" y="579495"/>
            <a:ext cx="11582400" cy="436543"/>
          </a:xfrm>
          <a:prstGeom prst="rect">
            <a:avLst/>
          </a:prstGeom>
          <a:noFill/>
          <a:ln>
            <a:noFill/>
          </a:ln>
        </p:spPr>
        <p:txBody>
          <a:bodyPr spcFirstLastPara="1" wrap="square" lIns="0" tIns="45700" rIns="0" bIns="45700" anchor="t" anchorCtr="0">
            <a:noAutofit/>
          </a:bodyPr>
          <a:lstStyle>
            <a:lvl1pPr marL="457189" lvl="0" indent="-228594" algn="l">
              <a:lnSpc>
                <a:spcPct val="100000"/>
              </a:lnSpc>
              <a:spcBef>
                <a:spcPts val="0"/>
              </a:spcBef>
              <a:spcAft>
                <a:spcPts val="0"/>
              </a:spcAft>
              <a:buClr>
                <a:schemeClr val="dk1"/>
              </a:buClr>
              <a:buSzPts val="1600"/>
              <a:buNone/>
              <a:defRPr sz="1600"/>
            </a:lvl1pPr>
            <a:lvl2pPr marL="914377" lvl="1" indent="-228594" algn="l">
              <a:lnSpc>
                <a:spcPct val="100000"/>
              </a:lnSpc>
              <a:spcBef>
                <a:spcPts val="0"/>
              </a:spcBef>
              <a:spcAft>
                <a:spcPts val="0"/>
              </a:spcAft>
              <a:buClr>
                <a:schemeClr val="dk1"/>
              </a:buClr>
              <a:buSzPts val="1400"/>
              <a:buNone/>
              <a:defRPr/>
            </a:lvl2pPr>
            <a:lvl3pPr marL="1371566" lvl="2" indent="-228594" algn="l">
              <a:lnSpc>
                <a:spcPct val="100000"/>
              </a:lnSpc>
              <a:spcBef>
                <a:spcPts val="600"/>
              </a:spcBef>
              <a:spcAft>
                <a:spcPts val="0"/>
              </a:spcAft>
              <a:buClr>
                <a:schemeClr val="dk1"/>
              </a:buClr>
              <a:buSzPts val="1200"/>
              <a:buNone/>
              <a:defRPr/>
            </a:lvl3pPr>
            <a:lvl4pPr marL="1828754" lvl="3" indent="-228594" algn="l">
              <a:lnSpc>
                <a:spcPct val="100000"/>
              </a:lnSpc>
              <a:spcBef>
                <a:spcPts val="600"/>
              </a:spcBef>
              <a:spcAft>
                <a:spcPts val="0"/>
              </a:spcAft>
              <a:buClr>
                <a:schemeClr val="dk1"/>
              </a:buClr>
              <a:buSzPts val="1100"/>
              <a:buNone/>
              <a:defRPr/>
            </a:lvl4pPr>
            <a:lvl5pPr marL="2285943" lvl="4" indent="-228594" algn="l">
              <a:lnSpc>
                <a:spcPct val="100000"/>
              </a:lnSpc>
              <a:spcBef>
                <a:spcPts val="600"/>
              </a:spcBef>
              <a:spcAft>
                <a:spcPts val="0"/>
              </a:spcAft>
              <a:buClr>
                <a:schemeClr val="dk1"/>
              </a:buClr>
              <a:buSzPts val="1100"/>
              <a:buNone/>
              <a:defRPr/>
            </a:lvl5pPr>
            <a:lvl6pPr marL="2743131" lvl="5" indent="-342891" algn="l">
              <a:lnSpc>
                <a:spcPct val="90000"/>
              </a:lnSpc>
              <a:spcBef>
                <a:spcPts val="6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233" name="Google Shape;233;p113"/>
          <p:cNvSpPr txBox="1">
            <a:spLocks noGrp="1"/>
          </p:cNvSpPr>
          <p:nvPr>
            <p:ph type="body" idx="3"/>
          </p:nvPr>
        </p:nvSpPr>
        <p:spPr>
          <a:xfrm>
            <a:off x="288559" y="5985328"/>
            <a:ext cx="11582399" cy="365125"/>
          </a:xfrm>
          <a:prstGeom prst="rect">
            <a:avLst/>
          </a:prstGeom>
          <a:noFill/>
          <a:ln>
            <a:noFill/>
          </a:ln>
        </p:spPr>
        <p:txBody>
          <a:bodyPr spcFirstLastPara="1" wrap="square" lIns="0" tIns="45700" rIns="0" bIns="45700" anchor="b" anchorCtr="0">
            <a:noAutofit/>
          </a:bodyPr>
          <a:lstStyle>
            <a:lvl1pPr marL="457189" lvl="0" indent="-228594" algn="l">
              <a:lnSpc>
                <a:spcPct val="100000"/>
              </a:lnSpc>
              <a:spcBef>
                <a:spcPts val="0"/>
              </a:spcBef>
              <a:spcAft>
                <a:spcPts val="0"/>
              </a:spcAft>
              <a:buClr>
                <a:srgbClr val="B3B3B3"/>
              </a:buClr>
              <a:buSzPts val="800"/>
              <a:buNone/>
              <a:defRPr sz="800">
                <a:solidFill>
                  <a:srgbClr val="B3B3B3"/>
                </a:solidFill>
              </a:defRPr>
            </a:lvl1pPr>
            <a:lvl2pPr marL="914377" lvl="1" indent="-228594" algn="l">
              <a:lnSpc>
                <a:spcPct val="100000"/>
              </a:lnSpc>
              <a:spcBef>
                <a:spcPts val="0"/>
              </a:spcBef>
              <a:spcAft>
                <a:spcPts val="0"/>
              </a:spcAft>
              <a:buClr>
                <a:schemeClr val="dk1"/>
              </a:buClr>
              <a:buSzPts val="1400"/>
              <a:buNone/>
              <a:defRPr/>
            </a:lvl2pPr>
            <a:lvl3pPr marL="1371566" lvl="2" indent="-228594" algn="l">
              <a:lnSpc>
                <a:spcPct val="100000"/>
              </a:lnSpc>
              <a:spcBef>
                <a:spcPts val="600"/>
              </a:spcBef>
              <a:spcAft>
                <a:spcPts val="0"/>
              </a:spcAft>
              <a:buClr>
                <a:schemeClr val="dk1"/>
              </a:buClr>
              <a:buSzPts val="1200"/>
              <a:buNone/>
              <a:defRPr/>
            </a:lvl3pPr>
            <a:lvl4pPr marL="1828754" lvl="3" indent="-228594" algn="l">
              <a:lnSpc>
                <a:spcPct val="100000"/>
              </a:lnSpc>
              <a:spcBef>
                <a:spcPts val="600"/>
              </a:spcBef>
              <a:spcAft>
                <a:spcPts val="0"/>
              </a:spcAft>
              <a:buClr>
                <a:schemeClr val="dk1"/>
              </a:buClr>
              <a:buSzPts val="1100"/>
              <a:buNone/>
              <a:defRPr/>
            </a:lvl4pPr>
            <a:lvl5pPr marL="2285943" lvl="4" indent="-228594" algn="l">
              <a:lnSpc>
                <a:spcPct val="100000"/>
              </a:lnSpc>
              <a:spcBef>
                <a:spcPts val="600"/>
              </a:spcBef>
              <a:spcAft>
                <a:spcPts val="0"/>
              </a:spcAft>
              <a:buClr>
                <a:schemeClr val="dk1"/>
              </a:buClr>
              <a:buSzPts val="1100"/>
              <a:buNone/>
              <a:defRPr/>
            </a:lvl5pPr>
            <a:lvl6pPr marL="2743131" lvl="5" indent="-342891" algn="l">
              <a:lnSpc>
                <a:spcPct val="90000"/>
              </a:lnSpc>
              <a:spcBef>
                <a:spcPts val="6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234" name="Google Shape;234;p113"/>
          <p:cNvSpPr txBox="1">
            <a:spLocks noGrp="1"/>
          </p:cNvSpPr>
          <p:nvPr>
            <p:ph type="title"/>
          </p:nvPr>
        </p:nvSpPr>
        <p:spPr>
          <a:xfrm>
            <a:off x="288559" y="178971"/>
            <a:ext cx="11582400" cy="397352"/>
          </a:xfrm>
          <a:prstGeom prst="rect">
            <a:avLst/>
          </a:prstGeom>
          <a:noFill/>
          <a:ln>
            <a:noFill/>
          </a:ln>
        </p:spPr>
        <p:txBody>
          <a:bodyPr spcFirstLastPara="1" wrap="square" lIns="0" tIns="45700" rIns="0" bIns="45700" anchor="ctr" anchorCtr="0">
            <a:noAutofit/>
          </a:bodyPr>
          <a:lstStyle>
            <a:lvl1pPr lvl="0" algn="l">
              <a:lnSpc>
                <a:spcPct val="100000"/>
              </a:lnSpc>
              <a:spcBef>
                <a:spcPts val="0"/>
              </a:spcBef>
              <a:spcAft>
                <a:spcPts val="0"/>
              </a:spcAft>
              <a:buClr>
                <a:schemeClr val="dk1"/>
              </a:buClr>
              <a:buSzPts val="2000"/>
              <a:buFont typeface="Arial"/>
              <a:buNone/>
              <a:defRPr sz="2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7605024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0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7"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3"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userDrawn="1"/>
        </p:nvSpPr>
        <p:spPr>
          <a:xfrm>
            <a:off x="8835026" y="6517928"/>
            <a:ext cx="2601239"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a:solidFill>
                  <a:schemeClr val="tx1"/>
                </a:solidFill>
              </a:rPr>
              <a:t>© 2023 Nielsen Consumer LLC. All Rights Reserved.</a:t>
            </a:r>
          </a:p>
        </p:txBody>
      </p:sp>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88559" y="5985328"/>
            <a:ext cx="5537253"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88559" y="579495"/>
            <a:ext cx="5537253" cy="436543"/>
          </a:xfrm>
        </p:spPr>
        <p:txBody>
          <a:bodyPr/>
          <a:lstStyle>
            <a:lvl1pPr marL="0" indent="0">
              <a:spcBef>
                <a:spcPts val="0"/>
              </a:spcBef>
              <a:spcAft>
                <a:spcPts val="0"/>
              </a:spcAft>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88559" y="178971"/>
            <a:ext cx="5537253" cy="397352"/>
          </a:xfrm>
          <a:prstGeom prst="rect">
            <a:avLst/>
          </a:prstGeom>
        </p:spPr>
        <p:txBody>
          <a:bodyPr anchor="ctr"/>
          <a:lstStyle>
            <a:lvl1pPr>
              <a:defRPr sz="2000"/>
            </a:lvl1pPr>
          </a:lstStyle>
          <a:p>
            <a:r>
              <a:rPr lang="en-US"/>
              <a:t>Insert your slide title in Arial bold 20pt</a:t>
            </a:r>
          </a:p>
        </p:txBody>
      </p:sp>
      <p:pic>
        <p:nvPicPr>
          <p:cNvPr id="2" name="Picture 1">
            <a:extLst>
              <a:ext uri="{FF2B5EF4-FFF2-40B4-BE49-F238E27FC236}">
                <a16:creationId xmlns:a16="http://schemas.microsoft.com/office/drawing/2014/main" id="{58EA3DE5-4BCF-5EA8-CB4A-7A6B8468D9E0}"/>
              </a:ext>
            </a:extLst>
          </p:cNvPr>
          <p:cNvPicPr>
            <a:picLocks noChangeAspect="1"/>
          </p:cNvPicPr>
          <p:nvPr userDrawn="1"/>
        </p:nvPicPr>
        <p:blipFill>
          <a:blip r:embed="rId2"/>
          <a:srcRect/>
          <a:stretch/>
        </p:blipFill>
        <p:spPr>
          <a:xfrm>
            <a:off x="288558" y="6505614"/>
            <a:ext cx="1372075" cy="249129"/>
          </a:xfrm>
          <a:prstGeom prst="rect">
            <a:avLst/>
          </a:prstGeom>
        </p:spPr>
      </p:pic>
    </p:spTree>
    <p:extLst>
      <p:ext uri="{BB962C8B-B14F-4D97-AF65-F5344CB8AC3E}">
        <p14:creationId xmlns:p14="http://schemas.microsoft.com/office/powerpoint/2010/main" val="136434693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6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Background pattern&#10;&#10;Description automatically generated">
            <a:extLst>
              <a:ext uri="{FF2B5EF4-FFF2-40B4-BE49-F238E27FC236}">
                <a16:creationId xmlns:a16="http://schemas.microsoft.com/office/drawing/2014/main" id="{DB788935-E7B2-2CAC-0048-B92417139B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4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pic>
        <p:nvPicPr>
          <p:cNvPr id="8" name="Picture 7">
            <a:extLst>
              <a:ext uri="{FF2B5EF4-FFF2-40B4-BE49-F238E27FC236}">
                <a16:creationId xmlns:a16="http://schemas.microsoft.com/office/drawing/2014/main" id="{282906D9-EFC7-C6F3-6E2A-D8391881D758}"/>
              </a:ext>
            </a:extLst>
          </p:cNvPr>
          <p:cNvPicPr>
            <a:picLocks noChangeAspect="1"/>
          </p:cNvPicPr>
          <p:nvPr userDrawn="1"/>
        </p:nvPicPr>
        <p:blipFill>
          <a:blip r:embed="rId3"/>
          <a:stretch>
            <a:fillRect/>
          </a:stretch>
        </p:blipFill>
        <p:spPr>
          <a:xfrm>
            <a:off x="304801" y="5500776"/>
            <a:ext cx="2346959" cy="852528"/>
          </a:xfrm>
          <a:prstGeom prst="rect">
            <a:avLst/>
          </a:prstGeom>
        </p:spPr>
      </p:pic>
    </p:spTree>
    <p:extLst>
      <p:ext uri="{BB962C8B-B14F-4D97-AF65-F5344CB8AC3E}">
        <p14:creationId xmlns:p14="http://schemas.microsoft.com/office/powerpoint/2010/main" val="156574289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C1F2D8-B7EC-4A78-B639-34F4E80CBFBF}"/>
              </a:ext>
            </a:extLst>
          </p:cNvPr>
          <p:cNvSpPr>
            <a:spLocks noGrp="1"/>
          </p:cNvSpPr>
          <p:nvPr>
            <p:ph type="dt" sz="half" idx="10"/>
          </p:nvPr>
        </p:nvSpPr>
        <p:spPr/>
        <p:txBody>
          <a:bodyPr/>
          <a:lstStyle/>
          <a:p>
            <a:fld id="{FA54AE67-66E3-4760-9C8E-844E9220023E}" type="datetimeFigureOut">
              <a:rPr lang="en-US" smtClean="0"/>
              <a:t>11/18/2024</a:t>
            </a:fld>
            <a:endParaRPr lang="en-US"/>
          </a:p>
        </p:txBody>
      </p:sp>
      <p:sp>
        <p:nvSpPr>
          <p:cNvPr id="3" name="Footer Placeholder 2">
            <a:extLst>
              <a:ext uri="{FF2B5EF4-FFF2-40B4-BE49-F238E27FC236}">
                <a16:creationId xmlns:a16="http://schemas.microsoft.com/office/drawing/2014/main" id="{5008F967-D11C-4F88-A973-7E2088C219D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112386C-CF1E-40B9-BCD8-555E8F9B314F}"/>
              </a:ext>
            </a:extLst>
          </p:cNvPr>
          <p:cNvSpPr>
            <a:spLocks noGrp="1"/>
          </p:cNvSpPr>
          <p:nvPr>
            <p:ph type="sldNum" sz="quarter" idx="12"/>
          </p:nvPr>
        </p:nvSpPr>
        <p:spPr/>
        <p:txBody>
          <a:bodyPr/>
          <a:lstStyle/>
          <a:p>
            <a:fld id="{27245FFD-07C1-4999-B3CD-6B5B30533B88}" type="slidenum">
              <a:rPr lang="en-US" smtClean="0"/>
              <a:t>‹#›</a:t>
            </a:fld>
            <a:endParaRPr lang="en-US"/>
          </a:p>
        </p:txBody>
      </p:sp>
    </p:spTree>
    <p:extLst>
      <p:ext uri="{BB962C8B-B14F-4D97-AF65-F5344CB8AC3E}">
        <p14:creationId xmlns:p14="http://schemas.microsoft.com/office/powerpoint/2010/main" val="26756025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meline Ligh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739F7D1-31ED-4588-7F6B-7214367FBA9F}"/>
              </a:ext>
            </a:extLst>
          </p:cNvPr>
          <p:cNvSpPr>
            <a:spLocks noGrp="1"/>
          </p:cNvSpPr>
          <p:nvPr>
            <p:ph type="title" hasCustomPrompt="1"/>
          </p:nvPr>
        </p:nvSpPr>
        <p:spPr>
          <a:xfrm>
            <a:off x="618744" y="209677"/>
            <a:ext cx="9064752" cy="1097915"/>
          </a:xfrm>
          <a:noFill/>
        </p:spPr>
        <p:txBody>
          <a:bodyPr anchor="b">
            <a:normAutofit/>
          </a:bodyPr>
          <a:lstStyle>
            <a:lvl1pPr>
              <a:defRPr sz="5400">
                <a:solidFill>
                  <a:schemeClr val="tx1"/>
                </a:solidFill>
                <a:latin typeface="+mn-lt"/>
              </a:defRPr>
            </a:lvl1pPr>
          </a:lstStyle>
          <a:p>
            <a:r>
              <a:rPr lang="en-US"/>
              <a:t>Click to add title</a:t>
            </a:r>
          </a:p>
        </p:txBody>
      </p:sp>
      <p:sp>
        <p:nvSpPr>
          <p:cNvPr id="12" name="Text Placeholder 11">
            <a:extLst>
              <a:ext uri="{FF2B5EF4-FFF2-40B4-BE49-F238E27FC236}">
                <a16:creationId xmlns:a16="http://schemas.microsoft.com/office/drawing/2014/main" id="{413A1C6A-339B-343A-B0AD-F761FE910519}"/>
              </a:ext>
            </a:extLst>
          </p:cNvPr>
          <p:cNvSpPr>
            <a:spLocks noGrp="1"/>
          </p:cNvSpPr>
          <p:nvPr>
            <p:ph type="body" sz="quarter" idx="13" hasCustomPrompt="1"/>
          </p:nvPr>
        </p:nvSpPr>
        <p:spPr>
          <a:xfrm>
            <a:off x="618745" y="1344676"/>
            <a:ext cx="9064752" cy="511175"/>
          </a:xfrm>
        </p:spPr>
        <p:txBody>
          <a:bodyPr lIns="164592" tIns="0">
            <a:noAutofit/>
          </a:bodyPr>
          <a:lstStyle>
            <a:lvl1pPr marL="0" indent="0">
              <a:buNone/>
              <a:defRPr sz="1800">
                <a:solidFill>
                  <a:schemeClr val="tx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50" name="Oval 49">
            <a:extLst>
              <a:ext uri="{FF2B5EF4-FFF2-40B4-BE49-F238E27FC236}">
                <a16:creationId xmlns:a16="http://schemas.microsoft.com/office/drawing/2014/main" id="{535829F9-B704-5645-ABE3-F98170E89B44}"/>
              </a:ext>
              <a:ext uri="{C183D7F6-B498-43B3-948B-1728B52AA6E4}">
                <adec:decorative xmlns:adec="http://schemas.microsoft.com/office/drawing/2017/decorative" val="1"/>
              </a:ext>
            </a:extLst>
          </p:cNvPr>
          <p:cNvSpPr/>
          <p:nvPr userDrawn="1"/>
        </p:nvSpPr>
        <p:spPr>
          <a:xfrm>
            <a:off x="10396346" y="585334"/>
            <a:ext cx="1005840" cy="1005840"/>
          </a:xfrm>
          <a:prstGeom prst="ellipse">
            <a:avLst/>
          </a:prstGeom>
          <a:noFill/>
          <a:ln w="19050">
            <a:solidFill>
              <a:schemeClr val="accent6">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5807DD9B-8716-9B22-9F91-88E6071F91D3}"/>
              </a:ext>
            </a:extLst>
          </p:cNvPr>
          <p:cNvSpPr>
            <a:spLocks noGrp="1" noChangeAspect="1"/>
          </p:cNvSpPr>
          <p:nvPr>
            <p:ph type="pic" sz="quarter" idx="14"/>
          </p:nvPr>
        </p:nvSpPr>
        <p:spPr>
          <a:xfrm>
            <a:off x="10487786" y="649342"/>
            <a:ext cx="822960" cy="822960"/>
          </a:xfrm>
          <a:prstGeom prst="ellipse">
            <a:avLst/>
          </a:prstGeom>
          <a:ln w="22225">
            <a:noFill/>
          </a:ln>
        </p:spPr>
        <p:txBody>
          <a:bodyPr lIns="0" tIns="0" rIns="0" bIns="0">
            <a:normAutofit/>
          </a:bodyPr>
          <a:lstStyle>
            <a:lvl1pPr marL="0" indent="0" algn="ctr">
              <a:buNone/>
              <a:defRPr sz="1000">
                <a:solidFill>
                  <a:schemeClr val="tx1"/>
                </a:solidFill>
              </a:defRPr>
            </a:lvl1pPr>
          </a:lstStyle>
          <a:p>
            <a:endParaRPr lang="en-US"/>
          </a:p>
        </p:txBody>
      </p:sp>
      <p:sp>
        <p:nvSpPr>
          <p:cNvPr id="15" name="Text Placeholder 11">
            <a:extLst>
              <a:ext uri="{FF2B5EF4-FFF2-40B4-BE49-F238E27FC236}">
                <a16:creationId xmlns:a16="http://schemas.microsoft.com/office/drawing/2014/main" id="{3465C986-E3D2-97E7-9111-0299F9C3B1D2}"/>
              </a:ext>
            </a:extLst>
          </p:cNvPr>
          <p:cNvSpPr>
            <a:spLocks noGrp="1"/>
          </p:cNvSpPr>
          <p:nvPr>
            <p:ph type="body" sz="quarter" idx="15" hasCustomPrompt="1"/>
          </p:nvPr>
        </p:nvSpPr>
        <p:spPr>
          <a:xfrm>
            <a:off x="673608"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0" name="Rectangle 39">
            <a:extLst>
              <a:ext uri="{FF2B5EF4-FFF2-40B4-BE49-F238E27FC236}">
                <a16:creationId xmlns:a16="http://schemas.microsoft.com/office/drawing/2014/main" id="{4CD86E3A-6D68-1F05-DE18-246FA7A4406A}"/>
              </a:ext>
              <a:ext uri="{C183D7F6-B498-43B3-948B-1728B52AA6E4}">
                <adec:decorative xmlns:adec="http://schemas.microsoft.com/office/drawing/2017/decorative" val="1"/>
              </a:ext>
            </a:extLst>
          </p:cNvPr>
          <p:cNvSpPr/>
          <p:nvPr userDrawn="1"/>
        </p:nvSpPr>
        <p:spPr>
          <a:xfrm>
            <a:off x="753404" y="3046075"/>
            <a:ext cx="1828633" cy="96903"/>
          </a:xfrm>
          <a:prstGeom prst="rect">
            <a:avLst/>
          </a:prstGeom>
          <a:gradFill>
            <a:gsLst>
              <a:gs pos="0">
                <a:schemeClr val="accent1">
                  <a:lumMod val="60000"/>
                  <a:lumOff val="40000"/>
                </a:schemeClr>
              </a:gs>
              <a:gs pos="100000">
                <a:schemeClr val="accent3">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0" name="Text Placeholder 11">
            <a:extLst>
              <a:ext uri="{FF2B5EF4-FFF2-40B4-BE49-F238E27FC236}">
                <a16:creationId xmlns:a16="http://schemas.microsoft.com/office/drawing/2014/main" id="{6C169315-0602-4C85-86EE-5C3554AAA92A}"/>
              </a:ext>
            </a:extLst>
          </p:cNvPr>
          <p:cNvSpPr>
            <a:spLocks noGrp="1"/>
          </p:cNvSpPr>
          <p:nvPr>
            <p:ph type="body" sz="quarter" idx="20" hasCustomPrompt="1"/>
          </p:nvPr>
        </p:nvSpPr>
        <p:spPr>
          <a:xfrm>
            <a:off x="673608"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5" name="Text Placeholder 11">
            <a:extLst>
              <a:ext uri="{FF2B5EF4-FFF2-40B4-BE49-F238E27FC236}">
                <a16:creationId xmlns:a16="http://schemas.microsoft.com/office/drawing/2014/main" id="{70FD3BFF-C0B9-AA50-A3D6-B4A48EEF7513}"/>
              </a:ext>
            </a:extLst>
          </p:cNvPr>
          <p:cNvSpPr>
            <a:spLocks noGrp="1"/>
          </p:cNvSpPr>
          <p:nvPr>
            <p:ph type="body" sz="quarter" idx="25" hasCustomPrompt="1"/>
          </p:nvPr>
        </p:nvSpPr>
        <p:spPr>
          <a:xfrm>
            <a:off x="670560"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1" name="Oval 50">
            <a:extLst>
              <a:ext uri="{FF2B5EF4-FFF2-40B4-BE49-F238E27FC236}">
                <a16:creationId xmlns:a16="http://schemas.microsoft.com/office/drawing/2014/main" id="{EBEE5563-8FF1-7479-E11E-F0144D7533D8}"/>
              </a:ext>
              <a:ext uri="{C183D7F6-B498-43B3-948B-1728B52AA6E4}">
                <adec:decorative xmlns:adec="http://schemas.microsoft.com/office/drawing/2017/decorative" val="1"/>
              </a:ext>
            </a:extLst>
          </p:cNvPr>
          <p:cNvSpPr/>
          <p:nvPr userDrawn="1"/>
        </p:nvSpPr>
        <p:spPr>
          <a:xfrm>
            <a:off x="1682496" y="4399153"/>
            <a:ext cx="685800" cy="685800"/>
          </a:xfrm>
          <a:prstGeom prst="ellipse">
            <a:avLst/>
          </a:prstGeom>
          <a:noFill/>
          <a:ln w="1270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Picture Placeholder 13">
            <a:extLst>
              <a:ext uri="{FF2B5EF4-FFF2-40B4-BE49-F238E27FC236}">
                <a16:creationId xmlns:a16="http://schemas.microsoft.com/office/drawing/2014/main" id="{A69C1816-EC8E-961C-AC21-6D86E9C455A1}"/>
              </a:ext>
            </a:extLst>
          </p:cNvPr>
          <p:cNvSpPr>
            <a:spLocks noGrp="1" noChangeAspect="1"/>
          </p:cNvSpPr>
          <p:nvPr>
            <p:ph type="pic" sz="quarter" idx="35"/>
          </p:nvPr>
        </p:nvSpPr>
        <p:spPr>
          <a:xfrm>
            <a:off x="1796796"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endParaRPr lang="en-US"/>
          </a:p>
        </p:txBody>
      </p:sp>
      <p:sp>
        <p:nvSpPr>
          <p:cNvPr id="26" name="Text Placeholder 11">
            <a:extLst>
              <a:ext uri="{FF2B5EF4-FFF2-40B4-BE49-F238E27FC236}">
                <a16:creationId xmlns:a16="http://schemas.microsoft.com/office/drawing/2014/main" id="{9F9A0E21-E67B-7E2F-ED16-4BABF0781083}"/>
              </a:ext>
            </a:extLst>
          </p:cNvPr>
          <p:cNvSpPr>
            <a:spLocks noGrp="1"/>
          </p:cNvSpPr>
          <p:nvPr>
            <p:ph type="body" sz="quarter" idx="26" hasCustomPrompt="1"/>
          </p:nvPr>
        </p:nvSpPr>
        <p:spPr>
          <a:xfrm>
            <a:off x="670560"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5" name="Straight Arrow Connector 44">
            <a:extLst>
              <a:ext uri="{FF2B5EF4-FFF2-40B4-BE49-F238E27FC236}">
                <a16:creationId xmlns:a16="http://schemas.microsoft.com/office/drawing/2014/main" id="{9CFE922A-6A5A-4DA8-1E44-D80852772091}"/>
              </a:ext>
              <a:ext uri="{C183D7F6-B498-43B3-948B-1728B52AA6E4}">
                <adec:decorative xmlns:adec="http://schemas.microsoft.com/office/drawing/2017/decorative" val="1"/>
              </a:ext>
            </a:extLst>
          </p:cNvPr>
          <p:cNvCxnSpPr>
            <a:cxnSpLocks/>
          </p:cNvCxnSpPr>
          <p:nvPr userDrawn="1"/>
        </p:nvCxnSpPr>
        <p:spPr>
          <a:xfrm>
            <a:off x="753404" y="5377870"/>
            <a:ext cx="1827083" cy="0"/>
          </a:xfrm>
          <a:prstGeom prst="straightConnector1">
            <a:avLst/>
          </a:prstGeom>
          <a:ln w="19050" cap="flat" cmpd="sng" algn="ctr">
            <a:gradFill>
              <a:gsLst>
                <a:gs pos="0">
                  <a:schemeClr val="accent1">
                    <a:lumMod val="75000"/>
                  </a:schemeClr>
                </a:gs>
                <a:gs pos="100000">
                  <a:schemeClr val="accent3">
                    <a:lumMod val="75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Text Placeholder 11">
            <a:extLst>
              <a:ext uri="{FF2B5EF4-FFF2-40B4-BE49-F238E27FC236}">
                <a16:creationId xmlns:a16="http://schemas.microsoft.com/office/drawing/2014/main" id="{3D56C31D-5FDB-2235-FFF8-2AB6E04C9B1C}"/>
              </a:ext>
            </a:extLst>
          </p:cNvPr>
          <p:cNvSpPr>
            <a:spLocks noGrp="1"/>
          </p:cNvSpPr>
          <p:nvPr>
            <p:ph type="body" sz="quarter" idx="16" hasCustomPrompt="1"/>
          </p:nvPr>
        </p:nvSpPr>
        <p:spPr>
          <a:xfrm>
            <a:off x="2862072"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1" name="Rectangle 40">
            <a:extLst>
              <a:ext uri="{FF2B5EF4-FFF2-40B4-BE49-F238E27FC236}">
                <a16:creationId xmlns:a16="http://schemas.microsoft.com/office/drawing/2014/main" id="{481FC81D-B431-FFA6-47F5-F40C79C53D0A}"/>
              </a:ext>
              <a:ext uri="{C183D7F6-B498-43B3-948B-1728B52AA6E4}">
                <adec:decorative xmlns:adec="http://schemas.microsoft.com/office/drawing/2017/decorative" val="1"/>
              </a:ext>
            </a:extLst>
          </p:cNvPr>
          <p:cNvSpPr/>
          <p:nvPr userDrawn="1"/>
        </p:nvSpPr>
        <p:spPr>
          <a:xfrm>
            <a:off x="2946272" y="3046075"/>
            <a:ext cx="1828633" cy="96903"/>
          </a:xfrm>
          <a:prstGeom prst="rect">
            <a:avLst/>
          </a:prstGeom>
          <a:gradFill>
            <a:gsLst>
              <a:gs pos="0">
                <a:schemeClr val="accent3">
                  <a:lumMod val="60000"/>
                  <a:lumOff val="40000"/>
                </a:schemeClr>
              </a:gs>
              <a:gs pos="100000">
                <a:schemeClr val="accent2">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1" name="Text Placeholder 11">
            <a:extLst>
              <a:ext uri="{FF2B5EF4-FFF2-40B4-BE49-F238E27FC236}">
                <a16:creationId xmlns:a16="http://schemas.microsoft.com/office/drawing/2014/main" id="{B16A2860-4464-B092-801E-255A6B7DF3E4}"/>
              </a:ext>
            </a:extLst>
          </p:cNvPr>
          <p:cNvSpPr>
            <a:spLocks noGrp="1"/>
          </p:cNvSpPr>
          <p:nvPr>
            <p:ph type="body" sz="quarter" idx="21" hasCustomPrompt="1"/>
          </p:nvPr>
        </p:nvSpPr>
        <p:spPr>
          <a:xfrm>
            <a:off x="2862072"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7" name="Text Placeholder 11">
            <a:extLst>
              <a:ext uri="{FF2B5EF4-FFF2-40B4-BE49-F238E27FC236}">
                <a16:creationId xmlns:a16="http://schemas.microsoft.com/office/drawing/2014/main" id="{3B992882-DF57-9DAF-2532-06C30C2D9F16}"/>
              </a:ext>
            </a:extLst>
          </p:cNvPr>
          <p:cNvSpPr>
            <a:spLocks noGrp="1"/>
          </p:cNvSpPr>
          <p:nvPr>
            <p:ph type="body" sz="quarter" idx="27" hasCustomPrompt="1"/>
          </p:nvPr>
        </p:nvSpPr>
        <p:spPr>
          <a:xfrm>
            <a:off x="2862072"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2" name="Oval 51">
            <a:extLst>
              <a:ext uri="{FF2B5EF4-FFF2-40B4-BE49-F238E27FC236}">
                <a16:creationId xmlns:a16="http://schemas.microsoft.com/office/drawing/2014/main" id="{2E63250C-AB2E-9D56-C26C-1E211DFAD534}"/>
              </a:ext>
              <a:ext uri="{C183D7F6-B498-43B3-948B-1728B52AA6E4}">
                <adec:decorative xmlns:adec="http://schemas.microsoft.com/office/drawing/2017/decorative" val="1"/>
              </a:ext>
            </a:extLst>
          </p:cNvPr>
          <p:cNvSpPr/>
          <p:nvPr userDrawn="1"/>
        </p:nvSpPr>
        <p:spPr>
          <a:xfrm>
            <a:off x="3887724" y="4399153"/>
            <a:ext cx="685800" cy="685800"/>
          </a:xfrm>
          <a:prstGeom prst="ellipse">
            <a:avLst/>
          </a:prstGeom>
          <a:noFill/>
          <a:ln w="127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Picture Placeholder 13">
            <a:extLst>
              <a:ext uri="{FF2B5EF4-FFF2-40B4-BE49-F238E27FC236}">
                <a16:creationId xmlns:a16="http://schemas.microsoft.com/office/drawing/2014/main" id="{50C6734A-2661-863D-C8B6-6A4DBC588FE4}"/>
              </a:ext>
            </a:extLst>
          </p:cNvPr>
          <p:cNvSpPr>
            <a:spLocks noGrp="1" noChangeAspect="1"/>
          </p:cNvSpPr>
          <p:nvPr>
            <p:ph type="pic" sz="quarter" idx="36"/>
          </p:nvPr>
        </p:nvSpPr>
        <p:spPr>
          <a:xfrm>
            <a:off x="4002024"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endParaRPr lang="en-US"/>
          </a:p>
        </p:txBody>
      </p:sp>
      <p:sp>
        <p:nvSpPr>
          <p:cNvPr id="28" name="Text Placeholder 11">
            <a:extLst>
              <a:ext uri="{FF2B5EF4-FFF2-40B4-BE49-F238E27FC236}">
                <a16:creationId xmlns:a16="http://schemas.microsoft.com/office/drawing/2014/main" id="{50D7755C-4D0B-D8A7-6235-8E606B39F3AB}"/>
              </a:ext>
            </a:extLst>
          </p:cNvPr>
          <p:cNvSpPr>
            <a:spLocks noGrp="1"/>
          </p:cNvSpPr>
          <p:nvPr>
            <p:ph type="body" sz="quarter" idx="28" hasCustomPrompt="1"/>
          </p:nvPr>
        </p:nvSpPr>
        <p:spPr>
          <a:xfrm>
            <a:off x="2862072"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6" name="Straight Arrow Connector 45">
            <a:extLst>
              <a:ext uri="{FF2B5EF4-FFF2-40B4-BE49-F238E27FC236}">
                <a16:creationId xmlns:a16="http://schemas.microsoft.com/office/drawing/2014/main" id="{76330766-86D4-F436-F65D-07EF389BF5F5}"/>
              </a:ext>
              <a:ext uri="{C183D7F6-B498-43B3-948B-1728B52AA6E4}">
                <adec:decorative xmlns:adec="http://schemas.microsoft.com/office/drawing/2017/decorative" val="1"/>
              </a:ext>
            </a:extLst>
          </p:cNvPr>
          <p:cNvCxnSpPr>
            <a:cxnSpLocks/>
          </p:cNvCxnSpPr>
          <p:nvPr userDrawn="1"/>
        </p:nvCxnSpPr>
        <p:spPr>
          <a:xfrm>
            <a:off x="2943485" y="5377870"/>
            <a:ext cx="1836387" cy="0"/>
          </a:xfrm>
          <a:prstGeom prst="straightConnector1">
            <a:avLst/>
          </a:prstGeom>
          <a:ln w="19050" cap="flat" cmpd="sng" algn="ctr">
            <a:gradFill>
              <a:gsLst>
                <a:gs pos="0">
                  <a:schemeClr val="accent3">
                    <a:lumMod val="75000"/>
                  </a:schemeClr>
                </a:gs>
                <a:gs pos="100000">
                  <a:schemeClr val="accent2"/>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 name="Text Placeholder 11">
            <a:extLst>
              <a:ext uri="{FF2B5EF4-FFF2-40B4-BE49-F238E27FC236}">
                <a16:creationId xmlns:a16="http://schemas.microsoft.com/office/drawing/2014/main" id="{A540E06E-3F2B-A3DC-320A-8C968AC4350E}"/>
              </a:ext>
            </a:extLst>
          </p:cNvPr>
          <p:cNvSpPr>
            <a:spLocks noGrp="1"/>
          </p:cNvSpPr>
          <p:nvPr>
            <p:ph type="body" sz="quarter" idx="17" hasCustomPrompt="1"/>
          </p:nvPr>
        </p:nvSpPr>
        <p:spPr>
          <a:xfrm>
            <a:off x="5050536"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2" name="Rectangle 41">
            <a:extLst>
              <a:ext uri="{FF2B5EF4-FFF2-40B4-BE49-F238E27FC236}">
                <a16:creationId xmlns:a16="http://schemas.microsoft.com/office/drawing/2014/main" id="{F46BB721-1D88-1A03-1D55-5C79942C7137}"/>
              </a:ext>
              <a:ext uri="{C183D7F6-B498-43B3-948B-1728B52AA6E4}">
                <adec:decorative xmlns:adec="http://schemas.microsoft.com/office/drawing/2017/decorative" val="1"/>
              </a:ext>
            </a:extLst>
          </p:cNvPr>
          <p:cNvSpPr/>
          <p:nvPr userDrawn="1"/>
        </p:nvSpPr>
        <p:spPr>
          <a:xfrm>
            <a:off x="5139140" y="3046075"/>
            <a:ext cx="1828634" cy="96903"/>
          </a:xfrm>
          <a:prstGeom prst="rect">
            <a:avLst/>
          </a:prstGeom>
          <a:gradFill>
            <a:gsLst>
              <a:gs pos="0">
                <a:schemeClr val="accent2">
                  <a:lumMod val="60000"/>
                  <a:lumOff val="40000"/>
                </a:schemeClr>
              </a:gs>
              <a:gs pos="100000">
                <a:schemeClr val="accent5">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2" name="Text Placeholder 11">
            <a:extLst>
              <a:ext uri="{FF2B5EF4-FFF2-40B4-BE49-F238E27FC236}">
                <a16:creationId xmlns:a16="http://schemas.microsoft.com/office/drawing/2014/main" id="{51307C43-6072-93E9-BF1D-64D42AE2A524}"/>
              </a:ext>
            </a:extLst>
          </p:cNvPr>
          <p:cNvSpPr>
            <a:spLocks noGrp="1"/>
          </p:cNvSpPr>
          <p:nvPr>
            <p:ph type="body" sz="quarter" idx="22" hasCustomPrompt="1"/>
          </p:nvPr>
        </p:nvSpPr>
        <p:spPr>
          <a:xfrm>
            <a:off x="5050536"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9" name="Text Placeholder 11">
            <a:extLst>
              <a:ext uri="{FF2B5EF4-FFF2-40B4-BE49-F238E27FC236}">
                <a16:creationId xmlns:a16="http://schemas.microsoft.com/office/drawing/2014/main" id="{7CBDAD5E-0048-0813-47FC-FFE93F191C5B}"/>
              </a:ext>
            </a:extLst>
          </p:cNvPr>
          <p:cNvSpPr>
            <a:spLocks noGrp="1"/>
          </p:cNvSpPr>
          <p:nvPr>
            <p:ph type="body" sz="quarter" idx="29" hasCustomPrompt="1"/>
          </p:nvPr>
        </p:nvSpPr>
        <p:spPr>
          <a:xfrm>
            <a:off x="5065776"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4" name="Oval 53">
            <a:extLst>
              <a:ext uri="{FF2B5EF4-FFF2-40B4-BE49-F238E27FC236}">
                <a16:creationId xmlns:a16="http://schemas.microsoft.com/office/drawing/2014/main" id="{60D4CBD1-AAC9-3F04-3F49-E8579F6F7ABE}"/>
              </a:ext>
              <a:ext uri="{C183D7F6-B498-43B3-948B-1728B52AA6E4}">
                <adec:decorative xmlns:adec="http://schemas.microsoft.com/office/drawing/2017/decorative" val="1"/>
              </a:ext>
            </a:extLst>
          </p:cNvPr>
          <p:cNvSpPr/>
          <p:nvPr userDrawn="1"/>
        </p:nvSpPr>
        <p:spPr>
          <a:xfrm>
            <a:off x="6092952" y="4402872"/>
            <a:ext cx="685800" cy="685800"/>
          </a:xfrm>
          <a:prstGeom prst="ellipse">
            <a:avLst/>
          </a:prstGeom>
          <a:no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Picture Placeholder 13">
            <a:extLst>
              <a:ext uri="{FF2B5EF4-FFF2-40B4-BE49-F238E27FC236}">
                <a16:creationId xmlns:a16="http://schemas.microsoft.com/office/drawing/2014/main" id="{F154717D-74D1-298B-EF00-6CCA65AA969B}"/>
              </a:ext>
            </a:extLst>
          </p:cNvPr>
          <p:cNvSpPr>
            <a:spLocks noGrp="1" noChangeAspect="1"/>
          </p:cNvSpPr>
          <p:nvPr>
            <p:ph type="pic" sz="quarter" idx="37"/>
          </p:nvPr>
        </p:nvSpPr>
        <p:spPr>
          <a:xfrm>
            <a:off x="6207252" y="4517172"/>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endParaRPr lang="en-US"/>
          </a:p>
        </p:txBody>
      </p:sp>
      <p:sp>
        <p:nvSpPr>
          <p:cNvPr id="30" name="Text Placeholder 11">
            <a:extLst>
              <a:ext uri="{FF2B5EF4-FFF2-40B4-BE49-F238E27FC236}">
                <a16:creationId xmlns:a16="http://schemas.microsoft.com/office/drawing/2014/main" id="{3A23A057-C011-EB28-4869-A73F2E3B3394}"/>
              </a:ext>
            </a:extLst>
          </p:cNvPr>
          <p:cNvSpPr>
            <a:spLocks noGrp="1"/>
          </p:cNvSpPr>
          <p:nvPr>
            <p:ph type="body" sz="quarter" idx="30" hasCustomPrompt="1"/>
          </p:nvPr>
        </p:nvSpPr>
        <p:spPr>
          <a:xfrm>
            <a:off x="5065776"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7" name="Straight Arrow Connector 46">
            <a:extLst>
              <a:ext uri="{FF2B5EF4-FFF2-40B4-BE49-F238E27FC236}">
                <a16:creationId xmlns:a16="http://schemas.microsoft.com/office/drawing/2014/main" id="{EF51B736-1CC5-842A-AFEB-68B18931713C}"/>
              </a:ext>
              <a:ext uri="{C183D7F6-B498-43B3-948B-1728B52AA6E4}">
                <adec:decorative xmlns:adec="http://schemas.microsoft.com/office/drawing/2017/decorative" val="1"/>
              </a:ext>
            </a:extLst>
          </p:cNvPr>
          <p:cNvCxnSpPr>
            <a:cxnSpLocks/>
          </p:cNvCxnSpPr>
          <p:nvPr userDrawn="1"/>
        </p:nvCxnSpPr>
        <p:spPr>
          <a:xfrm>
            <a:off x="5142870" y="5377870"/>
            <a:ext cx="1827639" cy="0"/>
          </a:xfrm>
          <a:prstGeom prst="straightConnector1">
            <a:avLst/>
          </a:prstGeom>
          <a:ln w="19050" cap="flat" cmpd="sng" algn="ctr">
            <a:gradFill>
              <a:gsLst>
                <a:gs pos="0">
                  <a:schemeClr val="accent2"/>
                </a:gs>
                <a:gs pos="100000">
                  <a:schemeClr val="accent5">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Text Placeholder 11">
            <a:extLst>
              <a:ext uri="{FF2B5EF4-FFF2-40B4-BE49-F238E27FC236}">
                <a16:creationId xmlns:a16="http://schemas.microsoft.com/office/drawing/2014/main" id="{716EA8F4-B9C4-991F-0EBC-D79877AD4680}"/>
              </a:ext>
            </a:extLst>
          </p:cNvPr>
          <p:cNvSpPr>
            <a:spLocks noGrp="1"/>
          </p:cNvSpPr>
          <p:nvPr>
            <p:ph type="body" sz="quarter" idx="18" hasCustomPrompt="1"/>
          </p:nvPr>
        </p:nvSpPr>
        <p:spPr>
          <a:xfrm>
            <a:off x="7239000"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3" name="Rectangle 42">
            <a:extLst>
              <a:ext uri="{FF2B5EF4-FFF2-40B4-BE49-F238E27FC236}">
                <a16:creationId xmlns:a16="http://schemas.microsoft.com/office/drawing/2014/main" id="{3B68F5A8-E314-7C7A-6CB2-3036DF2A8EFC}"/>
              </a:ext>
              <a:ext uri="{C183D7F6-B498-43B3-948B-1728B52AA6E4}">
                <adec:decorative xmlns:adec="http://schemas.microsoft.com/office/drawing/2017/decorative" val="1"/>
              </a:ext>
            </a:extLst>
          </p:cNvPr>
          <p:cNvSpPr/>
          <p:nvPr userDrawn="1"/>
        </p:nvSpPr>
        <p:spPr>
          <a:xfrm>
            <a:off x="7332009" y="3046075"/>
            <a:ext cx="1828635" cy="96903"/>
          </a:xfrm>
          <a:prstGeom prst="rect">
            <a:avLst/>
          </a:prstGeom>
          <a:gradFill>
            <a:gsLst>
              <a:gs pos="0">
                <a:schemeClr val="accent5">
                  <a:lumMod val="60000"/>
                  <a:lumOff val="40000"/>
                </a:schemeClr>
              </a:gs>
              <a:gs pos="100000">
                <a:schemeClr val="accent6">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3" name="Text Placeholder 11">
            <a:extLst>
              <a:ext uri="{FF2B5EF4-FFF2-40B4-BE49-F238E27FC236}">
                <a16:creationId xmlns:a16="http://schemas.microsoft.com/office/drawing/2014/main" id="{5A57C80F-4C30-26E1-B38B-3D7238EC9A49}"/>
              </a:ext>
            </a:extLst>
          </p:cNvPr>
          <p:cNvSpPr>
            <a:spLocks noGrp="1"/>
          </p:cNvSpPr>
          <p:nvPr>
            <p:ph type="body" sz="quarter" idx="23" hasCustomPrompt="1"/>
          </p:nvPr>
        </p:nvSpPr>
        <p:spPr>
          <a:xfrm>
            <a:off x="7239000"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1" name="Text Placeholder 11">
            <a:extLst>
              <a:ext uri="{FF2B5EF4-FFF2-40B4-BE49-F238E27FC236}">
                <a16:creationId xmlns:a16="http://schemas.microsoft.com/office/drawing/2014/main" id="{A44BB5F0-6856-4711-058C-73C1CBF4646B}"/>
              </a:ext>
            </a:extLst>
          </p:cNvPr>
          <p:cNvSpPr>
            <a:spLocks noGrp="1"/>
          </p:cNvSpPr>
          <p:nvPr>
            <p:ph type="body" sz="quarter" idx="31" hasCustomPrompt="1"/>
          </p:nvPr>
        </p:nvSpPr>
        <p:spPr>
          <a:xfrm>
            <a:off x="7257288"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6" name="Oval 55">
            <a:extLst>
              <a:ext uri="{FF2B5EF4-FFF2-40B4-BE49-F238E27FC236}">
                <a16:creationId xmlns:a16="http://schemas.microsoft.com/office/drawing/2014/main" id="{1EF56C89-6D7E-4196-72BF-23ACEE823C0C}"/>
              </a:ext>
              <a:ext uri="{C183D7F6-B498-43B3-948B-1728B52AA6E4}">
                <adec:decorative xmlns:adec="http://schemas.microsoft.com/office/drawing/2017/decorative" val="1"/>
              </a:ext>
            </a:extLst>
          </p:cNvPr>
          <p:cNvSpPr/>
          <p:nvPr userDrawn="1"/>
        </p:nvSpPr>
        <p:spPr>
          <a:xfrm>
            <a:off x="8298180" y="4402872"/>
            <a:ext cx="685800" cy="685800"/>
          </a:xfrm>
          <a:prstGeom prst="ellipse">
            <a:avLst/>
          </a:prstGeom>
          <a:noFill/>
          <a:ln w="127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Picture Placeholder 13">
            <a:extLst>
              <a:ext uri="{FF2B5EF4-FFF2-40B4-BE49-F238E27FC236}">
                <a16:creationId xmlns:a16="http://schemas.microsoft.com/office/drawing/2014/main" id="{719C23E4-DE06-6FF4-1BC9-5305DE50D817}"/>
              </a:ext>
            </a:extLst>
          </p:cNvPr>
          <p:cNvSpPr>
            <a:spLocks noGrp="1" noChangeAspect="1"/>
          </p:cNvSpPr>
          <p:nvPr>
            <p:ph type="pic" sz="quarter" idx="38"/>
          </p:nvPr>
        </p:nvSpPr>
        <p:spPr>
          <a:xfrm>
            <a:off x="8412480" y="4517172"/>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endParaRPr lang="en-US"/>
          </a:p>
        </p:txBody>
      </p:sp>
      <p:sp>
        <p:nvSpPr>
          <p:cNvPr id="32" name="Text Placeholder 11">
            <a:extLst>
              <a:ext uri="{FF2B5EF4-FFF2-40B4-BE49-F238E27FC236}">
                <a16:creationId xmlns:a16="http://schemas.microsoft.com/office/drawing/2014/main" id="{F5A3DA8B-D38B-3994-FE85-0A331FBADADA}"/>
              </a:ext>
            </a:extLst>
          </p:cNvPr>
          <p:cNvSpPr>
            <a:spLocks noGrp="1"/>
          </p:cNvSpPr>
          <p:nvPr>
            <p:ph type="body" sz="quarter" idx="32" hasCustomPrompt="1"/>
          </p:nvPr>
        </p:nvSpPr>
        <p:spPr>
          <a:xfrm>
            <a:off x="7257288"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8" name="Straight Arrow Connector 47">
            <a:extLst>
              <a:ext uri="{FF2B5EF4-FFF2-40B4-BE49-F238E27FC236}">
                <a16:creationId xmlns:a16="http://schemas.microsoft.com/office/drawing/2014/main" id="{A771B152-C165-EE9A-CF25-69B01D93984C}"/>
              </a:ext>
              <a:ext uri="{C183D7F6-B498-43B3-948B-1728B52AA6E4}">
                <adec:decorative xmlns:adec="http://schemas.microsoft.com/office/drawing/2017/decorative" val="1"/>
              </a:ext>
            </a:extLst>
          </p:cNvPr>
          <p:cNvCxnSpPr>
            <a:cxnSpLocks/>
          </p:cNvCxnSpPr>
          <p:nvPr userDrawn="1"/>
        </p:nvCxnSpPr>
        <p:spPr>
          <a:xfrm>
            <a:off x="7333507" y="5377870"/>
            <a:ext cx="1828375" cy="0"/>
          </a:xfrm>
          <a:prstGeom prst="straightConnector1">
            <a:avLst/>
          </a:prstGeom>
          <a:ln w="19050" cap="flat" cmpd="sng" algn="ctr">
            <a:gradFill>
              <a:gsLst>
                <a:gs pos="0">
                  <a:schemeClr val="accent5">
                    <a:lumMod val="60000"/>
                    <a:lumOff val="40000"/>
                  </a:schemeClr>
                </a:gs>
                <a:gs pos="100000">
                  <a:schemeClr val="accent6"/>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9" name="Text Placeholder 11">
            <a:extLst>
              <a:ext uri="{FF2B5EF4-FFF2-40B4-BE49-F238E27FC236}">
                <a16:creationId xmlns:a16="http://schemas.microsoft.com/office/drawing/2014/main" id="{D3896BC4-3EFC-36C4-6071-4BF0E987F965}"/>
              </a:ext>
            </a:extLst>
          </p:cNvPr>
          <p:cNvSpPr>
            <a:spLocks noGrp="1"/>
          </p:cNvSpPr>
          <p:nvPr>
            <p:ph type="body" sz="quarter" idx="19" hasCustomPrompt="1"/>
          </p:nvPr>
        </p:nvSpPr>
        <p:spPr>
          <a:xfrm>
            <a:off x="9427464"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4" name="Rectangle 43">
            <a:extLst>
              <a:ext uri="{FF2B5EF4-FFF2-40B4-BE49-F238E27FC236}">
                <a16:creationId xmlns:a16="http://schemas.microsoft.com/office/drawing/2014/main" id="{B6236E29-4894-FD6C-E56F-5B1CBA99A5AC}"/>
              </a:ext>
              <a:ext uri="{C183D7F6-B498-43B3-948B-1728B52AA6E4}">
                <adec:decorative xmlns:adec="http://schemas.microsoft.com/office/drawing/2017/decorative" val="1"/>
              </a:ext>
            </a:extLst>
          </p:cNvPr>
          <p:cNvSpPr/>
          <p:nvPr userDrawn="1"/>
        </p:nvSpPr>
        <p:spPr>
          <a:xfrm>
            <a:off x="9524879" y="3046075"/>
            <a:ext cx="1828635" cy="96903"/>
          </a:xfrm>
          <a:prstGeom prst="rect">
            <a:avLst/>
          </a:prstGeom>
          <a:gradFill>
            <a:gsLst>
              <a:gs pos="0">
                <a:schemeClr val="accent6">
                  <a:lumMod val="60000"/>
                  <a:lumOff val="40000"/>
                </a:schemeClr>
              </a:gs>
              <a:gs pos="100000">
                <a:schemeClr val="accent6">
                  <a:lumMod val="40000"/>
                  <a:lumOff val="6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4" name="Text Placeholder 11">
            <a:extLst>
              <a:ext uri="{FF2B5EF4-FFF2-40B4-BE49-F238E27FC236}">
                <a16:creationId xmlns:a16="http://schemas.microsoft.com/office/drawing/2014/main" id="{4C2DA584-D9BC-7A01-6F48-363C7F6465E3}"/>
              </a:ext>
            </a:extLst>
          </p:cNvPr>
          <p:cNvSpPr>
            <a:spLocks noGrp="1"/>
          </p:cNvSpPr>
          <p:nvPr>
            <p:ph type="body" sz="quarter" idx="24" hasCustomPrompt="1"/>
          </p:nvPr>
        </p:nvSpPr>
        <p:spPr>
          <a:xfrm>
            <a:off x="9427464"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3" name="Text Placeholder 11">
            <a:extLst>
              <a:ext uri="{FF2B5EF4-FFF2-40B4-BE49-F238E27FC236}">
                <a16:creationId xmlns:a16="http://schemas.microsoft.com/office/drawing/2014/main" id="{70C95BBB-511F-F8F5-EF37-C6109C4AF4E0}"/>
              </a:ext>
            </a:extLst>
          </p:cNvPr>
          <p:cNvSpPr>
            <a:spLocks noGrp="1"/>
          </p:cNvSpPr>
          <p:nvPr>
            <p:ph type="body" sz="quarter" idx="33" hasCustomPrompt="1"/>
          </p:nvPr>
        </p:nvSpPr>
        <p:spPr>
          <a:xfrm>
            <a:off x="9448800"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8" name="Oval 57">
            <a:extLst>
              <a:ext uri="{FF2B5EF4-FFF2-40B4-BE49-F238E27FC236}">
                <a16:creationId xmlns:a16="http://schemas.microsoft.com/office/drawing/2014/main" id="{D0EDAC9C-0C6E-2807-24D5-3E04B5E2109B}"/>
              </a:ext>
              <a:ext uri="{C183D7F6-B498-43B3-948B-1728B52AA6E4}">
                <adec:decorative xmlns:adec="http://schemas.microsoft.com/office/drawing/2017/decorative" val="1"/>
              </a:ext>
            </a:extLst>
          </p:cNvPr>
          <p:cNvSpPr/>
          <p:nvPr userDrawn="1"/>
        </p:nvSpPr>
        <p:spPr>
          <a:xfrm>
            <a:off x="10484738" y="4399153"/>
            <a:ext cx="685800" cy="685800"/>
          </a:xfrm>
          <a:prstGeom prst="ellipse">
            <a:avLst/>
          </a:prstGeom>
          <a:noFill/>
          <a:ln w="127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Picture Placeholder 13">
            <a:extLst>
              <a:ext uri="{FF2B5EF4-FFF2-40B4-BE49-F238E27FC236}">
                <a16:creationId xmlns:a16="http://schemas.microsoft.com/office/drawing/2014/main" id="{B1C0F0FD-844D-CC54-986F-B8522F12B0A5}"/>
              </a:ext>
            </a:extLst>
          </p:cNvPr>
          <p:cNvSpPr>
            <a:spLocks noGrp="1" noChangeAspect="1"/>
          </p:cNvSpPr>
          <p:nvPr>
            <p:ph type="pic" sz="quarter" idx="39"/>
          </p:nvPr>
        </p:nvSpPr>
        <p:spPr>
          <a:xfrm>
            <a:off x="10599038"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endParaRPr lang="en-US"/>
          </a:p>
        </p:txBody>
      </p:sp>
      <p:sp>
        <p:nvSpPr>
          <p:cNvPr id="34" name="Text Placeholder 11">
            <a:extLst>
              <a:ext uri="{FF2B5EF4-FFF2-40B4-BE49-F238E27FC236}">
                <a16:creationId xmlns:a16="http://schemas.microsoft.com/office/drawing/2014/main" id="{A00816D8-6779-7BDB-52AB-5BD0A2479E4C}"/>
              </a:ext>
            </a:extLst>
          </p:cNvPr>
          <p:cNvSpPr>
            <a:spLocks noGrp="1"/>
          </p:cNvSpPr>
          <p:nvPr>
            <p:ph type="body" sz="quarter" idx="34" hasCustomPrompt="1"/>
          </p:nvPr>
        </p:nvSpPr>
        <p:spPr>
          <a:xfrm>
            <a:off x="9448800"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9" name="Straight Arrow Connector 48">
            <a:extLst>
              <a:ext uri="{FF2B5EF4-FFF2-40B4-BE49-F238E27FC236}">
                <a16:creationId xmlns:a16="http://schemas.microsoft.com/office/drawing/2014/main" id="{D6506AFF-E40E-308E-7907-FBFC4DAAB885}"/>
              </a:ext>
              <a:ext uri="{C183D7F6-B498-43B3-948B-1728B52AA6E4}">
                <adec:decorative xmlns:adec="http://schemas.microsoft.com/office/drawing/2017/decorative" val="1"/>
              </a:ext>
            </a:extLst>
          </p:cNvPr>
          <p:cNvCxnSpPr>
            <a:cxnSpLocks/>
          </p:cNvCxnSpPr>
          <p:nvPr userDrawn="1"/>
        </p:nvCxnSpPr>
        <p:spPr>
          <a:xfrm>
            <a:off x="9524879" y="5376344"/>
            <a:ext cx="1828635" cy="3053"/>
          </a:xfrm>
          <a:prstGeom prst="straightConnector1">
            <a:avLst/>
          </a:prstGeom>
          <a:ln w="19050" cap="flat" cmpd="sng" algn="ctr">
            <a:gradFill>
              <a:gsLst>
                <a:gs pos="0">
                  <a:schemeClr val="accent6"/>
                </a:gs>
                <a:gs pos="100000">
                  <a:schemeClr val="accent6">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 name="Footer Placeholder 4">
            <a:extLst>
              <a:ext uri="{FF2B5EF4-FFF2-40B4-BE49-F238E27FC236}">
                <a16:creationId xmlns:a16="http://schemas.microsoft.com/office/drawing/2014/main" id="{F80A11DE-725C-8DE4-9A24-3718A3D143CD}"/>
              </a:ext>
            </a:extLst>
          </p:cNvPr>
          <p:cNvSpPr>
            <a:spLocks noGrp="1"/>
          </p:cNvSpPr>
          <p:nvPr>
            <p:ph type="ftr" sz="quarter" idx="11"/>
          </p:nvPr>
        </p:nvSpPr>
        <p:spPr>
          <a:xfrm>
            <a:off x="670560" y="6072886"/>
            <a:ext cx="4114800" cy="365125"/>
          </a:xfrm>
          <a:prstGeom prst="rect">
            <a:avLst/>
          </a:prstGeom>
        </p:spPr>
        <p:txBody>
          <a:bodyPr/>
          <a:lstStyle>
            <a:lvl1pPr algn="l">
              <a:defRPr sz="1000" cap="all" baseline="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EC6D8153-A9C6-7A32-CDB7-BF9D7CB1ACD3}"/>
              </a:ext>
            </a:extLst>
          </p:cNvPr>
          <p:cNvSpPr>
            <a:spLocks noGrp="1"/>
          </p:cNvSpPr>
          <p:nvPr>
            <p:ph type="sldNum" sz="quarter" idx="12"/>
          </p:nvPr>
        </p:nvSpPr>
        <p:spPr>
          <a:xfrm>
            <a:off x="8738616" y="6072886"/>
            <a:ext cx="2743200" cy="365125"/>
          </a:xfrm>
          <a:prstGeom prst="rect">
            <a:avLst/>
          </a:prstGeom>
        </p:spPr>
        <p:txBody>
          <a:bodyPr/>
          <a:lstStyle>
            <a:lvl1pPr>
              <a:defRPr sz="1000">
                <a:solidFill>
                  <a:schemeClr val="tx1"/>
                </a:solidFill>
              </a:defRPr>
            </a:lvl1pPr>
          </a:lstStyle>
          <a:p>
            <a:r>
              <a:rPr lang="en-US"/>
              <a:t>0</a:t>
            </a:r>
            <a:fld id="{E6B975A5-EA91-314B-AF62-F6E264554D2F}" type="slidenum">
              <a:rPr lang="en-US" smtClean="0"/>
              <a:pPr/>
              <a:t>‹#›</a:t>
            </a:fld>
            <a:endParaRPr lang="en-US"/>
          </a:p>
        </p:txBody>
      </p:sp>
    </p:spTree>
    <p:extLst>
      <p:ext uri="{BB962C8B-B14F-4D97-AF65-F5344CB8AC3E}">
        <p14:creationId xmlns:p14="http://schemas.microsoft.com/office/powerpoint/2010/main" val="25529879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08295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F7BEBC8-DFAE-5142-860D-E84AE092ED12}"/>
              </a:ext>
            </a:extLst>
          </p:cNvPr>
          <p:cNvSpPr/>
          <p:nvPr userDrawn="1"/>
        </p:nvSpPr>
        <p:spPr>
          <a:xfrm>
            <a:off x="0" y="0"/>
            <a:ext cx="12192000" cy="6858000"/>
          </a:xfrm>
          <a:prstGeom prst="rect">
            <a:avLst/>
          </a:pr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135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reeform: Shape 1">
            <a:extLst>
              <a:ext uri="{FF2B5EF4-FFF2-40B4-BE49-F238E27FC236}">
                <a16:creationId xmlns:a16="http://schemas.microsoft.com/office/drawing/2014/main" id="{B201D8CB-62EE-DF4E-916B-64A97E467093}"/>
              </a:ext>
            </a:extLst>
          </p:cNvPr>
          <p:cNvSpPr/>
          <p:nvPr userDrawn="1"/>
        </p:nvSpPr>
        <p:spPr>
          <a:xfrm>
            <a:off x="5326742" y="1"/>
            <a:ext cx="1219200" cy="6857999"/>
          </a:xfrm>
          <a:custGeom>
            <a:avLst/>
            <a:gdLst>
              <a:gd name="connsiteX0" fmla="*/ 794262 w 794262"/>
              <a:gd name="connsiteY0" fmla="*/ 0 h 6422746"/>
              <a:gd name="connsiteX1" fmla="*/ 794262 w 794262"/>
              <a:gd name="connsiteY1" fmla="*/ 6422746 h 6422746"/>
              <a:gd name="connsiteX2" fmla="*/ 679455 w 794262"/>
              <a:gd name="connsiteY2" fmla="*/ 6198587 h 6422746"/>
              <a:gd name="connsiteX3" fmla="*/ 0 w 794262"/>
              <a:gd name="connsiteY3" fmla="*/ 3211373 h 6422746"/>
              <a:gd name="connsiteX4" fmla="*/ 679455 w 794262"/>
              <a:gd name="connsiteY4" fmla="*/ 224159 h 6422746"/>
              <a:gd name="connsiteX5" fmla="*/ 794262 w 794262"/>
              <a:gd name="connsiteY5" fmla="*/ 0 h 642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62" h="6422746">
                <a:moveTo>
                  <a:pt x="794262" y="0"/>
                </a:moveTo>
                <a:lnTo>
                  <a:pt x="794262" y="6422746"/>
                </a:lnTo>
                <a:lnTo>
                  <a:pt x="679455" y="6198587"/>
                </a:lnTo>
                <a:cubicBezTo>
                  <a:pt x="244018" y="5294910"/>
                  <a:pt x="0" y="4281638"/>
                  <a:pt x="0" y="3211373"/>
                </a:cubicBezTo>
                <a:cubicBezTo>
                  <a:pt x="0" y="2141108"/>
                  <a:pt x="244018" y="1127837"/>
                  <a:pt x="679455" y="224159"/>
                </a:cubicBezTo>
                <a:lnTo>
                  <a:pt x="794262" y="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Rectangle 2">
            <a:extLst>
              <a:ext uri="{FF2B5EF4-FFF2-40B4-BE49-F238E27FC236}">
                <a16:creationId xmlns:a16="http://schemas.microsoft.com/office/drawing/2014/main" id="{EAE9B975-A3E9-352C-AD40-58C2509C4E53}"/>
              </a:ext>
            </a:extLst>
          </p:cNvPr>
          <p:cNvSpPr/>
          <p:nvPr userDrawn="1"/>
        </p:nvSpPr>
        <p:spPr>
          <a:xfrm>
            <a:off x="6545943" y="0"/>
            <a:ext cx="5646058"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78B58433-A8B8-7A95-576E-8696116654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377839853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Naslovni slajd">
    <p:spTree>
      <p:nvGrpSpPr>
        <p:cNvPr id="1" name=""/>
        <p:cNvGrpSpPr/>
        <p:nvPr/>
      </p:nvGrpSpPr>
      <p:grpSpPr>
        <a:xfrm>
          <a:off x="0" y="0"/>
          <a:ext cx="0" cy="0"/>
          <a:chOff x="0" y="0"/>
          <a:chExt cx="0" cy="0"/>
        </a:xfrm>
      </p:grpSpPr>
      <p:pic>
        <p:nvPicPr>
          <p:cNvPr id="13" name="Slika 12">
            <a:extLst>
              <a:ext uri="{FF2B5EF4-FFF2-40B4-BE49-F238E27FC236}">
                <a16:creationId xmlns:a16="http://schemas.microsoft.com/office/drawing/2014/main" id="{43193DFE-1602-8458-55A1-7EF8F26DFF5C}"/>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flipH="1">
            <a:off x="4609694" y="0"/>
            <a:ext cx="7618336" cy="6876746"/>
          </a:xfrm>
          <a:prstGeom prst="rect">
            <a:avLst/>
          </a:prstGeom>
        </p:spPr>
      </p:pic>
      <p:sp>
        <p:nvSpPr>
          <p:cNvPr id="14" name="Pravokutnik 13">
            <a:extLst>
              <a:ext uri="{FF2B5EF4-FFF2-40B4-BE49-F238E27FC236}">
                <a16:creationId xmlns:a16="http://schemas.microsoft.com/office/drawing/2014/main" id="{F56C4F69-E3C9-D826-75A4-C55284F566D2}"/>
              </a:ext>
            </a:extLst>
          </p:cNvPr>
          <p:cNvSpPr/>
          <p:nvPr userDrawn="1"/>
        </p:nvSpPr>
        <p:spPr>
          <a:xfrm>
            <a:off x="4573664" y="0"/>
            <a:ext cx="7654366" cy="6883961"/>
          </a:xfrm>
          <a:prstGeom prst="rect">
            <a:avLst/>
          </a:prstGeom>
          <a:gradFill>
            <a:gsLst>
              <a:gs pos="0">
                <a:srgbClr val="000287">
                  <a:alpha val="87000"/>
                </a:srgbClr>
              </a:gs>
              <a:gs pos="56000">
                <a:srgbClr val="007BAB">
                  <a:alpha val="26000"/>
                </a:srgbClr>
              </a:gs>
              <a:gs pos="100000">
                <a:srgbClr val="00B8BD">
                  <a:alpha val="6000"/>
                </a:srgbClr>
              </a:gs>
            </a:gsLst>
            <a:path path="circle">
              <a:fillToRect r="100000" b="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7" name="Rectangle 6">
            <a:extLst>
              <a:ext uri="{FF2B5EF4-FFF2-40B4-BE49-F238E27FC236}">
                <a16:creationId xmlns:a16="http://schemas.microsoft.com/office/drawing/2014/main" id="{B9A207DB-BB5A-EA30-200D-50FA2AE62C8C}"/>
              </a:ext>
            </a:extLst>
          </p:cNvPr>
          <p:cNvSpPr/>
          <p:nvPr userDrawn="1"/>
        </p:nvSpPr>
        <p:spPr>
          <a:xfrm>
            <a:off x="4343400" y="0"/>
            <a:ext cx="7884630" cy="6858000"/>
          </a:xfrm>
          <a:prstGeom prst="rect">
            <a:avLst/>
          </a:prstGeom>
          <a:gradFill>
            <a:gsLst>
              <a:gs pos="49000">
                <a:srgbClr val="1E46D2">
                  <a:alpha val="21000"/>
                </a:srgbClr>
              </a:gs>
              <a:gs pos="0">
                <a:schemeClr val="tx2">
                  <a:lumMod val="75000"/>
                  <a:lumOff val="25000"/>
                </a:schemeClr>
              </a:gs>
              <a:gs pos="100000">
                <a:schemeClr val="bg2">
                  <a:alpha val="38000"/>
                </a:schemeClr>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a:p>
        </p:txBody>
      </p:sp>
      <p:sp>
        <p:nvSpPr>
          <p:cNvPr id="9" name="Freeform: Shape 8">
            <a:extLst>
              <a:ext uri="{FF2B5EF4-FFF2-40B4-BE49-F238E27FC236}">
                <a16:creationId xmlns:a16="http://schemas.microsoft.com/office/drawing/2014/main" id="{2911F204-8C64-8742-3FE8-51E2CDB60448}"/>
              </a:ext>
            </a:extLst>
          </p:cNvPr>
          <p:cNvSpPr/>
          <p:nvPr userDrawn="1"/>
        </p:nvSpPr>
        <p:spPr>
          <a:xfrm>
            <a:off x="165850" y="-12981"/>
            <a:ext cx="8012786" cy="6883961"/>
          </a:xfrm>
          <a:custGeom>
            <a:avLst/>
            <a:gdLst>
              <a:gd name="connsiteX0" fmla="*/ 0 w 8012786"/>
              <a:gd name="connsiteY0" fmla="*/ 0 h 6883961"/>
              <a:gd name="connsiteX1" fmla="*/ 4769135 w 8012786"/>
              <a:gd name="connsiteY1" fmla="*/ 0 h 6883961"/>
              <a:gd name="connsiteX2" fmla="*/ 4901654 w 8012786"/>
              <a:gd name="connsiteY2" fmla="*/ 75377 h 6883961"/>
              <a:gd name="connsiteX3" fmla="*/ 8012786 w 8012786"/>
              <a:gd name="connsiteY3" fmla="*/ 5542277 h 6883961"/>
              <a:gd name="connsiteX4" fmla="*/ 7881505 w 8012786"/>
              <a:gd name="connsiteY4" fmla="*/ 6830556 h 6883961"/>
              <a:gd name="connsiteX5" fmla="*/ 7869045 w 8012786"/>
              <a:gd name="connsiteY5" fmla="*/ 6883961 h 6883961"/>
              <a:gd name="connsiteX6" fmla="*/ 0 w 8012786"/>
              <a:gd name="connsiteY6" fmla="*/ 6866024 h 6883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12786" h="6883961">
                <a:moveTo>
                  <a:pt x="0" y="0"/>
                </a:moveTo>
                <a:lnTo>
                  <a:pt x="4769135" y="0"/>
                </a:lnTo>
                <a:lnTo>
                  <a:pt x="4901654" y="75377"/>
                </a:lnTo>
                <a:cubicBezTo>
                  <a:pt x="6766851" y="1196513"/>
                  <a:pt x="8012786" y="3225458"/>
                  <a:pt x="8012786" y="5542277"/>
                </a:cubicBezTo>
                <a:cubicBezTo>
                  <a:pt x="8012786" y="5983577"/>
                  <a:pt x="7967582" y="6414431"/>
                  <a:pt x="7881505" y="6830556"/>
                </a:cubicBezTo>
                <a:lnTo>
                  <a:pt x="7869045" y="6883961"/>
                </a:lnTo>
                <a:lnTo>
                  <a:pt x="0" y="6866024"/>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hr-HR"/>
          </a:p>
        </p:txBody>
      </p:sp>
      <p:sp>
        <p:nvSpPr>
          <p:cNvPr id="4" name="Rezervirano mjesto datuma 3">
            <a:extLst>
              <a:ext uri="{FF2B5EF4-FFF2-40B4-BE49-F238E27FC236}">
                <a16:creationId xmlns:a16="http://schemas.microsoft.com/office/drawing/2014/main" id="{A0AC8E4A-998B-C1F0-DC89-DEFFD3867DCE}"/>
              </a:ext>
            </a:extLst>
          </p:cNvPr>
          <p:cNvSpPr>
            <a:spLocks noGrp="1"/>
          </p:cNvSpPr>
          <p:nvPr>
            <p:ph type="dt" sz="half" idx="10"/>
          </p:nvPr>
        </p:nvSpPr>
        <p:spPr/>
        <p:txBody>
          <a:bodyPr/>
          <a:lstStyle/>
          <a:p>
            <a:fld id="{AE10491A-D276-4C12-917B-E51FA8522C4F}" type="datetimeFigureOut">
              <a:rPr lang="hr-HR" smtClean="0"/>
              <a:t>18.11.2024.</a:t>
            </a:fld>
            <a:endParaRPr lang="hr-HR"/>
          </a:p>
        </p:txBody>
      </p:sp>
      <p:sp>
        <p:nvSpPr>
          <p:cNvPr id="5" name="Rezervirano mjesto podnožja 4">
            <a:extLst>
              <a:ext uri="{FF2B5EF4-FFF2-40B4-BE49-F238E27FC236}">
                <a16:creationId xmlns:a16="http://schemas.microsoft.com/office/drawing/2014/main" id="{AE06AC82-CE5D-D161-30D2-DE04D97CD868}"/>
              </a:ext>
            </a:extLst>
          </p:cNvPr>
          <p:cNvSpPr>
            <a:spLocks noGrp="1"/>
          </p:cNvSpPr>
          <p:nvPr>
            <p:ph type="ftr" sz="quarter" idx="11"/>
          </p:nvPr>
        </p:nvSpPr>
        <p:spPr/>
        <p:txBody>
          <a:bodyPr/>
          <a:lstStyle/>
          <a:p>
            <a:endParaRPr lang="hr-HR"/>
          </a:p>
        </p:txBody>
      </p:sp>
      <p:sp>
        <p:nvSpPr>
          <p:cNvPr id="6" name="Freeform: Shape 5">
            <a:extLst>
              <a:ext uri="{FF2B5EF4-FFF2-40B4-BE49-F238E27FC236}">
                <a16:creationId xmlns:a16="http://schemas.microsoft.com/office/drawing/2014/main" id="{0CE2A347-E88E-AFE5-906F-C37E54B15956}"/>
              </a:ext>
            </a:extLst>
          </p:cNvPr>
          <p:cNvSpPr/>
          <p:nvPr userDrawn="1"/>
        </p:nvSpPr>
        <p:spPr>
          <a:xfrm>
            <a:off x="0" y="0"/>
            <a:ext cx="8012786" cy="6883961"/>
          </a:xfrm>
          <a:custGeom>
            <a:avLst/>
            <a:gdLst>
              <a:gd name="connsiteX0" fmla="*/ 0 w 8012786"/>
              <a:gd name="connsiteY0" fmla="*/ 0 h 6883961"/>
              <a:gd name="connsiteX1" fmla="*/ 4769135 w 8012786"/>
              <a:gd name="connsiteY1" fmla="*/ 0 h 6883961"/>
              <a:gd name="connsiteX2" fmla="*/ 4901654 w 8012786"/>
              <a:gd name="connsiteY2" fmla="*/ 75377 h 6883961"/>
              <a:gd name="connsiteX3" fmla="*/ 8012786 w 8012786"/>
              <a:gd name="connsiteY3" fmla="*/ 5542277 h 6883961"/>
              <a:gd name="connsiteX4" fmla="*/ 7881505 w 8012786"/>
              <a:gd name="connsiteY4" fmla="*/ 6830556 h 6883961"/>
              <a:gd name="connsiteX5" fmla="*/ 7869045 w 8012786"/>
              <a:gd name="connsiteY5" fmla="*/ 6883961 h 6883961"/>
              <a:gd name="connsiteX6" fmla="*/ 0 w 8012786"/>
              <a:gd name="connsiteY6" fmla="*/ 6866024 h 6883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12786" h="6883961">
                <a:moveTo>
                  <a:pt x="0" y="0"/>
                </a:moveTo>
                <a:lnTo>
                  <a:pt x="4769135" y="0"/>
                </a:lnTo>
                <a:lnTo>
                  <a:pt x="4901654" y="75377"/>
                </a:lnTo>
                <a:cubicBezTo>
                  <a:pt x="6766851" y="1196513"/>
                  <a:pt x="8012786" y="3225458"/>
                  <a:pt x="8012786" y="5542277"/>
                </a:cubicBezTo>
                <a:cubicBezTo>
                  <a:pt x="8012786" y="5983577"/>
                  <a:pt x="7967582" y="6414431"/>
                  <a:pt x="7881505" y="6830556"/>
                </a:cubicBezTo>
                <a:lnTo>
                  <a:pt x="7869045" y="6883961"/>
                </a:lnTo>
                <a:lnTo>
                  <a:pt x="0" y="6866024"/>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hr-HR"/>
          </a:p>
        </p:txBody>
      </p:sp>
      <p:sp>
        <p:nvSpPr>
          <p:cNvPr id="15" name="Rezervirano mjesto teksta 14">
            <a:extLst>
              <a:ext uri="{FF2B5EF4-FFF2-40B4-BE49-F238E27FC236}">
                <a16:creationId xmlns:a16="http://schemas.microsoft.com/office/drawing/2014/main" id="{8F897FF9-A6FB-7C24-0577-48DD7949BCDD}"/>
              </a:ext>
            </a:extLst>
          </p:cNvPr>
          <p:cNvSpPr>
            <a:spLocks noGrp="1"/>
          </p:cNvSpPr>
          <p:nvPr>
            <p:ph type="body" sz="quarter" idx="13"/>
          </p:nvPr>
        </p:nvSpPr>
        <p:spPr>
          <a:xfrm>
            <a:off x="345075" y="1690689"/>
            <a:ext cx="7339013" cy="2941637"/>
          </a:xfrm>
        </p:spPr>
        <p:txBody>
          <a:bodyPr>
            <a:normAutofit/>
          </a:bodyPr>
          <a:lstStyle>
            <a:lvl1pPr marL="0" indent="0">
              <a:buNone/>
              <a:defRPr sz="4800">
                <a:solidFill>
                  <a:schemeClr val="bg1"/>
                </a:solidFill>
              </a:defRPr>
            </a:lvl1pPr>
          </a:lstStyle>
          <a:p>
            <a:pPr lvl="0"/>
            <a:endParaRPr lang="hr-HR"/>
          </a:p>
        </p:txBody>
      </p:sp>
      <p:sp>
        <p:nvSpPr>
          <p:cNvPr id="17" name="Rezervirano mjesto teksta 16">
            <a:extLst>
              <a:ext uri="{FF2B5EF4-FFF2-40B4-BE49-F238E27FC236}">
                <a16:creationId xmlns:a16="http://schemas.microsoft.com/office/drawing/2014/main" id="{7FC934FB-630B-1C18-BCDA-5307369E7C64}"/>
              </a:ext>
            </a:extLst>
          </p:cNvPr>
          <p:cNvSpPr>
            <a:spLocks noGrp="1"/>
          </p:cNvSpPr>
          <p:nvPr>
            <p:ph type="body" sz="quarter" idx="14"/>
          </p:nvPr>
        </p:nvSpPr>
        <p:spPr>
          <a:xfrm>
            <a:off x="345075" y="4884738"/>
            <a:ext cx="4329113" cy="700087"/>
          </a:xfrm>
        </p:spPr>
        <p:txBody>
          <a:bodyPr>
            <a:normAutofit/>
          </a:bodyPr>
          <a:lstStyle>
            <a:lvl1pPr marL="0" indent="0">
              <a:buNone/>
              <a:defRPr sz="1400">
                <a:solidFill>
                  <a:schemeClr val="bg1"/>
                </a:solidFill>
              </a:defRPr>
            </a:lvl1pPr>
          </a:lstStyle>
          <a:p>
            <a:pPr lvl="0"/>
            <a:endParaRPr lang="hr-HR"/>
          </a:p>
        </p:txBody>
      </p:sp>
      <p:pic>
        <p:nvPicPr>
          <p:cNvPr id="3" name="Picture 2">
            <a:extLst>
              <a:ext uri="{FF2B5EF4-FFF2-40B4-BE49-F238E27FC236}">
                <a16:creationId xmlns:a16="http://schemas.microsoft.com/office/drawing/2014/main" id="{5C72A006-8138-06B9-726C-210ADF949086}"/>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288558" y="6495535"/>
            <a:ext cx="1714189" cy="273429"/>
          </a:xfrm>
          <a:prstGeom prst="rect">
            <a:avLst/>
          </a:prstGeom>
        </p:spPr>
      </p:pic>
      <p:pic>
        <p:nvPicPr>
          <p:cNvPr id="2" name="Picture 1">
            <a:extLst>
              <a:ext uri="{FF2B5EF4-FFF2-40B4-BE49-F238E27FC236}">
                <a16:creationId xmlns:a16="http://schemas.microsoft.com/office/drawing/2014/main" id="{D9E1E140-F51D-C3DB-D705-5C6E3A59DBDD}"/>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995781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Photo Circle Dark">
    <p:spTree>
      <p:nvGrpSpPr>
        <p:cNvPr id="1" name=""/>
        <p:cNvGrpSpPr/>
        <p:nvPr/>
      </p:nvGrpSpPr>
      <p:grpSpPr>
        <a:xfrm>
          <a:off x="0" y="0"/>
          <a:ext cx="0" cy="0"/>
          <a:chOff x="0" y="0"/>
          <a:chExt cx="0" cy="0"/>
        </a:xfrm>
      </p:grpSpPr>
      <p:sp>
        <p:nvSpPr>
          <p:cNvPr id="29" name="Static Light Bkgd">
            <a:extLst>
              <a:ext uri="{FF2B5EF4-FFF2-40B4-BE49-F238E27FC236}">
                <a16:creationId xmlns:a16="http://schemas.microsoft.com/office/drawing/2014/main" id="{EE705342-7994-AFF3-15FD-F6FDEC9AE6B0}"/>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060A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Photo Accent Circles">
            <a:extLst>
              <a:ext uri="{FF2B5EF4-FFF2-40B4-BE49-F238E27FC236}">
                <a16:creationId xmlns:a16="http://schemas.microsoft.com/office/drawing/2014/main" id="{142AC587-6F39-6154-A37A-868A63F4F005}"/>
              </a:ext>
            </a:extLst>
          </p:cNvPr>
          <p:cNvGrpSpPr>
            <a:grpSpLocks noGrp="1" noUngrp="1" noRot="1" noMove="1" noResize="1"/>
          </p:cNvGrpSpPr>
          <p:nvPr userDrawn="1"/>
        </p:nvGrpSpPr>
        <p:grpSpPr>
          <a:xfrm>
            <a:off x="5942370" y="1"/>
            <a:ext cx="6249631" cy="6778171"/>
            <a:chOff x="5942370" y="1"/>
            <a:chExt cx="6249631" cy="6778171"/>
          </a:xfrm>
        </p:grpSpPr>
        <p:sp>
          <p:nvSpPr>
            <p:cNvPr id="28" name="Freeform: Shape 27">
              <a:extLst>
                <a:ext uri="{FF2B5EF4-FFF2-40B4-BE49-F238E27FC236}">
                  <a16:creationId xmlns:a16="http://schemas.microsoft.com/office/drawing/2014/main" id="{41DBC157-DD06-141E-B188-1EB8D24163C1}"/>
                </a:ext>
              </a:extLst>
            </p:cNvPr>
            <p:cNvSpPr>
              <a:spLocks noGrp="1" noRot="1" noMove="1" noResize="1" noEditPoints="1" noAdjustHandles="1" noChangeArrowheads="1" noChangeShapeType="1"/>
            </p:cNvSpPr>
            <p:nvPr userDrawn="1"/>
          </p:nvSpPr>
          <p:spPr>
            <a:xfrm>
              <a:off x="5942370" y="1"/>
              <a:ext cx="6249631" cy="6778171"/>
            </a:xfrm>
            <a:custGeom>
              <a:avLst/>
              <a:gdLst>
                <a:gd name="connsiteX0" fmla="*/ 1133398 w 6249631"/>
                <a:gd name="connsiteY0" fmla="*/ 0 h 6778171"/>
                <a:gd name="connsiteX1" fmla="*/ 6249631 w 6249631"/>
                <a:gd name="connsiteY1" fmla="*/ 0 h 6778171"/>
                <a:gd name="connsiteX2" fmla="*/ 6249631 w 6249631"/>
                <a:gd name="connsiteY2" fmla="*/ 6079239 h 6778171"/>
                <a:gd name="connsiteX3" fmla="*/ 6227147 w 6249631"/>
                <a:gd name="connsiteY3" fmla="*/ 6096052 h 6778171"/>
                <a:gd name="connsiteX4" fmla="*/ 3994041 w 6249631"/>
                <a:gd name="connsiteY4" fmla="*/ 6778171 h 6778171"/>
                <a:gd name="connsiteX5" fmla="*/ 0 w 6249631"/>
                <a:gd name="connsiteY5" fmla="*/ 2784130 h 6778171"/>
                <a:gd name="connsiteX6" fmla="*/ 912045 w 6249631"/>
                <a:gd name="connsiteY6" fmla="*/ 243549 h 6778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9631" h="6778171">
                  <a:moveTo>
                    <a:pt x="1133398" y="0"/>
                  </a:moveTo>
                  <a:lnTo>
                    <a:pt x="6249631" y="0"/>
                  </a:lnTo>
                  <a:lnTo>
                    <a:pt x="6249631" y="6079239"/>
                  </a:lnTo>
                  <a:lnTo>
                    <a:pt x="6227147" y="6096052"/>
                  </a:lnTo>
                  <a:cubicBezTo>
                    <a:pt x="5589694" y="6526707"/>
                    <a:pt x="4821234" y="6778171"/>
                    <a:pt x="3994041" y="6778171"/>
                  </a:cubicBezTo>
                  <a:cubicBezTo>
                    <a:pt x="1788193" y="6778171"/>
                    <a:pt x="0" y="4989978"/>
                    <a:pt x="0" y="2784130"/>
                  </a:cubicBezTo>
                  <a:cubicBezTo>
                    <a:pt x="0" y="1819072"/>
                    <a:pt x="342272" y="933955"/>
                    <a:pt x="912045" y="243549"/>
                  </a:cubicBezTo>
                  <a:close/>
                </a:path>
              </a:pathLst>
            </a:custGeom>
            <a:solidFill>
              <a:srgbClr val="06318B"/>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a:p>
          </p:txBody>
        </p:sp>
        <p:sp>
          <p:nvSpPr>
            <p:cNvPr id="21" name="Freeform: Shape 20">
              <a:extLst>
                <a:ext uri="{FF2B5EF4-FFF2-40B4-BE49-F238E27FC236}">
                  <a16:creationId xmlns:a16="http://schemas.microsoft.com/office/drawing/2014/main" id="{95D9CB59-0278-69D3-1B88-9D97D9D9BF66}"/>
                </a:ext>
              </a:extLst>
            </p:cNvPr>
            <p:cNvSpPr>
              <a:spLocks noGrp="1" noRot="1" noMove="1" noResize="1" noEditPoints="1" noAdjustHandles="1" noChangeArrowheads="1" noChangeShapeType="1"/>
            </p:cNvSpPr>
            <p:nvPr userDrawn="1"/>
          </p:nvSpPr>
          <p:spPr>
            <a:xfrm>
              <a:off x="6596886" y="1"/>
              <a:ext cx="5595114" cy="6115087"/>
            </a:xfrm>
            <a:custGeom>
              <a:avLst/>
              <a:gdLst>
                <a:gd name="connsiteX0" fmla="*/ 1504880 w 5595114"/>
                <a:gd name="connsiteY0" fmla="*/ 0 h 6115087"/>
                <a:gd name="connsiteX1" fmla="*/ 5157035 w 5595114"/>
                <a:gd name="connsiteY1" fmla="*/ 0 h 6115087"/>
                <a:gd name="connsiteX2" fmla="*/ 5193327 w 5595114"/>
                <a:gd name="connsiteY2" fmla="*/ 22048 h 6115087"/>
                <a:gd name="connsiteX3" fmla="*/ 5449755 w 5595114"/>
                <a:gd name="connsiteY3" fmla="*/ 213802 h 6115087"/>
                <a:gd name="connsiteX4" fmla="*/ 5595114 w 5595114"/>
                <a:gd name="connsiteY4" fmla="*/ 345913 h 6115087"/>
                <a:gd name="connsiteX5" fmla="*/ 5595114 w 5595114"/>
                <a:gd name="connsiteY5" fmla="*/ 5222347 h 6115087"/>
                <a:gd name="connsiteX6" fmla="*/ 5449755 w 5595114"/>
                <a:gd name="connsiteY6" fmla="*/ 5354459 h 6115087"/>
                <a:gd name="connsiteX7" fmla="*/ 3330957 w 5595114"/>
                <a:gd name="connsiteY7" fmla="*/ 6115087 h 6115087"/>
                <a:gd name="connsiteX8" fmla="*/ 0 w 5595114"/>
                <a:gd name="connsiteY8" fmla="*/ 2784130 h 6115087"/>
                <a:gd name="connsiteX9" fmla="*/ 1468588 w 5595114"/>
                <a:gd name="connsiteY9" fmla="*/ 22048 h 611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5114" h="6115087">
                  <a:moveTo>
                    <a:pt x="1504880" y="0"/>
                  </a:moveTo>
                  <a:lnTo>
                    <a:pt x="5157035" y="0"/>
                  </a:lnTo>
                  <a:lnTo>
                    <a:pt x="5193327" y="22048"/>
                  </a:lnTo>
                  <a:cubicBezTo>
                    <a:pt x="5281931" y="81908"/>
                    <a:pt x="5367500" y="145919"/>
                    <a:pt x="5449755" y="213802"/>
                  </a:cubicBezTo>
                  <a:lnTo>
                    <a:pt x="5595114" y="345913"/>
                  </a:lnTo>
                  <a:lnTo>
                    <a:pt x="5595114" y="5222347"/>
                  </a:lnTo>
                  <a:lnTo>
                    <a:pt x="5449755" y="5354459"/>
                  </a:lnTo>
                  <a:cubicBezTo>
                    <a:pt x="4873969" y="5829639"/>
                    <a:pt x="4135798" y="6115087"/>
                    <a:pt x="3330957" y="6115087"/>
                  </a:cubicBezTo>
                  <a:cubicBezTo>
                    <a:pt x="1491320" y="6115087"/>
                    <a:pt x="0" y="4623767"/>
                    <a:pt x="0" y="2784130"/>
                  </a:cubicBezTo>
                  <a:cubicBezTo>
                    <a:pt x="0" y="1634357"/>
                    <a:pt x="582547" y="620645"/>
                    <a:pt x="1468588" y="22048"/>
                  </a:cubicBezTo>
                  <a:close/>
                </a:path>
              </a:pathLst>
            </a:custGeom>
            <a:solidFill>
              <a:srgbClr val="0949D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rgbClr val="DADADA"/>
                </a:solidFill>
              </a:endParaRPr>
            </a:p>
          </p:txBody>
        </p:sp>
        <p:sp>
          <p:nvSpPr>
            <p:cNvPr id="23" name="Freeform: Shape 22">
              <a:extLst>
                <a:ext uri="{FF2B5EF4-FFF2-40B4-BE49-F238E27FC236}">
                  <a16:creationId xmlns:a16="http://schemas.microsoft.com/office/drawing/2014/main" id="{CEF44984-8F7A-8C11-AE43-676924BE717A}"/>
                </a:ext>
              </a:extLst>
            </p:cNvPr>
            <p:cNvSpPr>
              <a:spLocks noGrp="1" noRot="1" noMove="1" noResize="1" noEditPoints="1" noAdjustHandles="1" noChangeArrowheads="1" noChangeShapeType="1"/>
            </p:cNvSpPr>
            <p:nvPr userDrawn="1"/>
          </p:nvSpPr>
          <p:spPr>
            <a:xfrm>
              <a:off x="7172234" y="28520"/>
              <a:ext cx="5019767" cy="5511220"/>
            </a:xfrm>
            <a:custGeom>
              <a:avLst/>
              <a:gdLst>
                <a:gd name="connsiteX0" fmla="*/ 2755610 w 5019767"/>
                <a:gd name="connsiteY0" fmla="*/ 0 h 5511220"/>
                <a:gd name="connsiteX1" fmla="*/ 4881972 w 5019767"/>
                <a:gd name="connsiteY1" fmla="*/ 1002786 h 5511220"/>
                <a:gd name="connsiteX2" fmla="*/ 5019767 w 5019767"/>
                <a:gd name="connsiteY2" fmla="*/ 1187056 h 5511220"/>
                <a:gd name="connsiteX3" fmla="*/ 5019767 w 5019767"/>
                <a:gd name="connsiteY3" fmla="*/ 4324164 h 5511220"/>
                <a:gd name="connsiteX4" fmla="*/ 4881972 w 5019767"/>
                <a:gd name="connsiteY4" fmla="*/ 4508434 h 5511220"/>
                <a:gd name="connsiteX5" fmla="*/ 2755610 w 5019767"/>
                <a:gd name="connsiteY5" fmla="*/ 5511220 h 5511220"/>
                <a:gd name="connsiteX6" fmla="*/ 0 w 5019767"/>
                <a:gd name="connsiteY6" fmla="*/ 2755610 h 5511220"/>
                <a:gd name="connsiteX7" fmla="*/ 2755610 w 5019767"/>
                <a:gd name="connsiteY7" fmla="*/ 0 h 5511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19767" h="5511220">
                  <a:moveTo>
                    <a:pt x="2755610" y="0"/>
                  </a:moveTo>
                  <a:cubicBezTo>
                    <a:pt x="3611668" y="0"/>
                    <a:pt x="4376553" y="390360"/>
                    <a:pt x="4881972" y="1002786"/>
                  </a:cubicBezTo>
                  <a:lnTo>
                    <a:pt x="5019767" y="1187056"/>
                  </a:lnTo>
                  <a:lnTo>
                    <a:pt x="5019767" y="4324164"/>
                  </a:lnTo>
                  <a:lnTo>
                    <a:pt x="4881972" y="4508434"/>
                  </a:lnTo>
                  <a:cubicBezTo>
                    <a:pt x="4376553" y="5120861"/>
                    <a:pt x="3611668" y="5511220"/>
                    <a:pt x="2755610" y="5511220"/>
                  </a:cubicBezTo>
                  <a:cubicBezTo>
                    <a:pt x="1233729" y="5511220"/>
                    <a:pt x="0" y="4277491"/>
                    <a:pt x="0" y="2755610"/>
                  </a:cubicBezTo>
                  <a:cubicBezTo>
                    <a:pt x="0" y="1233729"/>
                    <a:pt x="1233729" y="0"/>
                    <a:pt x="2755610"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sp>
        <p:nvSpPr>
          <p:cNvPr id="9" name="Copyright Line">
            <a:extLst>
              <a:ext uri="{FF2B5EF4-FFF2-40B4-BE49-F238E27FC236}">
                <a16:creationId xmlns:a16="http://schemas.microsoft.com/office/drawing/2014/main" id="{D2389545-B6D7-497B-37D4-C8C4C52F8A14}"/>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7" name="Confidential disclaimer">
            <a:extLst>
              <a:ext uri="{FF2B5EF4-FFF2-40B4-BE49-F238E27FC236}">
                <a16:creationId xmlns:a16="http://schemas.microsoft.com/office/drawing/2014/main" id="{7F366BE8-8DFF-9E64-8372-4E4C126B56A7}"/>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5" name="Footer Placeholder">
            <a:extLst>
              <a:ext uri="{FF2B5EF4-FFF2-40B4-BE49-F238E27FC236}">
                <a16:creationId xmlns:a16="http://schemas.microsoft.com/office/drawing/2014/main" id="{8E33C4BA-B3E3-D8C7-C496-E55C90D029E0}"/>
              </a:ext>
            </a:extLst>
          </p:cNvPr>
          <p:cNvSpPr>
            <a:spLocks noGrp="1" noRot="1" noMove="1" noResize="1" noEditPoints="1" noAdjustHandles="1" noChangeArrowheads="1" noChangeShapeType="1"/>
          </p:cNvSpPr>
          <p:nvPr>
            <p:ph type="ftr" sz="quarter" idx="13"/>
          </p:nvPr>
        </p:nvSpPr>
        <p:spPr>
          <a:xfrm>
            <a:off x="3251200" y="6485399"/>
            <a:ext cx="3716336" cy="282957"/>
          </a:xfrm>
          <a:solidFill>
            <a:schemeClr val="tx2"/>
          </a:solidFill>
        </p:spPr>
        <p:txBody>
          <a:bodyPr/>
          <a:lstStyle>
            <a:lvl1pPr algn="l">
              <a:defRPr>
                <a:solidFill>
                  <a:srgbClr val="FFFFFF"/>
                </a:solidFill>
              </a:defRPr>
            </a:lvl1pPr>
          </a:lstStyle>
          <a:p>
            <a:endParaRPr lang="en-GB"/>
          </a:p>
        </p:txBody>
      </p:sp>
      <p:sp>
        <p:nvSpPr>
          <p:cNvPr id="25" name="Picture Placeholder">
            <a:extLst>
              <a:ext uri="{FF2B5EF4-FFF2-40B4-BE49-F238E27FC236}">
                <a16:creationId xmlns:a16="http://schemas.microsoft.com/office/drawing/2014/main" id="{278BDEAF-4B5A-EDEC-5FBB-5BDC0B1311E4}"/>
              </a:ext>
            </a:extLst>
          </p:cNvPr>
          <p:cNvSpPr>
            <a:spLocks noGrp="1" noRot="1" noMove="1" noResize="1" noEditPoints="1" noAdjustHandles="1" noChangeArrowheads="1" noChangeShapeType="1"/>
          </p:cNvSpPr>
          <p:nvPr>
            <p:ph type="pic" sz="quarter" idx="12" hasCustomPrompt="1"/>
          </p:nvPr>
        </p:nvSpPr>
        <p:spPr>
          <a:xfrm>
            <a:off x="7465671" y="321957"/>
            <a:ext cx="4726329" cy="4924346"/>
          </a:xfrm>
          <a:custGeom>
            <a:avLst/>
            <a:gdLst>
              <a:gd name="connsiteX0" fmla="*/ 2462173 w 4726329"/>
              <a:gd name="connsiteY0" fmla="*/ 0 h 4924346"/>
              <a:gd name="connsiteX1" fmla="*/ 4627175 w 4726329"/>
              <a:gd name="connsiteY1" fmla="*/ 1288555 h 4924346"/>
              <a:gd name="connsiteX2" fmla="*/ 4726329 w 4726329"/>
              <a:gd name="connsiteY2" fmla="*/ 1494386 h 4924346"/>
              <a:gd name="connsiteX3" fmla="*/ 4726329 w 4726329"/>
              <a:gd name="connsiteY3" fmla="*/ 3429960 h 4924346"/>
              <a:gd name="connsiteX4" fmla="*/ 4627175 w 4726329"/>
              <a:gd name="connsiteY4" fmla="*/ 3635791 h 4924346"/>
              <a:gd name="connsiteX5" fmla="*/ 2462173 w 4726329"/>
              <a:gd name="connsiteY5" fmla="*/ 4924346 h 4924346"/>
              <a:gd name="connsiteX6" fmla="*/ 0 w 4726329"/>
              <a:gd name="connsiteY6" fmla="*/ 2462173 h 4924346"/>
              <a:gd name="connsiteX7" fmla="*/ 2462173 w 4726329"/>
              <a:gd name="connsiteY7" fmla="*/ 0 h 4924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6329" h="4924346">
                <a:moveTo>
                  <a:pt x="2462173" y="0"/>
                </a:moveTo>
                <a:cubicBezTo>
                  <a:pt x="3397050" y="0"/>
                  <a:pt x="4210233" y="521034"/>
                  <a:pt x="4627175" y="1288555"/>
                </a:cubicBezTo>
                <a:lnTo>
                  <a:pt x="4726329" y="1494386"/>
                </a:lnTo>
                <a:lnTo>
                  <a:pt x="4726329" y="3429960"/>
                </a:lnTo>
                <a:lnTo>
                  <a:pt x="4627175" y="3635791"/>
                </a:lnTo>
                <a:cubicBezTo>
                  <a:pt x="4210233" y="4403313"/>
                  <a:pt x="3397050" y="4924346"/>
                  <a:pt x="2462173" y="4924346"/>
                </a:cubicBezTo>
                <a:cubicBezTo>
                  <a:pt x="1102352" y="4924346"/>
                  <a:pt x="0" y="3821994"/>
                  <a:pt x="0" y="2462173"/>
                </a:cubicBezTo>
                <a:cubicBezTo>
                  <a:pt x="0" y="1102352"/>
                  <a:pt x="1102352" y="0"/>
                  <a:pt x="2462173" y="0"/>
                </a:cubicBezTo>
                <a:close/>
              </a:path>
            </a:pathLst>
          </a:custGeom>
          <a:solidFill>
            <a:srgbClr val="777777"/>
          </a:solidFill>
        </p:spPr>
        <p:txBody>
          <a:bodyPr wrap="square" anchor="ctr" anchorCtr="1">
            <a:noAutofit/>
          </a:bodyPr>
          <a:lstStyle>
            <a:lvl1pPr marL="0" indent="0" algn="ctr">
              <a:buNone/>
              <a:defRPr>
                <a:solidFill>
                  <a:srgbClr val="FFFFFF"/>
                </a:solidFill>
              </a:defRPr>
            </a:lvl1pPr>
          </a:lstStyle>
          <a:p>
            <a:r>
              <a:rPr lang="en-US"/>
              <a:t>Click picture icon to add photo</a:t>
            </a:r>
          </a:p>
        </p:txBody>
      </p:sp>
      <p:sp>
        <p:nvSpPr>
          <p:cNvPr id="11" name="Date Placeholder">
            <a:extLst>
              <a:ext uri="{FF2B5EF4-FFF2-40B4-BE49-F238E27FC236}">
                <a16:creationId xmlns:a16="http://schemas.microsoft.com/office/drawing/2014/main" id="{56FDEAC7-8736-5846-42B8-66DC00FA3B94}"/>
              </a:ext>
            </a:extLst>
          </p:cNvPr>
          <p:cNvSpPr>
            <a:spLocks noGrp="1" noRot="1" noMove="1" noResize="1" noEditPoints="1" noAdjustHandles="1" noChangeArrowheads="1" noChangeShapeType="1"/>
          </p:cNvSpPr>
          <p:nvPr>
            <p:ph type="dt" sz="half" idx="14"/>
          </p:nvPr>
        </p:nvSpPr>
        <p:spPr>
          <a:xfrm>
            <a:off x="292100" y="5036705"/>
            <a:ext cx="1744664" cy="282957"/>
          </a:xfrm>
        </p:spPr>
        <p:txBody>
          <a:bodyPr/>
          <a:lstStyle>
            <a:lvl1pPr>
              <a:defRPr sz="1200">
                <a:solidFill>
                  <a:srgbClr val="FFFFFF"/>
                </a:solidFill>
              </a:defRPr>
            </a:lvl1pPr>
          </a:lstStyle>
          <a:p>
            <a:fld id="{C75F7465-666F-4675-891F-E92434DCB819}" type="datetime1">
              <a:rPr lang="en-GB" smtClean="0"/>
              <a:t>18/11/2024</a:t>
            </a:fld>
            <a:endParaRPr lang="en-GB"/>
          </a:p>
        </p:txBody>
      </p:sp>
      <p:sp>
        <p:nvSpPr>
          <p:cNvPr id="3" name="Title/Dept Placeholder">
            <a:extLst>
              <a:ext uri="{FF2B5EF4-FFF2-40B4-BE49-F238E27FC236}">
                <a16:creationId xmlns:a16="http://schemas.microsoft.com/office/drawing/2014/main" id="{F49547DD-E825-E7A3-C48A-64AA78C199D4}"/>
              </a:ext>
            </a:extLst>
          </p:cNvPr>
          <p:cNvSpPr>
            <a:spLocks noGrp="1" noRot="1" noMove="1" noResize="1" noEditPoints="1" noAdjustHandles="1" noChangeArrowheads="1" noChangeShapeType="1"/>
          </p:cNvSpPr>
          <p:nvPr>
            <p:ph type="body" sz="quarter" idx="11" hasCustomPrompt="1"/>
          </p:nvPr>
        </p:nvSpPr>
        <p:spPr>
          <a:xfrm>
            <a:off x="292100" y="4560602"/>
            <a:ext cx="6689728" cy="344385"/>
          </a:xfrm>
        </p:spPr>
        <p:txBody>
          <a:bodyPr tIns="0" bIns="0">
            <a:noAutofit/>
          </a:bodyPr>
          <a:lstStyle>
            <a:lvl1pPr marL="0" indent="0">
              <a:lnSpc>
                <a:spcPct val="100000"/>
              </a:lnSpc>
              <a:spcBef>
                <a:spcPts val="0"/>
              </a:spcBef>
              <a:spcAft>
                <a:spcPts val="0"/>
              </a:spcAft>
              <a:buNone/>
              <a:defRPr sz="1200" b="0">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2" name="Presenter Name Placeholder">
            <a:extLst>
              <a:ext uri="{FF2B5EF4-FFF2-40B4-BE49-F238E27FC236}">
                <a16:creationId xmlns:a16="http://schemas.microsoft.com/office/drawing/2014/main" id="{5A598B2A-BB91-C356-7BCC-18D04DA85A8D}"/>
              </a:ext>
            </a:extLst>
          </p:cNvPr>
          <p:cNvSpPr>
            <a:spLocks noGrp="1" noRot="1" noMove="1" noResize="1" noEditPoints="1" noAdjustHandles="1" noChangeArrowheads="1" noChangeShapeType="1"/>
          </p:cNvSpPr>
          <p:nvPr>
            <p:ph type="body" sz="quarter" idx="10" hasCustomPrompt="1"/>
          </p:nvPr>
        </p:nvSpPr>
        <p:spPr>
          <a:xfrm>
            <a:off x="292100" y="4192468"/>
            <a:ext cx="6689728" cy="344384"/>
          </a:xfrm>
        </p:spPr>
        <p:txBody>
          <a:bodyPr tIns="0" bIns="0" anchor="b" anchorCtr="0">
            <a:noAutofit/>
          </a:bodyPr>
          <a:lstStyle>
            <a:lvl1pPr marL="0" indent="0">
              <a:lnSpc>
                <a:spcPct val="100000"/>
              </a:lnSpc>
              <a:spcBef>
                <a:spcPts val="0"/>
              </a:spcBef>
              <a:spcAft>
                <a:spcPts val="0"/>
              </a:spcAft>
              <a:buNone/>
              <a:defRPr sz="1200" b="1">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8" name="Subtitle Placeholder">
            <a:extLst>
              <a:ext uri="{FF2B5EF4-FFF2-40B4-BE49-F238E27FC236}">
                <a16:creationId xmlns:a16="http://schemas.microsoft.com/office/drawing/2014/main" id="{23B6A8FC-C3C4-F7DA-BF00-D56866D5808E}"/>
              </a:ext>
            </a:extLst>
          </p:cNvPr>
          <p:cNvSpPr>
            <a:spLocks noGrp="1" noRot="1" noMove="1" noResize="1" noEditPoints="1" noAdjustHandles="1" noChangeArrowheads="1" noChangeShapeType="1"/>
          </p:cNvSpPr>
          <p:nvPr>
            <p:ph type="subTitle" idx="1"/>
          </p:nvPr>
        </p:nvSpPr>
        <p:spPr>
          <a:xfrm>
            <a:off x="292100" y="3114710"/>
            <a:ext cx="6689729" cy="837882"/>
          </a:xfrm>
        </p:spPr>
        <p:txBody>
          <a:bodyPr>
            <a:noAutofit/>
          </a:bodyPr>
          <a:lstStyle>
            <a:lvl1pPr marL="0" indent="0" algn="l">
              <a:spcBef>
                <a:spcPts val="0"/>
              </a:spcBef>
              <a:spcAft>
                <a:spcPts val="0"/>
              </a:spcAft>
              <a:buNone/>
              <a:defRPr sz="20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Title Placeholder">
            <a:extLst>
              <a:ext uri="{FF2B5EF4-FFF2-40B4-BE49-F238E27FC236}">
                <a16:creationId xmlns:a16="http://schemas.microsoft.com/office/drawing/2014/main" id="{615225DC-38B1-15E3-05E6-88F5A6B976CF}"/>
              </a:ext>
            </a:extLst>
          </p:cNvPr>
          <p:cNvSpPr>
            <a:spLocks noGrp="1" noRot="1" noMove="1" noResize="1" noEditPoints="1" noAdjustHandles="1" noChangeArrowheads="1" noChangeShapeType="1"/>
          </p:cNvSpPr>
          <p:nvPr>
            <p:ph type="ctrTitle" hasCustomPrompt="1"/>
          </p:nvPr>
        </p:nvSpPr>
        <p:spPr>
          <a:xfrm>
            <a:off x="292100" y="654818"/>
            <a:ext cx="6689729" cy="2387600"/>
          </a:xfrm>
          <a:prstGeom prst="rect">
            <a:avLst/>
          </a:prstGeom>
        </p:spPr>
        <p:txBody>
          <a:bodyPr anchor="b">
            <a:noAutofit/>
          </a:bodyPr>
          <a:lstStyle>
            <a:lvl1pPr algn="l">
              <a:defRPr sz="4400">
                <a:solidFill>
                  <a:srgbClr val="FFFFFF"/>
                </a:solidFill>
              </a:defRPr>
            </a:lvl1pPr>
          </a:lstStyle>
          <a:p>
            <a:r>
              <a:rPr lang="en-US"/>
              <a:t>Insert your presentation title here maximum of three lines</a:t>
            </a:r>
          </a:p>
        </p:txBody>
      </p:sp>
      <p:pic>
        <p:nvPicPr>
          <p:cNvPr id="10" name="NielsenIQ GFK lockup" hidden="1">
            <a:extLst>
              <a:ext uri="{FF2B5EF4-FFF2-40B4-BE49-F238E27FC236}">
                <a16:creationId xmlns:a16="http://schemas.microsoft.com/office/drawing/2014/main" id="{5AD45FDA-A06C-6A25-4D77-005D36A8D623}"/>
              </a:ext>
            </a:extLst>
          </p:cNvPr>
          <p:cNvPicPr>
            <a:picLocks noGrp="1" noRo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86122" y="5539740"/>
            <a:ext cx="3377876" cy="753596"/>
          </a:xfrm>
          <a:prstGeom prst="rect">
            <a:avLst/>
          </a:prstGeom>
        </p:spPr>
      </p:pic>
      <p:pic>
        <p:nvPicPr>
          <p:cNvPr id="14" name="NielsenIQ logo+wordmark" descr="A blue text on a black background&#10;&#10;Description automatically generated" hidden="1">
            <a:extLst>
              <a:ext uri="{FF2B5EF4-FFF2-40B4-BE49-F238E27FC236}">
                <a16:creationId xmlns:a16="http://schemas.microsoft.com/office/drawing/2014/main" id="{4592FCA5-867A-BB8D-E995-7A4C9EC3E96A}"/>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tretch>
            <a:fillRect/>
          </a:stretch>
        </p:blipFill>
        <p:spPr>
          <a:xfrm>
            <a:off x="288558" y="5563212"/>
            <a:ext cx="2155411" cy="743616"/>
          </a:xfrm>
          <a:prstGeom prst="rect">
            <a:avLst/>
          </a:prstGeom>
        </p:spPr>
      </p:pic>
      <p:sp>
        <p:nvSpPr>
          <p:cNvPr id="22" name="Nielsen wordmark">
            <a:extLst>
              <a:ext uri="{FF2B5EF4-FFF2-40B4-BE49-F238E27FC236}">
                <a16:creationId xmlns:a16="http://schemas.microsoft.com/office/drawing/2014/main" id="{EA927BD7-665B-50AF-0BB4-89B173418808}"/>
              </a:ext>
            </a:extLst>
          </p:cNvPr>
          <p:cNvSpPr>
            <a:spLocks noGrp="1" noRot="1" noMove="1" noResize="1" noEditPoints="1" noAdjustHandles="1" noChangeArrowheads="1" noChangeShapeType="1"/>
          </p:cNvSpPr>
          <p:nvPr userDrawn="1"/>
        </p:nvSpPr>
        <p:spPr>
          <a:xfrm>
            <a:off x="295274" y="5686380"/>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accent1"/>
          </a:solidFill>
          <a:ln w="7744" cap="flat">
            <a:noFill/>
            <a:prstDash val="solid"/>
            <a:miter/>
          </a:ln>
        </p:spPr>
        <p:txBody>
          <a:bodyPr wrap="square" rtlCol="0" anchor="ctr">
            <a:noAutofit/>
          </a:bodyPr>
          <a:lstStyle/>
          <a:p>
            <a:endParaRPr lang="en-US"/>
          </a:p>
        </p:txBody>
      </p:sp>
      <p:sp>
        <p:nvSpPr>
          <p:cNvPr id="13" name="Rectangle 12">
            <a:extLst>
              <a:ext uri="{FF2B5EF4-FFF2-40B4-BE49-F238E27FC236}">
                <a16:creationId xmlns:a16="http://schemas.microsoft.com/office/drawing/2014/main" id="{34D09DFD-F18B-F6F4-C18B-45463F5D234B}"/>
              </a:ext>
            </a:extLst>
          </p:cNvPr>
          <p:cNvSpPr/>
          <p:nvPr userDrawn="1"/>
        </p:nvSpPr>
        <p:spPr>
          <a:xfrm>
            <a:off x="152400" y="5539740"/>
            <a:ext cx="3352800" cy="824267"/>
          </a:xfrm>
          <a:prstGeom prst="rect">
            <a:avLst/>
          </a:prstGeom>
          <a:solidFill>
            <a:srgbClr val="060A45"/>
          </a:solidFill>
          <a:ln>
            <a:solidFill>
              <a:srgbClr val="060A45"/>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err="1"/>
          </a:p>
        </p:txBody>
      </p:sp>
      <p:pic>
        <p:nvPicPr>
          <p:cNvPr id="15" name="Picture 2">
            <a:extLst>
              <a:ext uri="{FF2B5EF4-FFF2-40B4-BE49-F238E27FC236}">
                <a16:creationId xmlns:a16="http://schemas.microsoft.com/office/drawing/2014/main" id="{B95671BD-949F-1CCC-B76C-C5578A73383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87870" y="5218866"/>
            <a:ext cx="3716336" cy="1381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451072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yp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userDrawn="1"/>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
        <p:nvSpPr>
          <p:cNvPr id="7" name="TextBox 6">
            <a:extLst>
              <a:ext uri="{FF2B5EF4-FFF2-40B4-BE49-F238E27FC236}">
                <a16:creationId xmlns:a16="http://schemas.microsoft.com/office/drawing/2014/main" id="{597486B2-E0C5-0362-6797-2154FB2AC31F}"/>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941476411"/>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yp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
        <p:nvSpPr>
          <p:cNvPr id="6" name="TextBox 5">
            <a:extLst>
              <a:ext uri="{FF2B5EF4-FFF2-40B4-BE49-F238E27FC236}">
                <a16:creationId xmlns:a16="http://schemas.microsoft.com/office/drawing/2014/main" id="{56138D29-56C2-9514-291B-652CDA5A606E}"/>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267747822"/>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yp_title_and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2F25C-611F-5946-A757-98CBE87CC8B7}"/>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1" name="Text Placeholder 10">
            <a:extLst>
              <a:ext uri="{FF2B5EF4-FFF2-40B4-BE49-F238E27FC236}">
                <a16:creationId xmlns:a16="http://schemas.microsoft.com/office/drawing/2014/main" id="{D84B7C4B-5E7C-3B57-7A87-AA7A24A5F2B5}"/>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Tree>
    <p:extLst>
      <p:ext uri="{BB962C8B-B14F-4D97-AF65-F5344CB8AC3E}">
        <p14:creationId xmlns:p14="http://schemas.microsoft.com/office/powerpoint/2010/main" val="38187330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yp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9" name="Text Placeholder 10">
            <a:extLst>
              <a:ext uri="{FF2B5EF4-FFF2-40B4-BE49-F238E27FC236}">
                <a16:creationId xmlns:a16="http://schemas.microsoft.com/office/drawing/2014/main" id="{A7D447D7-AD37-E5BC-FBE0-AE089392E05B}"/>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7CFE5F6-0ABB-2CA3-C74A-99B42FD5E927}"/>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cxnSp>
        <p:nvCxnSpPr>
          <p:cNvPr id="4" name="Straight Connector 3">
            <a:extLst>
              <a:ext uri="{FF2B5EF4-FFF2-40B4-BE49-F238E27FC236}">
                <a16:creationId xmlns:a16="http://schemas.microsoft.com/office/drawing/2014/main" id="{126D5F0D-4411-C2F1-C6EE-CE0F553BA1C6}"/>
              </a:ext>
            </a:extLst>
          </p:cNvPr>
          <p:cNvCxnSpPr>
            <a:cxnSpLocks/>
          </p:cNvCxnSpPr>
          <p:nvPr userDrawn="1"/>
        </p:nvCxnSpPr>
        <p:spPr>
          <a:xfrm>
            <a:off x="278932" y="718606"/>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 Placeholder 6">
            <a:extLst>
              <a:ext uri="{FF2B5EF4-FFF2-40B4-BE49-F238E27FC236}">
                <a16:creationId xmlns:a16="http://schemas.microsoft.com/office/drawing/2014/main" id="{FE75FFEF-1818-D449-CEAB-1C574E815329}"/>
              </a:ext>
            </a:extLst>
          </p:cNvPr>
          <p:cNvSpPr>
            <a:spLocks noGrp="1" noChangeAspect="1"/>
          </p:cNvSpPr>
          <p:nvPr>
            <p:ph type="body" sz="quarter" idx="13" hasCustomPrompt="1"/>
          </p:nvPr>
        </p:nvSpPr>
        <p:spPr>
          <a:xfrm>
            <a:off x="288558" y="845697"/>
            <a:ext cx="11582400"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24372859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yp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2082803"/>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2082803"/>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2082803"/>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608409"/>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608409"/>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608409"/>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Text Placeholder 10">
            <a:extLst>
              <a:ext uri="{FF2B5EF4-FFF2-40B4-BE49-F238E27FC236}">
                <a16:creationId xmlns:a16="http://schemas.microsoft.com/office/drawing/2014/main" id="{EE3F5269-C1DC-2C7C-6829-F77D90998064}"/>
              </a:ext>
            </a:extLst>
          </p:cNvPr>
          <p:cNvSpPr>
            <a:spLocks noGrp="1"/>
          </p:cNvSpPr>
          <p:nvPr>
            <p:ph type="body" sz="quarter" idx="19" hasCustomPrompt="1"/>
          </p:nvPr>
        </p:nvSpPr>
        <p:spPr>
          <a:xfrm>
            <a:off x="288559" y="5985327"/>
            <a:ext cx="11582398"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7" name="Title 1">
            <a:extLst>
              <a:ext uri="{FF2B5EF4-FFF2-40B4-BE49-F238E27FC236}">
                <a16:creationId xmlns:a16="http://schemas.microsoft.com/office/drawing/2014/main" id="{AEE6AB25-4CDE-ED86-EE3C-2CA82FCF446F}"/>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cxnSp>
        <p:nvCxnSpPr>
          <p:cNvPr id="18" name="Straight Connector 17">
            <a:extLst>
              <a:ext uri="{FF2B5EF4-FFF2-40B4-BE49-F238E27FC236}">
                <a16:creationId xmlns:a16="http://schemas.microsoft.com/office/drawing/2014/main" id="{67EF1E46-1337-435B-6F96-948F983E07BB}"/>
              </a:ext>
            </a:extLst>
          </p:cNvPr>
          <p:cNvCxnSpPr>
            <a:cxnSpLocks/>
          </p:cNvCxnSpPr>
          <p:nvPr userDrawn="1"/>
        </p:nvCxnSpPr>
        <p:spPr>
          <a:xfrm>
            <a:off x="278932" y="718606"/>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 Placeholder 6">
            <a:extLst>
              <a:ext uri="{FF2B5EF4-FFF2-40B4-BE49-F238E27FC236}">
                <a16:creationId xmlns:a16="http://schemas.microsoft.com/office/drawing/2014/main" id="{E6F7F4C0-E6F7-792B-D58C-643DEB47C12E}"/>
              </a:ext>
            </a:extLst>
          </p:cNvPr>
          <p:cNvSpPr>
            <a:spLocks noGrp="1" noChangeAspect="1"/>
          </p:cNvSpPr>
          <p:nvPr>
            <p:ph type="body" sz="quarter" idx="13" hasCustomPrompt="1"/>
          </p:nvPr>
        </p:nvSpPr>
        <p:spPr>
          <a:xfrm>
            <a:off x="288558" y="845697"/>
            <a:ext cx="11582400"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18339691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yp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208280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60841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208280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60841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208280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60841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208280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60841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20" name="Text Placeholder 10">
            <a:extLst>
              <a:ext uri="{FF2B5EF4-FFF2-40B4-BE49-F238E27FC236}">
                <a16:creationId xmlns:a16="http://schemas.microsoft.com/office/drawing/2014/main" id="{F180A1E1-EF14-8968-BBD5-6D02AC2BDF0F}"/>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7" name="Title 1">
            <a:extLst>
              <a:ext uri="{FF2B5EF4-FFF2-40B4-BE49-F238E27FC236}">
                <a16:creationId xmlns:a16="http://schemas.microsoft.com/office/drawing/2014/main" id="{5C652087-4AD9-06EF-5607-15CECEB54C20}"/>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cxnSp>
        <p:nvCxnSpPr>
          <p:cNvPr id="19" name="Straight Connector 18">
            <a:extLst>
              <a:ext uri="{FF2B5EF4-FFF2-40B4-BE49-F238E27FC236}">
                <a16:creationId xmlns:a16="http://schemas.microsoft.com/office/drawing/2014/main" id="{BA135750-1261-BC7B-9A58-A00B48682132}"/>
              </a:ext>
            </a:extLst>
          </p:cNvPr>
          <p:cNvCxnSpPr>
            <a:cxnSpLocks/>
          </p:cNvCxnSpPr>
          <p:nvPr userDrawn="1"/>
        </p:nvCxnSpPr>
        <p:spPr>
          <a:xfrm>
            <a:off x="278932" y="718606"/>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 Placeholder 6">
            <a:extLst>
              <a:ext uri="{FF2B5EF4-FFF2-40B4-BE49-F238E27FC236}">
                <a16:creationId xmlns:a16="http://schemas.microsoft.com/office/drawing/2014/main" id="{5370EF36-EB2A-65C7-C0F8-688E55EF8052}"/>
              </a:ext>
            </a:extLst>
          </p:cNvPr>
          <p:cNvSpPr>
            <a:spLocks noGrp="1" noChangeAspect="1"/>
          </p:cNvSpPr>
          <p:nvPr>
            <p:ph type="body" sz="quarter" idx="13" hasCustomPrompt="1"/>
          </p:nvPr>
        </p:nvSpPr>
        <p:spPr>
          <a:xfrm>
            <a:off x="288558" y="845697"/>
            <a:ext cx="11582400"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239580919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yp_three_columns_photo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8" name="Text Placeholder 10">
            <a:extLst>
              <a:ext uri="{FF2B5EF4-FFF2-40B4-BE49-F238E27FC236}">
                <a16:creationId xmlns:a16="http://schemas.microsoft.com/office/drawing/2014/main" id="{4C9009D2-DE9F-C580-0069-71F8F68B674F}"/>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itle 1">
            <a:extLst>
              <a:ext uri="{FF2B5EF4-FFF2-40B4-BE49-F238E27FC236}">
                <a16:creationId xmlns:a16="http://schemas.microsoft.com/office/drawing/2014/main" id="{73FCBC1E-7EFE-4663-A738-6886100E9E70}"/>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cxnSp>
        <p:nvCxnSpPr>
          <p:cNvPr id="7" name="Straight Connector 6">
            <a:extLst>
              <a:ext uri="{FF2B5EF4-FFF2-40B4-BE49-F238E27FC236}">
                <a16:creationId xmlns:a16="http://schemas.microsoft.com/office/drawing/2014/main" id="{B39A74BF-2DD6-3F05-945A-5D71479F4CEE}"/>
              </a:ext>
            </a:extLst>
          </p:cNvPr>
          <p:cNvCxnSpPr>
            <a:cxnSpLocks/>
          </p:cNvCxnSpPr>
          <p:nvPr userDrawn="1"/>
        </p:nvCxnSpPr>
        <p:spPr>
          <a:xfrm>
            <a:off x="278932" y="718606"/>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1726E5B4-BD5B-4E00-35E0-4F73235E8DC6}"/>
              </a:ext>
            </a:extLst>
          </p:cNvPr>
          <p:cNvSpPr>
            <a:spLocks noGrp="1"/>
          </p:cNvSpPr>
          <p:nvPr>
            <p:ph idx="1"/>
          </p:nvPr>
        </p:nvSpPr>
        <p:spPr>
          <a:xfrm>
            <a:off x="288559" y="419077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F3ADE24-C798-CA63-134A-D2928B468889}"/>
              </a:ext>
            </a:extLst>
          </p:cNvPr>
          <p:cNvSpPr>
            <a:spLocks noGrp="1"/>
          </p:cNvSpPr>
          <p:nvPr>
            <p:ph idx="14"/>
          </p:nvPr>
        </p:nvSpPr>
        <p:spPr>
          <a:xfrm>
            <a:off x="4237582" y="419077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38BBDA64-0D13-2635-3928-601607F3A856}"/>
              </a:ext>
            </a:extLst>
          </p:cNvPr>
          <p:cNvSpPr>
            <a:spLocks noGrp="1"/>
          </p:cNvSpPr>
          <p:nvPr>
            <p:ph idx="15"/>
          </p:nvPr>
        </p:nvSpPr>
        <p:spPr>
          <a:xfrm>
            <a:off x="8186606" y="419077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4">
            <a:extLst>
              <a:ext uri="{FF2B5EF4-FFF2-40B4-BE49-F238E27FC236}">
                <a16:creationId xmlns:a16="http://schemas.microsoft.com/office/drawing/2014/main" id="{86D304D5-4D81-59E8-3AA0-6583EA6CE8DE}"/>
              </a:ext>
            </a:extLst>
          </p:cNvPr>
          <p:cNvSpPr>
            <a:spLocks noGrp="1"/>
          </p:cNvSpPr>
          <p:nvPr>
            <p:ph type="pic" sz="quarter" idx="20" hasCustomPrompt="1"/>
          </p:nvPr>
        </p:nvSpPr>
        <p:spPr>
          <a:xfrm>
            <a:off x="288559" y="1632858"/>
            <a:ext cx="3684352" cy="2041112"/>
          </a:xfrm>
        </p:spPr>
        <p:txBody>
          <a:bodyPr/>
          <a:lstStyle>
            <a:lvl1pPr marL="0" indent="0" algn="ctr">
              <a:buNone/>
              <a:defRPr/>
            </a:lvl1pPr>
          </a:lstStyle>
          <a:p>
            <a:r>
              <a:rPr lang="en-US"/>
              <a:t>Click picture icon to add photo</a:t>
            </a:r>
          </a:p>
        </p:txBody>
      </p:sp>
      <p:sp>
        <p:nvSpPr>
          <p:cNvPr id="16" name="Picture Placeholder 4">
            <a:extLst>
              <a:ext uri="{FF2B5EF4-FFF2-40B4-BE49-F238E27FC236}">
                <a16:creationId xmlns:a16="http://schemas.microsoft.com/office/drawing/2014/main" id="{AD624F43-E3B5-F3DF-65BA-18BEBC9ABE3F}"/>
              </a:ext>
            </a:extLst>
          </p:cNvPr>
          <p:cNvSpPr>
            <a:spLocks noGrp="1"/>
          </p:cNvSpPr>
          <p:nvPr>
            <p:ph type="pic" sz="quarter" idx="21" hasCustomPrompt="1"/>
          </p:nvPr>
        </p:nvSpPr>
        <p:spPr>
          <a:xfrm>
            <a:off x="4237582" y="1632858"/>
            <a:ext cx="3684352" cy="2041112"/>
          </a:xfrm>
        </p:spPr>
        <p:txBody>
          <a:bodyPr/>
          <a:lstStyle>
            <a:lvl1pPr marL="0" indent="0" algn="ctr">
              <a:buNone/>
              <a:defRPr/>
            </a:lvl1pPr>
          </a:lstStyle>
          <a:p>
            <a:r>
              <a:rPr lang="en-US"/>
              <a:t>Click picture icon to add photo</a:t>
            </a:r>
          </a:p>
        </p:txBody>
      </p:sp>
      <p:sp>
        <p:nvSpPr>
          <p:cNvPr id="17" name="Picture Placeholder 4">
            <a:extLst>
              <a:ext uri="{FF2B5EF4-FFF2-40B4-BE49-F238E27FC236}">
                <a16:creationId xmlns:a16="http://schemas.microsoft.com/office/drawing/2014/main" id="{7A405C6D-D024-EC52-520E-7CEF7118B63F}"/>
              </a:ext>
            </a:extLst>
          </p:cNvPr>
          <p:cNvSpPr>
            <a:spLocks noGrp="1"/>
          </p:cNvSpPr>
          <p:nvPr>
            <p:ph type="pic" sz="quarter" idx="22" hasCustomPrompt="1"/>
          </p:nvPr>
        </p:nvSpPr>
        <p:spPr>
          <a:xfrm>
            <a:off x="8186605" y="1632858"/>
            <a:ext cx="3684352" cy="2041112"/>
          </a:xfrm>
        </p:spPr>
        <p:txBody>
          <a:bodyPr/>
          <a:lstStyle>
            <a:lvl1pPr marL="0" indent="0" algn="ctr">
              <a:buNone/>
              <a:defRPr/>
            </a:lvl1pPr>
          </a:lstStyle>
          <a:p>
            <a:r>
              <a:rPr lang="en-US"/>
              <a:t>Click picture icon to add photo</a:t>
            </a:r>
          </a:p>
        </p:txBody>
      </p:sp>
      <p:sp>
        <p:nvSpPr>
          <p:cNvPr id="19" name="Text Placeholder 6">
            <a:extLst>
              <a:ext uri="{FF2B5EF4-FFF2-40B4-BE49-F238E27FC236}">
                <a16:creationId xmlns:a16="http://schemas.microsoft.com/office/drawing/2014/main" id="{3BFB8C74-B06B-6CFC-2D77-48ACF087ADE7}"/>
              </a:ext>
            </a:extLst>
          </p:cNvPr>
          <p:cNvSpPr>
            <a:spLocks noGrp="1"/>
          </p:cNvSpPr>
          <p:nvPr>
            <p:ph type="body" sz="quarter" idx="16" hasCustomPrompt="1"/>
          </p:nvPr>
        </p:nvSpPr>
        <p:spPr>
          <a:xfrm>
            <a:off x="288558" y="375422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20" name="Text Placeholder 6">
            <a:extLst>
              <a:ext uri="{FF2B5EF4-FFF2-40B4-BE49-F238E27FC236}">
                <a16:creationId xmlns:a16="http://schemas.microsoft.com/office/drawing/2014/main" id="{6743F6AA-342D-8F2B-566B-B9BF40019FF0}"/>
              </a:ext>
            </a:extLst>
          </p:cNvPr>
          <p:cNvSpPr>
            <a:spLocks noGrp="1"/>
          </p:cNvSpPr>
          <p:nvPr>
            <p:ph type="body" sz="quarter" idx="24" hasCustomPrompt="1"/>
          </p:nvPr>
        </p:nvSpPr>
        <p:spPr>
          <a:xfrm>
            <a:off x="4237582" y="375422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21" name="Text Placeholder 6">
            <a:extLst>
              <a:ext uri="{FF2B5EF4-FFF2-40B4-BE49-F238E27FC236}">
                <a16:creationId xmlns:a16="http://schemas.microsoft.com/office/drawing/2014/main" id="{4C467062-502A-D066-43CD-99EE05E7C5DA}"/>
              </a:ext>
            </a:extLst>
          </p:cNvPr>
          <p:cNvSpPr>
            <a:spLocks noGrp="1"/>
          </p:cNvSpPr>
          <p:nvPr>
            <p:ph type="body" sz="quarter" idx="18" hasCustomPrompt="1"/>
          </p:nvPr>
        </p:nvSpPr>
        <p:spPr>
          <a:xfrm>
            <a:off x="8186605" y="375422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3" name="Text Placeholder 6">
            <a:extLst>
              <a:ext uri="{FF2B5EF4-FFF2-40B4-BE49-F238E27FC236}">
                <a16:creationId xmlns:a16="http://schemas.microsoft.com/office/drawing/2014/main" id="{51484B43-21FE-B0A1-A31A-BE6AD84E3926}"/>
              </a:ext>
            </a:extLst>
          </p:cNvPr>
          <p:cNvSpPr>
            <a:spLocks noGrp="1" noChangeAspect="1"/>
          </p:cNvSpPr>
          <p:nvPr>
            <p:ph type="body" sz="quarter" idx="13" hasCustomPrompt="1"/>
          </p:nvPr>
        </p:nvSpPr>
        <p:spPr>
          <a:xfrm>
            <a:off x="288558" y="845697"/>
            <a:ext cx="11582400"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207042947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yp_four_columns_photo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20" name="Text Placeholder 10">
            <a:extLst>
              <a:ext uri="{FF2B5EF4-FFF2-40B4-BE49-F238E27FC236}">
                <a16:creationId xmlns:a16="http://schemas.microsoft.com/office/drawing/2014/main" id="{52BD1DA6-2F3A-8497-317F-A33FE7FE9D1F}"/>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itle 1">
            <a:extLst>
              <a:ext uri="{FF2B5EF4-FFF2-40B4-BE49-F238E27FC236}">
                <a16:creationId xmlns:a16="http://schemas.microsoft.com/office/drawing/2014/main" id="{E626DB92-A0AA-1D4E-DCEC-54D5E5605B1B}"/>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cxnSp>
        <p:nvCxnSpPr>
          <p:cNvPr id="9" name="Straight Connector 8">
            <a:extLst>
              <a:ext uri="{FF2B5EF4-FFF2-40B4-BE49-F238E27FC236}">
                <a16:creationId xmlns:a16="http://schemas.microsoft.com/office/drawing/2014/main" id="{5C7DD2E8-792A-AEFC-E67F-D77E3B5938C1}"/>
              </a:ext>
            </a:extLst>
          </p:cNvPr>
          <p:cNvCxnSpPr>
            <a:cxnSpLocks/>
          </p:cNvCxnSpPr>
          <p:nvPr userDrawn="1"/>
        </p:nvCxnSpPr>
        <p:spPr>
          <a:xfrm>
            <a:off x="278932" y="718606"/>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3A50AC7-EF1B-06BD-6C82-F5E0A8824140}"/>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2ECCED81-E160-CC9F-96BC-CCA54BC2AB36}"/>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0C1824ED-E104-5863-D8DF-6AF9F31421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6C693F40-4A3C-FDB9-A028-98592D644B6C}"/>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Picture Placeholder 4">
            <a:extLst>
              <a:ext uri="{FF2B5EF4-FFF2-40B4-BE49-F238E27FC236}">
                <a16:creationId xmlns:a16="http://schemas.microsoft.com/office/drawing/2014/main" id="{DB8AF23D-65B8-8384-5548-FF42652FBF21}"/>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a:t>Click picture icon to add photo</a:t>
            </a:r>
          </a:p>
        </p:txBody>
      </p:sp>
      <p:sp>
        <p:nvSpPr>
          <p:cNvPr id="19" name="Picture Placeholder 4">
            <a:extLst>
              <a:ext uri="{FF2B5EF4-FFF2-40B4-BE49-F238E27FC236}">
                <a16:creationId xmlns:a16="http://schemas.microsoft.com/office/drawing/2014/main" id="{1CCE717F-B29B-9E5A-9E93-FDAD0795A740}"/>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a:t>Click picture icon to add photo</a:t>
            </a:r>
          </a:p>
        </p:txBody>
      </p:sp>
      <p:sp>
        <p:nvSpPr>
          <p:cNvPr id="21" name="Picture Placeholder 4">
            <a:extLst>
              <a:ext uri="{FF2B5EF4-FFF2-40B4-BE49-F238E27FC236}">
                <a16:creationId xmlns:a16="http://schemas.microsoft.com/office/drawing/2014/main" id="{7D458F08-34A8-CE5C-DD22-63798281F6E7}"/>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a:t>Click picture icon to add photo</a:t>
            </a:r>
          </a:p>
        </p:txBody>
      </p:sp>
      <p:sp>
        <p:nvSpPr>
          <p:cNvPr id="22" name="Picture Placeholder 4">
            <a:extLst>
              <a:ext uri="{FF2B5EF4-FFF2-40B4-BE49-F238E27FC236}">
                <a16:creationId xmlns:a16="http://schemas.microsoft.com/office/drawing/2014/main" id="{CDD1D9EB-F526-0267-384F-4B3F58A56D9E}"/>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a:t>Click picture icon to add photo</a:t>
            </a:r>
          </a:p>
        </p:txBody>
      </p:sp>
      <p:sp>
        <p:nvSpPr>
          <p:cNvPr id="23" name="Text Placeholder 6">
            <a:extLst>
              <a:ext uri="{FF2B5EF4-FFF2-40B4-BE49-F238E27FC236}">
                <a16:creationId xmlns:a16="http://schemas.microsoft.com/office/drawing/2014/main" id="{2D8888BC-56A9-8D6B-3914-B5265AF614EB}"/>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24" name="Text Placeholder 6">
            <a:extLst>
              <a:ext uri="{FF2B5EF4-FFF2-40B4-BE49-F238E27FC236}">
                <a16:creationId xmlns:a16="http://schemas.microsoft.com/office/drawing/2014/main" id="{1A83D8D5-1A14-BFA8-3A2D-8F83DAE8E4F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25" name="Text Placeholder 6">
            <a:extLst>
              <a:ext uri="{FF2B5EF4-FFF2-40B4-BE49-F238E27FC236}">
                <a16:creationId xmlns:a16="http://schemas.microsoft.com/office/drawing/2014/main" id="{8FD46FC2-34E5-C791-DF24-FDA9AC97DE4B}"/>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26" name="Text Placeholder 6">
            <a:extLst>
              <a:ext uri="{FF2B5EF4-FFF2-40B4-BE49-F238E27FC236}">
                <a16:creationId xmlns:a16="http://schemas.microsoft.com/office/drawing/2014/main" id="{61527C26-EEF9-B6E7-95A8-57A4BB373F3A}"/>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3" name="Text Placeholder 6">
            <a:extLst>
              <a:ext uri="{FF2B5EF4-FFF2-40B4-BE49-F238E27FC236}">
                <a16:creationId xmlns:a16="http://schemas.microsoft.com/office/drawing/2014/main" id="{5ED8B14D-BD06-2581-E921-C80B76E260C7}"/>
              </a:ext>
            </a:extLst>
          </p:cNvPr>
          <p:cNvSpPr>
            <a:spLocks noGrp="1" noChangeAspect="1"/>
          </p:cNvSpPr>
          <p:nvPr>
            <p:ph type="body" sz="quarter" idx="13" hasCustomPrompt="1"/>
          </p:nvPr>
        </p:nvSpPr>
        <p:spPr>
          <a:xfrm>
            <a:off x="288558" y="845697"/>
            <a:ext cx="11582400"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28964464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yp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341D27D-C9D4-960C-C280-35DFDBD6B9CE}"/>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1B06AFB7-2509-B702-D8B2-8C89ADEF868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4" name="Text Placeholder 6">
            <a:extLst>
              <a:ext uri="{FF2B5EF4-FFF2-40B4-BE49-F238E27FC236}">
                <a16:creationId xmlns:a16="http://schemas.microsoft.com/office/drawing/2014/main" id="{C644E75E-F3FD-631A-D490-8B6F7CE333C8}"/>
              </a:ext>
            </a:extLst>
          </p:cNvPr>
          <p:cNvSpPr>
            <a:spLocks noGrp="1" noChangeAspect="1"/>
          </p:cNvSpPr>
          <p:nvPr>
            <p:ph type="body" sz="quarter" idx="16" hasCustomPrompt="1"/>
          </p:nvPr>
        </p:nvSpPr>
        <p:spPr>
          <a:xfrm>
            <a:off x="4275692" y="788545"/>
            <a:ext cx="7595266"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189423954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3yp_left_title_and_content_deep_blu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5" name="TextBox 4">
            <a:extLst>
              <a:ext uri="{FF2B5EF4-FFF2-40B4-BE49-F238E27FC236}">
                <a16:creationId xmlns:a16="http://schemas.microsoft.com/office/drawing/2014/main" id="{5341D27D-C9D4-960C-C280-35DFDBD6B9CE}"/>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1B06AFB7-2509-B702-D8B2-8C89ADEF868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pic>
        <p:nvPicPr>
          <p:cNvPr id="10" name="NIQ Logo">
            <a:extLst>
              <a:ext uri="{FF2B5EF4-FFF2-40B4-BE49-F238E27FC236}">
                <a16:creationId xmlns:a16="http://schemas.microsoft.com/office/drawing/2014/main" id="{89CA11E8-6EDD-A6DA-D132-1975D81BF8E2}"/>
              </a:ext>
            </a:extLst>
          </p:cNvPr>
          <p:cNvPicPr>
            <a:picLocks/>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23098080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Cover Photo Circle Dark">
    <p:spTree>
      <p:nvGrpSpPr>
        <p:cNvPr id="1" name=""/>
        <p:cNvGrpSpPr/>
        <p:nvPr/>
      </p:nvGrpSpPr>
      <p:grpSpPr>
        <a:xfrm>
          <a:off x="0" y="0"/>
          <a:ext cx="0" cy="0"/>
          <a:chOff x="0" y="0"/>
          <a:chExt cx="0" cy="0"/>
        </a:xfrm>
      </p:grpSpPr>
      <p:sp>
        <p:nvSpPr>
          <p:cNvPr id="29" name="Static Light Bkgd">
            <a:extLst>
              <a:ext uri="{FF2B5EF4-FFF2-40B4-BE49-F238E27FC236}">
                <a16:creationId xmlns:a16="http://schemas.microsoft.com/office/drawing/2014/main" id="{EE705342-7994-AFF3-15FD-F6FDEC9AE6B0}"/>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060A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Photo Accent Circles">
            <a:extLst>
              <a:ext uri="{FF2B5EF4-FFF2-40B4-BE49-F238E27FC236}">
                <a16:creationId xmlns:a16="http://schemas.microsoft.com/office/drawing/2014/main" id="{142AC587-6F39-6154-A37A-868A63F4F005}"/>
              </a:ext>
            </a:extLst>
          </p:cNvPr>
          <p:cNvGrpSpPr>
            <a:grpSpLocks noGrp="1" noUngrp="1" noRot="1" noMove="1" noResize="1"/>
          </p:cNvGrpSpPr>
          <p:nvPr userDrawn="1"/>
        </p:nvGrpSpPr>
        <p:grpSpPr>
          <a:xfrm>
            <a:off x="5942370" y="1"/>
            <a:ext cx="6249631" cy="6778171"/>
            <a:chOff x="5942370" y="1"/>
            <a:chExt cx="6249631" cy="6778171"/>
          </a:xfrm>
        </p:grpSpPr>
        <p:sp>
          <p:nvSpPr>
            <p:cNvPr id="28" name="Freeform: Shape 27">
              <a:extLst>
                <a:ext uri="{FF2B5EF4-FFF2-40B4-BE49-F238E27FC236}">
                  <a16:creationId xmlns:a16="http://schemas.microsoft.com/office/drawing/2014/main" id="{41DBC157-DD06-141E-B188-1EB8D24163C1}"/>
                </a:ext>
              </a:extLst>
            </p:cNvPr>
            <p:cNvSpPr>
              <a:spLocks noGrp="1" noRot="1" noMove="1" noResize="1" noEditPoints="1" noAdjustHandles="1" noChangeArrowheads="1" noChangeShapeType="1"/>
            </p:cNvSpPr>
            <p:nvPr userDrawn="1"/>
          </p:nvSpPr>
          <p:spPr>
            <a:xfrm>
              <a:off x="5942370" y="1"/>
              <a:ext cx="6249631" cy="6778171"/>
            </a:xfrm>
            <a:custGeom>
              <a:avLst/>
              <a:gdLst>
                <a:gd name="connsiteX0" fmla="*/ 1133398 w 6249631"/>
                <a:gd name="connsiteY0" fmla="*/ 0 h 6778171"/>
                <a:gd name="connsiteX1" fmla="*/ 6249631 w 6249631"/>
                <a:gd name="connsiteY1" fmla="*/ 0 h 6778171"/>
                <a:gd name="connsiteX2" fmla="*/ 6249631 w 6249631"/>
                <a:gd name="connsiteY2" fmla="*/ 6079239 h 6778171"/>
                <a:gd name="connsiteX3" fmla="*/ 6227147 w 6249631"/>
                <a:gd name="connsiteY3" fmla="*/ 6096052 h 6778171"/>
                <a:gd name="connsiteX4" fmla="*/ 3994041 w 6249631"/>
                <a:gd name="connsiteY4" fmla="*/ 6778171 h 6778171"/>
                <a:gd name="connsiteX5" fmla="*/ 0 w 6249631"/>
                <a:gd name="connsiteY5" fmla="*/ 2784130 h 6778171"/>
                <a:gd name="connsiteX6" fmla="*/ 912045 w 6249631"/>
                <a:gd name="connsiteY6" fmla="*/ 243549 h 6778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9631" h="6778171">
                  <a:moveTo>
                    <a:pt x="1133398" y="0"/>
                  </a:moveTo>
                  <a:lnTo>
                    <a:pt x="6249631" y="0"/>
                  </a:lnTo>
                  <a:lnTo>
                    <a:pt x="6249631" y="6079239"/>
                  </a:lnTo>
                  <a:lnTo>
                    <a:pt x="6227147" y="6096052"/>
                  </a:lnTo>
                  <a:cubicBezTo>
                    <a:pt x="5589694" y="6526707"/>
                    <a:pt x="4821234" y="6778171"/>
                    <a:pt x="3994041" y="6778171"/>
                  </a:cubicBezTo>
                  <a:cubicBezTo>
                    <a:pt x="1788193" y="6778171"/>
                    <a:pt x="0" y="4989978"/>
                    <a:pt x="0" y="2784130"/>
                  </a:cubicBezTo>
                  <a:cubicBezTo>
                    <a:pt x="0" y="1819072"/>
                    <a:pt x="342272" y="933955"/>
                    <a:pt x="912045" y="243549"/>
                  </a:cubicBezTo>
                  <a:close/>
                </a:path>
              </a:pathLst>
            </a:custGeom>
            <a:solidFill>
              <a:srgbClr val="06318B"/>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a:p>
          </p:txBody>
        </p:sp>
        <p:sp>
          <p:nvSpPr>
            <p:cNvPr id="21" name="Freeform: Shape 20">
              <a:extLst>
                <a:ext uri="{FF2B5EF4-FFF2-40B4-BE49-F238E27FC236}">
                  <a16:creationId xmlns:a16="http://schemas.microsoft.com/office/drawing/2014/main" id="{95D9CB59-0278-69D3-1B88-9D97D9D9BF66}"/>
                </a:ext>
              </a:extLst>
            </p:cNvPr>
            <p:cNvSpPr>
              <a:spLocks noGrp="1" noRot="1" noMove="1" noResize="1" noEditPoints="1" noAdjustHandles="1" noChangeArrowheads="1" noChangeShapeType="1"/>
            </p:cNvSpPr>
            <p:nvPr userDrawn="1"/>
          </p:nvSpPr>
          <p:spPr>
            <a:xfrm>
              <a:off x="6596886" y="1"/>
              <a:ext cx="5595114" cy="6115087"/>
            </a:xfrm>
            <a:custGeom>
              <a:avLst/>
              <a:gdLst>
                <a:gd name="connsiteX0" fmla="*/ 1504880 w 5595114"/>
                <a:gd name="connsiteY0" fmla="*/ 0 h 6115087"/>
                <a:gd name="connsiteX1" fmla="*/ 5157035 w 5595114"/>
                <a:gd name="connsiteY1" fmla="*/ 0 h 6115087"/>
                <a:gd name="connsiteX2" fmla="*/ 5193327 w 5595114"/>
                <a:gd name="connsiteY2" fmla="*/ 22048 h 6115087"/>
                <a:gd name="connsiteX3" fmla="*/ 5449755 w 5595114"/>
                <a:gd name="connsiteY3" fmla="*/ 213802 h 6115087"/>
                <a:gd name="connsiteX4" fmla="*/ 5595114 w 5595114"/>
                <a:gd name="connsiteY4" fmla="*/ 345913 h 6115087"/>
                <a:gd name="connsiteX5" fmla="*/ 5595114 w 5595114"/>
                <a:gd name="connsiteY5" fmla="*/ 5222347 h 6115087"/>
                <a:gd name="connsiteX6" fmla="*/ 5449755 w 5595114"/>
                <a:gd name="connsiteY6" fmla="*/ 5354459 h 6115087"/>
                <a:gd name="connsiteX7" fmla="*/ 3330957 w 5595114"/>
                <a:gd name="connsiteY7" fmla="*/ 6115087 h 6115087"/>
                <a:gd name="connsiteX8" fmla="*/ 0 w 5595114"/>
                <a:gd name="connsiteY8" fmla="*/ 2784130 h 6115087"/>
                <a:gd name="connsiteX9" fmla="*/ 1468588 w 5595114"/>
                <a:gd name="connsiteY9" fmla="*/ 22048 h 611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5114" h="6115087">
                  <a:moveTo>
                    <a:pt x="1504880" y="0"/>
                  </a:moveTo>
                  <a:lnTo>
                    <a:pt x="5157035" y="0"/>
                  </a:lnTo>
                  <a:lnTo>
                    <a:pt x="5193327" y="22048"/>
                  </a:lnTo>
                  <a:cubicBezTo>
                    <a:pt x="5281931" y="81908"/>
                    <a:pt x="5367500" y="145919"/>
                    <a:pt x="5449755" y="213802"/>
                  </a:cubicBezTo>
                  <a:lnTo>
                    <a:pt x="5595114" y="345913"/>
                  </a:lnTo>
                  <a:lnTo>
                    <a:pt x="5595114" y="5222347"/>
                  </a:lnTo>
                  <a:lnTo>
                    <a:pt x="5449755" y="5354459"/>
                  </a:lnTo>
                  <a:cubicBezTo>
                    <a:pt x="4873969" y="5829639"/>
                    <a:pt x="4135798" y="6115087"/>
                    <a:pt x="3330957" y="6115087"/>
                  </a:cubicBezTo>
                  <a:cubicBezTo>
                    <a:pt x="1491320" y="6115087"/>
                    <a:pt x="0" y="4623767"/>
                    <a:pt x="0" y="2784130"/>
                  </a:cubicBezTo>
                  <a:cubicBezTo>
                    <a:pt x="0" y="1634357"/>
                    <a:pt x="582547" y="620645"/>
                    <a:pt x="1468588" y="22048"/>
                  </a:cubicBezTo>
                  <a:close/>
                </a:path>
              </a:pathLst>
            </a:custGeom>
            <a:solidFill>
              <a:srgbClr val="0949D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rgbClr val="DADADA"/>
                </a:solidFill>
              </a:endParaRPr>
            </a:p>
          </p:txBody>
        </p:sp>
        <p:sp>
          <p:nvSpPr>
            <p:cNvPr id="23" name="Freeform: Shape 22">
              <a:extLst>
                <a:ext uri="{FF2B5EF4-FFF2-40B4-BE49-F238E27FC236}">
                  <a16:creationId xmlns:a16="http://schemas.microsoft.com/office/drawing/2014/main" id="{CEF44984-8F7A-8C11-AE43-676924BE717A}"/>
                </a:ext>
              </a:extLst>
            </p:cNvPr>
            <p:cNvSpPr>
              <a:spLocks noGrp="1" noRot="1" noMove="1" noResize="1" noEditPoints="1" noAdjustHandles="1" noChangeArrowheads="1" noChangeShapeType="1"/>
            </p:cNvSpPr>
            <p:nvPr userDrawn="1"/>
          </p:nvSpPr>
          <p:spPr>
            <a:xfrm>
              <a:off x="7172234" y="28520"/>
              <a:ext cx="5019767" cy="5511220"/>
            </a:xfrm>
            <a:custGeom>
              <a:avLst/>
              <a:gdLst>
                <a:gd name="connsiteX0" fmla="*/ 2755610 w 5019767"/>
                <a:gd name="connsiteY0" fmla="*/ 0 h 5511220"/>
                <a:gd name="connsiteX1" fmla="*/ 4881972 w 5019767"/>
                <a:gd name="connsiteY1" fmla="*/ 1002786 h 5511220"/>
                <a:gd name="connsiteX2" fmla="*/ 5019767 w 5019767"/>
                <a:gd name="connsiteY2" fmla="*/ 1187056 h 5511220"/>
                <a:gd name="connsiteX3" fmla="*/ 5019767 w 5019767"/>
                <a:gd name="connsiteY3" fmla="*/ 4324164 h 5511220"/>
                <a:gd name="connsiteX4" fmla="*/ 4881972 w 5019767"/>
                <a:gd name="connsiteY4" fmla="*/ 4508434 h 5511220"/>
                <a:gd name="connsiteX5" fmla="*/ 2755610 w 5019767"/>
                <a:gd name="connsiteY5" fmla="*/ 5511220 h 5511220"/>
                <a:gd name="connsiteX6" fmla="*/ 0 w 5019767"/>
                <a:gd name="connsiteY6" fmla="*/ 2755610 h 5511220"/>
                <a:gd name="connsiteX7" fmla="*/ 2755610 w 5019767"/>
                <a:gd name="connsiteY7" fmla="*/ 0 h 5511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19767" h="5511220">
                  <a:moveTo>
                    <a:pt x="2755610" y="0"/>
                  </a:moveTo>
                  <a:cubicBezTo>
                    <a:pt x="3611668" y="0"/>
                    <a:pt x="4376553" y="390360"/>
                    <a:pt x="4881972" y="1002786"/>
                  </a:cubicBezTo>
                  <a:lnTo>
                    <a:pt x="5019767" y="1187056"/>
                  </a:lnTo>
                  <a:lnTo>
                    <a:pt x="5019767" y="4324164"/>
                  </a:lnTo>
                  <a:lnTo>
                    <a:pt x="4881972" y="4508434"/>
                  </a:lnTo>
                  <a:cubicBezTo>
                    <a:pt x="4376553" y="5120861"/>
                    <a:pt x="3611668" y="5511220"/>
                    <a:pt x="2755610" y="5511220"/>
                  </a:cubicBezTo>
                  <a:cubicBezTo>
                    <a:pt x="1233729" y="5511220"/>
                    <a:pt x="0" y="4277491"/>
                    <a:pt x="0" y="2755610"/>
                  </a:cubicBezTo>
                  <a:cubicBezTo>
                    <a:pt x="0" y="1233729"/>
                    <a:pt x="1233729" y="0"/>
                    <a:pt x="2755610"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sp>
        <p:nvSpPr>
          <p:cNvPr id="9" name="Copyright Line">
            <a:extLst>
              <a:ext uri="{FF2B5EF4-FFF2-40B4-BE49-F238E27FC236}">
                <a16:creationId xmlns:a16="http://schemas.microsoft.com/office/drawing/2014/main" id="{D2389545-B6D7-497B-37D4-C8C4C52F8A14}"/>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7" name="Confidential disclaimer">
            <a:extLst>
              <a:ext uri="{FF2B5EF4-FFF2-40B4-BE49-F238E27FC236}">
                <a16:creationId xmlns:a16="http://schemas.microsoft.com/office/drawing/2014/main" id="{7F366BE8-8DFF-9E64-8372-4E4C126B56A7}"/>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5" name="Footer Placeholder">
            <a:extLst>
              <a:ext uri="{FF2B5EF4-FFF2-40B4-BE49-F238E27FC236}">
                <a16:creationId xmlns:a16="http://schemas.microsoft.com/office/drawing/2014/main" id="{8E33C4BA-B3E3-D8C7-C496-E55C90D029E0}"/>
              </a:ext>
            </a:extLst>
          </p:cNvPr>
          <p:cNvSpPr>
            <a:spLocks noGrp="1" noRot="1" noMove="1" noResize="1" noEditPoints="1" noAdjustHandles="1" noChangeArrowheads="1" noChangeShapeType="1"/>
          </p:cNvSpPr>
          <p:nvPr>
            <p:ph type="ftr" sz="quarter" idx="13"/>
          </p:nvPr>
        </p:nvSpPr>
        <p:spPr>
          <a:xfrm>
            <a:off x="3251200" y="6485399"/>
            <a:ext cx="3716336" cy="282957"/>
          </a:xfrm>
          <a:solidFill>
            <a:schemeClr val="tx2"/>
          </a:solidFill>
        </p:spPr>
        <p:txBody>
          <a:bodyPr/>
          <a:lstStyle>
            <a:lvl1pPr algn="l">
              <a:defRPr>
                <a:solidFill>
                  <a:srgbClr val="FFFFFF"/>
                </a:solidFill>
              </a:defRPr>
            </a:lvl1pPr>
          </a:lstStyle>
          <a:p>
            <a:endParaRPr lang="en-GB"/>
          </a:p>
        </p:txBody>
      </p:sp>
      <p:sp>
        <p:nvSpPr>
          <p:cNvPr id="25" name="Picture Placeholder">
            <a:extLst>
              <a:ext uri="{FF2B5EF4-FFF2-40B4-BE49-F238E27FC236}">
                <a16:creationId xmlns:a16="http://schemas.microsoft.com/office/drawing/2014/main" id="{278BDEAF-4B5A-EDEC-5FBB-5BDC0B1311E4}"/>
              </a:ext>
            </a:extLst>
          </p:cNvPr>
          <p:cNvSpPr>
            <a:spLocks noGrp="1" noRot="1" noMove="1" noResize="1" noEditPoints="1" noAdjustHandles="1" noChangeArrowheads="1" noChangeShapeType="1"/>
          </p:cNvSpPr>
          <p:nvPr>
            <p:ph type="pic" sz="quarter" idx="12" hasCustomPrompt="1"/>
          </p:nvPr>
        </p:nvSpPr>
        <p:spPr>
          <a:xfrm>
            <a:off x="7465671" y="321957"/>
            <a:ext cx="4726329" cy="4924346"/>
          </a:xfrm>
          <a:custGeom>
            <a:avLst/>
            <a:gdLst>
              <a:gd name="connsiteX0" fmla="*/ 2462173 w 4726329"/>
              <a:gd name="connsiteY0" fmla="*/ 0 h 4924346"/>
              <a:gd name="connsiteX1" fmla="*/ 4627175 w 4726329"/>
              <a:gd name="connsiteY1" fmla="*/ 1288555 h 4924346"/>
              <a:gd name="connsiteX2" fmla="*/ 4726329 w 4726329"/>
              <a:gd name="connsiteY2" fmla="*/ 1494386 h 4924346"/>
              <a:gd name="connsiteX3" fmla="*/ 4726329 w 4726329"/>
              <a:gd name="connsiteY3" fmla="*/ 3429960 h 4924346"/>
              <a:gd name="connsiteX4" fmla="*/ 4627175 w 4726329"/>
              <a:gd name="connsiteY4" fmla="*/ 3635791 h 4924346"/>
              <a:gd name="connsiteX5" fmla="*/ 2462173 w 4726329"/>
              <a:gd name="connsiteY5" fmla="*/ 4924346 h 4924346"/>
              <a:gd name="connsiteX6" fmla="*/ 0 w 4726329"/>
              <a:gd name="connsiteY6" fmla="*/ 2462173 h 4924346"/>
              <a:gd name="connsiteX7" fmla="*/ 2462173 w 4726329"/>
              <a:gd name="connsiteY7" fmla="*/ 0 h 4924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6329" h="4924346">
                <a:moveTo>
                  <a:pt x="2462173" y="0"/>
                </a:moveTo>
                <a:cubicBezTo>
                  <a:pt x="3397050" y="0"/>
                  <a:pt x="4210233" y="521034"/>
                  <a:pt x="4627175" y="1288555"/>
                </a:cubicBezTo>
                <a:lnTo>
                  <a:pt x="4726329" y="1494386"/>
                </a:lnTo>
                <a:lnTo>
                  <a:pt x="4726329" y="3429960"/>
                </a:lnTo>
                <a:lnTo>
                  <a:pt x="4627175" y="3635791"/>
                </a:lnTo>
                <a:cubicBezTo>
                  <a:pt x="4210233" y="4403313"/>
                  <a:pt x="3397050" y="4924346"/>
                  <a:pt x="2462173" y="4924346"/>
                </a:cubicBezTo>
                <a:cubicBezTo>
                  <a:pt x="1102352" y="4924346"/>
                  <a:pt x="0" y="3821994"/>
                  <a:pt x="0" y="2462173"/>
                </a:cubicBezTo>
                <a:cubicBezTo>
                  <a:pt x="0" y="1102352"/>
                  <a:pt x="1102352" y="0"/>
                  <a:pt x="2462173" y="0"/>
                </a:cubicBezTo>
                <a:close/>
              </a:path>
            </a:pathLst>
          </a:custGeom>
          <a:solidFill>
            <a:srgbClr val="777777"/>
          </a:solidFill>
        </p:spPr>
        <p:txBody>
          <a:bodyPr wrap="square" anchor="ctr" anchorCtr="1">
            <a:noAutofit/>
          </a:bodyPr>
          <a:lstStyle>
            <a:lvl1pPr marL="0" indent="0" algn="ctr">
              <a:buNone/>
              <a:defRPr>
                <a:solidFill>
                  <a:srgbClr val="FFFFFF"/>
                </a:solidFill>
              </a:defRPr>
            </a:lvl1pPr>
          </a:lstStyle>
          <a:p>
            <a:r>
              <a:rPr lang="en-US"/>
              <a:t>Click picture icon to add photo</a:t>
            </a:r>
          </a:p>
        </p:txBody>
      </p:sp>
      <p:sp>
        <p:nvSpPr>
          <p:cNvPr id="11" name="Date Placeholder">
            <a:extLst>
              <a:ext uri="{FF2B5EF4-FFF2-40B4-BE49-F238E27FC236}">
                <a16:creationId xmlns:a16="http://schemas.microsoft.com/office/drawing/2014/main" id="{56FDEAC7-8736-5846-42B8-66DC00FA3B94}"/>
              </a:ext>
            </a:extLst>
          </p:cNvPr>
          <p:cNvSpPr>
            <a:spLocks noGrp="1" noRot="1" noMove="1" noResize="1" noEditPoints="1" noAdjustHandles="1" noChangeArrowheads="1" noChangeShapeType="1"/>
          </p:cNvSpPr>
          <p:nvPr>
            <p:ph type="dt" sz="half" idx="14"/>
          </p:nvPr>
        </p:nvSpPr>
        <p:spPr>
          <a:xfrm>
            <a:off x="292100" y="5036705"/>
            <a:ext cx="1744664" cy="282957"/>
          </a:xfrm>
        </p:spPr>
        <p:txBody>
          <a:bodyPr/>
          <a:lstStyle>
            <a:lvl1pPr>
              <a:defRPr sz="1200">
                <a:solidFill>
                  <a:srgbClr val="FFFFFF"/>
                </a:solidFill>
              </a:defRPr>
            </a:lvl1pPr>
          </a:lstStyle>
          <a:p>
            <a:fld id="{C75F7465-666F-4675-891F-E92434DCB819}" type="datetime1">
              <a:rPr lang="en-GB" smtClean="0"/>
              <a:t>18/11/2024</a:t>
            </a:fld>
            <a:endParaRPr lang="en-GB"/>
          </a:p>
        </p:txBody>
      </p:sp>
      <p:sp>
        <p:nvSpPr>
          <p:cNvPr id="3" name="Title/Dept Placeholder">
            <a:extLst>
              <a:ext uri="{FF2B5EF4-FFF2-40B4-BE49-F238E27FC236}">
                <a16:creationId xmlns:a16="http://schemas.microsoft.com/office/drawing/2014/main" id="{F49547DD-E825-E7A3-C48A-64AA78C199D4}"/>
              </a:ext>
            </a:extLst>
          </p:cNvPr>
          <p:cNvSpPr>
            <a:spLocks noGrp="1" noRot="1" noMove="1" noResize="1" noEditPoints="1" noAdjustHandles="1" noChangeArrowheads="1" noChangeShapeType="1"/>
          </p:cNvSpPr>
          <p:nvPr>
            <p:ph type="body" sz="quarter" idx="11" hasCustomPrompt="1"/>
          </p:nvPr>
        </p:nvSpPr>
        <p:spPr>
          <a:xfrm>
            <a:off x="292100" y="4560602"/>
            <a:ext cx="6689728" cy="344385"/>
          </a:xfrm>
        </p:spPr>
        <p:txBody>
          <a:bodyPr tIns="0" bIns="0">
            <a:noAutofit/>
          </a:bodyPr>
          <a:lstStyle>
            <a:lvl1pPr marL="0" indent="0">
              <a:lnSpc>
                <a:spcPct val="100000"/>
              </a:lnSpc>
              <a:spcBef>
                <a:spcPts val="0"/>
              </a:spcBef>
              <a:spcAft>
                <a:spcPts val="0"/>
              </a:spcAft>
              <a:buNone/>
              <a:defRPr sz="1200" b="0">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2" name="Presenter Name Placeholder">
            <a:extLst>
              <a:ext uri="{FF2B5EF4-FFF2-40B4-BE49-F238E27FC236}">
                <a16:creationId xmlns:a16="http://schemas.microsoft.com/office/drawing/2014/main" id="{5A598B2A-BB91-C356-7BCC-18D04DA85A8D}"/>
              </a:ext>
            </a:extLst>
          </p:cNvPr>
          <p:cNvSpPr>
            <a:spLocks noGrp="1" noRot="1" noMove="1" noResize="1" noEditPoints="1" noAdjustHandles="1" noChangeArrowheads="1" noChangeShapeType="1"/>
          </p:cNvSpPr>
          <p:nvPr>
            <p:ph type="body" sz="quarter" idx="10" hasCustomPrompt="1"/>
          </p:nvPr>
        </p:nvSpPr>
        <p:spPr>
          <a:xfrm>
            <a:off x="292100" y="4192468"/>
            <a:ext cx="6689728" cy="344384"/>
          </a:xfrm>
        </p:spPr>
        <p:txBody>
          <a:bodyPr tIns="0" bIns="0" anchor="b" anchorCtr="0">
            <a:noAutofit/>
          </a:bodyPr>
          <a:lstStyle>
            <a:lvl1pPr marL="0" indent="0">
              <a:lnSpc>
                <a:spcPct val="100000"/>
              </a:lnSpc>
              <a:spcBef>
                <a:spcPts val="0"/>
              </a:spcBef>
              <a:spcAft>
                <a:spcPts val="0"/>
              </a:spcAft>
              <a:buNone/>
              <a:defRPr sz="1200" b="1">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8" name="Subtitle Placeholder">
            <a:extLst>
              <a:ext uri="{FF2B5EF4-FFF2-40B4-BE49-F238E27FC236}">
                <a16:creationId xmlns:a16="http://schemas.microsoft.com/office/drawing/2014/main" id="{23B6A8FC-C3C4-F7DA-BF00-D56866D5808E}"/>
              </a:ext>
            </a:extLst>
          </p:cNvPr>
          <p:cNvSpPr>
            <a:spLocks noGrp="1" noRot="1" noMove="1" noResize="1" noEditPoints="1" noAdjustHandles="1" noChangeArrowheads="1" noChangeShapeType="1"/>
          </p:cNvSpPr>
          <p:nvPr>
            <p:ph type="subTitle" idx="1"/>
          </p:nvPr>
        </p:nvSpPr>
        <p:spPr>
          <a:xfrm>
            <a:off x="292100" y="3114710"/>
            <a:ext cx="6689729" cy="837882"/>
          </a:xfrm>
        </p:spPr>
        <p:txBody>
          <a:bodyPr>
            <a:noAutofit/>
          </a:bodyPr>
          <a:lstStyle>
            <a:lvl1pPr marL="0" indent="0" algn="l">
              <a:spcBef>
                <a:spcPts val="0"/>
              </a:spcBef>
              <a:spcAft>
                <a:spcPts val="0"/>
              </a:spcAft>
              <a:buNone/>
              <a:defRPr sz="20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Title Placeholder">
            <a:extLst>
              <a:ext uri="{FF2B5EF4-FFF2-40B4-BE49-F238E27FC236}">
                <a16:creationId xmlns:a16="http://schemas.microsoft.com/office/drawing/2014/main" id="{615225DC-38B1-15E3-05E6-88F5A6B976CF}"/>
              </a:ext>
            </a:extLst>
          </p:cNvPr>
          <p:cNvSpPr>
            <a:spLocks noGrp="1" noRot="1" noMove="1" noResize="1" noEditPoints="1" noAdjustHandles="1" noChangeArrowheads="1" noChangeShapeType="1"/>
          </p:cNvSpPr>
          <p:nvPr>
            <p:ph type="ctrTitle" hasCustomPrompt="1"/>
          </p:nvPr>
        </p:nvSpPr>
        <p:spPr>
          <a:xfrm>
            <a:off x="292100" y="654818"/>
            <a:ext cx="6689729" cy="2387600"/>
          </a:xfrm>
          <a:prstGeom prst="rect">
            <a:avLst/>
          </a:prstGeom>
        </p:spPr>
        <p:txBody>
          <a:bodyPr anchor="b">
            <a:noAutofit/>
          </a:bodyPr>
          <a:lstStyle>
            <a:lvl1pPr algn="l">
              <a:defRPr sz="4400">
                <a:solidFill>
                  <a:srgbClr val="FFFFFF"/>
                </a:solidFill>
              </a:defRPr>
            </a:lvl1pPr>
          </a:lstStyle>
          <a:p>
            <a:r>
              <a:rPr lang="en-US"/>
              <a:t>Insert your presentation title here maximum of three lines</a:t>
            </a:r>
          </a:p>
        </p:txBody>
      </p:sp>
      <p:pic>
        <p:nvPicPr>
          <p:cNvPr id="10" name="NielsenIQ GFK lockup" hidden="1">
            <a:extLst>
              <a:ext uri="{FF2B5EF4-FFF2-40B4-BE49-F238E27FC236}">
                <a16:creationId xmlns:a16="http://schemas.microsoft.com/office/drawing/2014/main" id="{5AD45FDA-A06C-6A25-4D77-005D36A8D623}"/>
              </a:ext>
            </a:extLst>
          </p:cNvPr>
          <p:cNvPicPr>
            <a:picLocks noGrp="1" noRo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86122" y="5539740"/>
            <a:ext cx="3377876" cy="753596"/>
          </a:xfrm>
          <a:prstGeom prst="rect">
            <a:avLst/>
          </a:prstGeom>
        </p:spPr>
      </p:pic>
      <p:pic>
        <p:nvPicPr>
          <p:cNvPr id="14" name="NielsenIQ logo+wordmark" descr="A blue text on a black background&#10;&#10;Description automatically generated" hidden="1">
            <a:extLst>
              <a:ext uri="{FF2B5EF4-FFF2-40B4-BE49-F238E27FC236}">
                <a16:creationId xmlns:a16="http://schemas.microsoft.com/office/drawing/2014/main" id="{4592FCA5-867A-BB8D-E995-7A4C9EC3E96A}"/>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tretch>
            <a:fillRect/>
          </a:stretch>
        </p:blipFill>
        <p:spPr>
          <a:xfrm>
            <a:off x="288558" y="5563212"/>
            <a:ext cx="2155411" cy="743616"/>
          </a:xfrm>
          <a:prstGeom prst="rect">
            <a:avLst/>
          </a:prstGeom>
        </p:spPr>
      </p:pic>
      <p:sp>
        <p:nvSpPr>
          <p:cNvPr id="22" name="Nielsen wordmark">
            <a:extLst>
              <a:ext uri="{FF2B5EF4-FFF2-40B4-BE49-F238E27FC236}">
                <a16:creationId xmlns:a16="http://schemas.microsoft.com/office/drawing/2014/main" id="{EA927BD7-665B-50AF-0BB4-89B173418808}"/>
              </a:ext>
            </a:extLst>
          </p:cNvPr>
          <p:cNvSpPr>
            <a:spLocks noGrp="1" noRot="1" noMove="1" noResize="1" noEditPoints="1" noAdjustHandles="1" noChangeArrowheads="1" noChangeShapeType="1"/>
          </p:cNvSpPr>
          <p:nvPr userDrawn="1"/>
        </p:nvSpPr>
        <p:spPr>
          <a:xfrm>
            <a:off x="295274" y="5686380"/>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accent3"/>
          </a:solidFill>
          <a:ln w="774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149433262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0174E624-3EAC-7468-3A1E-B592623A7CE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F4FFC67C-2CFB-218E-E17B-FD82A61FA4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
        <p:nvSpPr>
          <p:cNvPr id="2" name="Text Placeholder 6">
            <a:extLst>
              <a:ext uri="{FF2B5EF4-FFF2-40B4-BE49-F238E27FC236}">
                <a16:creationId xmlns:a16="http://schemas.microsoft.com/office/drawing/2014/main" id="{61C79840-3403-A742-3277-345AD86F5844}"/>
              </a:ext>
            </a:extLst>
          </p:cNvPr>
          <p:cNvSpPr>
            <a:spLocks noGrp="1" noChangeAspect="1"/>
          </p:cNvSpPr>
          <p:nvPr>
            <p:ph type="body" sz="quarter" idx="16" hasCustomPrompt="1"/>
          </p:nvPr>
        </p:nvSpPr>
        <p:spPr>
          <a:xfrm>
            <a:off x="4275692" y="788545"/>
            <a:ext cx="7595266"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101434660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yp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55F2EF6-07A6-4B65-6BBC-2B0FAC46A5B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1583A18A-5566-2E4B-2EBC-FAF7DF2CCB0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4" name="Text Placeholder 6">
            <a:extLst>
              <a:ext uri="{FF2B5EF4-FFF2-40B4-BE49-F238E27FC236}">
                <a16:creationId xmlns:a16="http://schemas.microsoft.com/office/drawing/2014/main" id="{C4C10D55-544E-81C6-6C20-39E78BC83FEA}"/>
              </a:ext>
            </a:extLst>
          </p:cNvPr>
          <p:cNvSpPr>
            <a:spLocks noGrp="1" noChangeAspect="1"/>
          </p:cNvSpPr>
          <p:nvPr>
            <p:ph type="body" sz="quarter" idx="16" hasCustomPrompt="1"/>
          </p:nvPr>
        </p:nvSpPr>
        <p:spPr>
          <a:xfrm>
            <a:off x="4275692" y="788545"/>
            <a:ext cx="7595266"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48921420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yp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17" name="Text Placeholder 10">
            <a:extLst>
              <a:ext uri="{FF2B5EF4-FFF2-40B4-BE49-F238E27FC236}">
                <a16:creationId xmlns:a16="http://schemas.microsoft.com/office/drawing/2014/main" id="{402E7EE9-4D36-82A0-ADAA-86A3F1D4BB13}"/>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9" name="Title 1">
            <a:extLst>
              <a:ext uri="{FF2B5EF4-FFF2-40B4-BE49-F238E27FC236}">
                <a16:creationId xmlns:a16="http://schemas.microsoft.com/office/drawing/2014/main" id="{67B38013-170F-74E2-9E07-4B0FB008B93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cxnSp>
        <p:nvCxnSpPr>
          <p:cNvPr id="11" name="Straight Connector 10">
            <a:extLst>
              <a:ext uri="{FF2B5EF4-FFF2-40B4-BE49-F238E27FC236}">
                <a16:creationId xmlns:a16="http://schemas.microsoft.com/office/drawing/2014/main" id="{F58155AE-A3BE-5FB3-3DFA-87FBA1907EE7}"/>
              </a:ext>
            </a:extLst>
          </p:cNvPr>
          <p:cNvCxnSpPr>
            <a:cxnSpLocks/>
          </p:cNvCxnSpPr>
          <p:nvPr userDrawn="1"/>
        </p:nvCxnSpPr>
        <p:spPr>
          <a:xfrm>
            <a:off x="278932" y="718606"/>
            <a:ext cx="554312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 Placeholder 6">
            <a:extLst>
              <a:ext uri="{FF2B5EF4-FFF2-40B4-BE49-F238E27FC236}">
                <a16:creationId xmlns:a16="http://schemas.microsoft.com/office/drawing/2014/main" id="{EA1EEDF0-6722-37DF-014E-CBC766E1C5AD}"/>
              </a:ext>
            </a:extLst>
          </p:cNvPr>
          <p:cNvSpPr>
            <a:spLocks noGrp="1" noChangeAspect="1"/>
          </p:cNvSpPr>
          <p:nvPr>
            <p:ph type="body" sz="quarter" idx="16" hasCustomPrompt="1"/>
          </p:nvPr>
        </p:nvSpPr>
        <p:spPr>
          <a:xfrm>
            <a:off x="278932" y="860890"/>
            <a:ext cx="5537252"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19391609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yp_sidebar_blue_circle2">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11" name="Text Placeholder 10">
            <a:extLst>
              <a:ext uri="{FF2B5EF4-FFF2-40B4-BE49-F238E27FC236}">
                <a16:creationId xmlns:a16="http://schemas.microsoft.com/office/drawing/2014/main" id="{C42D82BB-AEE5-0C84-EEDB-14508AB6B15D}"/>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itle 1">
            <a:extLst>
              <a:ext uri="{FF2B5EF4-FFF2-40B4-BE49-F238E27FC236}">
                <a16:creationId xmlns:a16="http://schemas.microsoft.com/office/drawing/2014/main" id="{D614A774-566F-5341-4A99-50831875B7D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cxnSp>
        <p:nvCxnSpPr>
          <p:cNvPr id="12" name="Straight Connector 11">
            <a:extLst>
              <a:ext uri="{FF2B5EF4-FFF2-40B4-BE49-F238E27FC236}">
                <a16:creationId xmlns:a16="http://schemas.microsoft.com/office/drawing/2014/main" id="{763BA60D-9446-8031-B981-76B69B36F853}"/>
              </a:ext>
            </a:extLst>
          </p:cNvPr>
          <p:cNvCxnSpPr>
            <a:cxnSpLocks/>
          </p:cNvCxnSpPr>
          <p:nvPr userDrawn="1"/>
        </p:nvCxnSpPr>
        <p:spPr>
          <a:xfrm>
            <a:off x="278932" y="718606"/>
            <a:ext cx="554312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 Placeholder 6">
            <a:extLst>
              <a:ext uri="{FF2B5EF4-FFF2-40B4-BE49-F238E27FC236}">
                <a16:creationId xmlns:a16="http://schemas.microsoft.com/office/drawing/2014/main" id="{998E4BD5-0C50-59F6-AE72-8C460C3264D2}"/>
              </a:ext>
            </a:extLst>
          </p:cNvPr>
          <p:cNvSpPr>
            <a:spLocks noGrp="1" noChangeAspect="1"/>
          </p:cNvSpPr>
          <p:nvPr>
            <p:ph type="body" sz="quarter" idx="16" hasCustomPrompt="1"/>
          </p:nvPr>
        </p:nvSpPr>
        <p:spPr>
          <a:xfrm>
            <a:off x="278932" y="860890"/>
            <a:ext cx="5537252"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28164400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yp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userDrawn="1"/>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DABE00AD-2EE9-1452-B1A3-E3B845DBE22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7A80AA57-1BB9-939D-8974-EA7F39153D55}"/>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sp>
        <p:nvSpPr>
          <p:cNvPr id="2" name="Title 1">
            <a:extLst>
              <a:ext uri="{FF2B5EF4-FFF2-40B4-BE49-F238E27FC236}">
                <a16:creationId xmlns:a16="http://schemas.microsoft.com/office/drawing/2014/main" id="{8C17598F-0148-ED21-BF54-6C32AFA378B9}"/>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cxnSp>
        <p:nvCxnSpPr>
          <p:cNvPr id="7" name="Straight Connector 6">
            <a:extLst>
              <a:ext uri="{FF2B5EF4-FFF2-40B4-BE49-F238E27FC236}">
                <a16:creationId xmlns:a16="http://schemas.microsoft.com/office/drawing/2014/main" id="{1D6C04FE-F76C-2B98-066A-F6D2AA2791F0}"/>
              </a:ext>
            </a:extLst>
          </p:cNvPr>
          <p:cNvCxnSpPr>
            <a:cxnSpLocks/>
          </p:cNvCxnSpPr>
          <p:nvPr userDrawn="1"/>
        </p:nvCxnSpPr>
        <p:spPr>
          <a:xfrm>
            <a:off x="278932" y="718606"/>
            <a:ext cx="554312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FD12D00-26FA-4262-C4F3-C04FA851070D}"/>
              </a:ext>
            </a:extLst>
          </p:cNvPr>
          <p:cNvCxnSpPr>
            <a:cxnSpLocks/>
          </p:cNvCxnSpPr>
          <p:nvPr userDrawn="1"/>
        </p:nvCxnSpPr>
        <p:spPr>
          <a:xfrm>
            <a:off x="6329776" y="718606"/>
            <a:ext cx="554312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E2D57953-69D7-3B5F-CE5E-72AEADE503B7}"/>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4pt</a:t>
            </a:r>
          </a:p>
        </p:txBody>
      </p:sp>
      <p:sp>
        <p:nvSpPr>
          <p:cNvPr id="8" name="Text Placeholder 6">
            <a:extLst>
              <a:ext uri="{FF2B5EF4-FFF2-40B4-BE49-F238E27FC236}">
                <a16:creationId xmlns:a16="http://schemas.microsoft.com/office/drawing/2014/main" id="{EB679191-78BC-7261-F721-5C4067938027}"/>
              </a:ext>
            </a:extLst>
          </p:cNvPr>
          <p:cNvSpPr>
            <a:spLocks noGrp="1" noChangeAspect="1"/>
          </p:cNvSpPr>
          <p:nvPr>
            <p:ph type="body" sz="quarter" idx="16" hasCustomPrompt="1"/>
          </p:nvPr>
        </p:nvSpPr>
        <p:spPr>
          <a:xfrm>
            <a:off x="278932" y="860890"/>
            <a:ext cx="5537252"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
        <p:nvSpPr>
          <p:cNvPr id="9" name="Text Placeholder 6">
            <a:extLst>
              <a:ext uri="{FF2B5EF4-FFF2-40B4-BE49-F238E27FC236}">
                <a16:creationId xmlns:a16="http://schemas.microsoft.com/office/drawing/2014/main" id="{528AF2DC-7B6B-57A3-5C2C-82CB197970D9}"/>
              </a:ext>
            </a:extLst>
          </p:cNvPr>
          <p:cNvSpPr>
            <a:spLocks noGrp="1" noChangeAspect="1"/>
          </p:cNvSpPr>
          <p:nvPr>
            <p:ph type="body" sz="quarter" idx="17" hasCustomPrompt="1"/>
          </p:nvPr>
        </p:nvSpPr>
        <p:spPr>
          <a:xfrm>
            <a:off x="6332714" y="860890"/>
            <a:ext cx="5537252"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162136487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yp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userDrawn="1"/>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0065A935-0133-1472-46FC-7F9DFFDB054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13B39F9E-29C7-4F5B-9B1A-FE81CF8DB4C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sp>
        <p:nvSpPr>
          <p:cNvPr id="23" name="Title 1">
            <a:extLst>
              <a:ext uri="{FF2B5EF4-FFF2-40B4-BE49-F238E27FC236}">
                <a16:creationId xmlns:a16="http://schemas.microsoft.com/office/drawing/2014/main" id="{E057E11A-E34D-941D-DF21-BE0590947E19}"/>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cxnSp>
        <p:nvCxnSpPr>
          <p:cNvPr id="25" name="Straight Connector 24">
            <a:extLst>
              <a:ext uri="{FF2B5EF4-FFF2-40B4-BE49-F238E27FC236}">
                <a16:creationId xmlns:a16="http://schemas.microsoft.com/office/drawing/2014/main" id="{8F01343E-F55F-6211-AA10-F9EAED084150}"/>
              </a:ext>
            </a:extLst>
          </p:cNvPr>
          <p:cNvCxnSpPr>
            <a:cxnSpLocks/>
          </p:cNvCxnSpPr>
          <p:nvPr userDrawn="1"/>
        </p:nvCxnSpPr>
        <p:spPr>
          <a:xfrm>
            <a:off x="278932" y="718606"/>
            <a:ext cx="554312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041DD6D-3438-93A3-A777-68EA07FB1D42}"/>
              </a:ext>
            </a:extLst>
          </p:cNvPr>
          <p:cNvCxnSpPr>
            <a:cxnSpLocks/>
          </p:cNvCxnSpPr>
          <p:nvPr userDrawn="1"/>
        </p:nvCxnSpPr>
        <p:spPr>
          <a:xfrm>
            <a:off x="6329776" y="718606"/>
            <a:ext cx="554312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A7949EE8-83D1-17BE-32E2-4AFE47DD5BD4}"/>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4pt</a:t>
            </a:r>
          </a:p>
        </p:txBody>
      </p:sp>
      <p:sp>
        <p:nvSpPr>
          <p:cNvPr id="2" name="Text Placeholder 6">
            <a:extLst>
              <a:ext uri="{FF2B5EF4-FFF2-40B4-BE49-F238E27FC236}">
                <a16:creationId xmlns:a16="http://schemas.microsoft.com/office/drawing/2014/main" id="{8C99E11B-C159-D17D-C268-1DC72F9A6636}"/>
              </a:ext>
            </a:extLst>
          </p:cNvPr>
          <p:cNvSpPr>
            <a:spLocks noGrp="1" noChangeAspect="1"/>
          </p:cNvSpPr>
          <p:nvPr>
            <p:ph type="body" sz="quarter" idx="16" hasCustomPrompt="1"/>
          </p:nvPr>
        </p:nvSpPr>
        <p:spPr>
          <a:xfrm>
            <a:off x="278932" y="860890"/>
            <a:ext cx="5537252"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
        <p:nvSpPr>
          <p:cNvPr id="5" name="Text Placeholder 6">
            <a:extLst>
              <a:ext uri="{FF2B5EF4-FFF2-40B4-BE49-F238E27FC236}">
                <a16:creationId xmlns:a16="http://schemas.microsoft.com/office/drawing/2014/main" id="{F6916D51-7B4D-64A7-C83B-BEB632A7D1FB}"/>
              </a:ext>
            </a:extLst>
          </p:cNvPr>
          <p:cNvSpPr>
            <a:spLocks noGrp="1" noChangeAspect="1"/>
          </p:cNvSpPr>
          <p:nvPr>
            <p:ph type="body" sz="quarter" idx="17" hasCustomPrompt="1"/>
          </p:nvPr>
        </p:nvSpPr>
        <p:spPr>
          <a:xfrm>
            <a:off x="6332714" y="860890"/>
            <a:ext cx="5537252" cy="677108"/>
          </a:xfrm>
          <a:solidFill>
            <a:schemeClr val="bg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35954075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yp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pic>
        <p:nvPicPr>
          <p:cNvPr id="21" name="Picture 20">
            <a:extLst>
              <a:ext uri="{FF2B5EF4-FFF2-40B4-BE49-F238E27FC236}">
                <a16:creationId xmlns:a16="http://schemas.microsoft.com/office/drawing/2014/main" id="{D92D051E-34B3-19E8-0675-B2DB0775B20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917881B4-E3B9-7482-317F-7A70E837571B}"/>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sp>
        <p:nvSpPr>
          <p:cNvPr id="2" name="Title 1">
            <a:extLst>
              <a:ext uri="{FF2B5EF4-FFF2-40B4-BE49-F238E27FC236}">
                <a16:creationId xmlns:a16="http://schemas.microsoft.com/office/drawing/2014/main" id="{37BBC8E0-99A7-20D7-198E-8C4C5429454D}"/>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cxnSp>
        <p:nvCxnSpPr>
          <p:cNvPr id="7" name="Straight Connector 6">
            <a:extLst>
              <a:ext uri="{FF2B5EF4-FFF2-40B4-BE49-F238E27FC236}">
                <a16:creationId xmlns:a16="http://schemas.microsoft.com/office/drawing/2014/main" id="{10366EE5-2C84-CBCF-1F7D-90ED78E5262C}"/>
              </a:ext>
            </a:extLst>
          </p:cNvPr>
          <p:cNvCxnSpPr>
            <a:cxnSpLocks/>
          </p:cNvCxnSpPr>
          <p:nvPr userDrawn="1"/>
        </p:nvCxnSpPr>
        <p:spPr>
          <a:xfrm>
            <a:off x="278932" y="718606"/>
            <a:ext cx="554312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9066B2B-EA3F-EAF6-AFF1-68682E47E581}"/>
              </a:ext>
            </a:extLst>
          </p:cNvPr>
          <p:cNvCxnSpPr>
            <a:cxnSpLocks/>
          </p:cNvCxnSpPr>
          <p:nvPr userDrawn="1"/>
        </p:nvCxnSpPr>
        <p:spPr>
          <a:xfrm>
            <a:off x="6329776" y="718606"/>
            <a:ext cx="554312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16">
            <a:extLst>
              <a:ext uri="{FF2B5EF4-FFF2-40B4-BE49-F238E27FC236}">
                <a16:creationId xmlns:a16="http://schemas.microsoft.com/office/drawing/2014/main" id="{B611845A-2C49-8A19-66CD-D9E9ACA2E007}"/>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4pt</a:t>
            </a:r>
          </a:p>
        </p:txBody>
      </p:sp>
      <p:sp>
        <p:nvSpPr>
          <p:cNvPr id="15" name="Text Placeholder 6">
            <a:extLst>
              <a:ext uri="{FF2B5EF4-FFF2-40B4-BE49-F238E27FC236}">
                <a16:creationId xmlns:a16="http://schemas.microsoft.com/office/drawing/2014/main" id="{06F40655-E3AF-340C-6CA8-DA6492402FD0}"/>
              </a:ext>
            </a:extLst>
          </p:cNvPr>
          <p:cNvSpPr>
            <a:spLocks noGrp="1" noChangeAspect="1"/>
          </p:cNvSpPr>
          <p:nvPr>
            <p:ph type="body" sz="quarter" idx="16" hasCustomPrompt="1"/>
          </p:nvPr>
        </p:nvSpPr>
        <p:spPr>
          <a:xfrm>
            <a:off x="278932" y="860890"/>
            <a:ext cx="5537252"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
        <p:nvSpPr>
          <p:cNvPr id="16" name="Text Placeholder 6">
            <a:extLst>
              <a:ext uri="{FF2B5EF4-FFF2-40B4-BE49-F238E27FC236}">
                <a16:creationId xmlns:a16="http://schemas.microsoft.com/office/drawing/2014/main" id="{E943460E-FA8B-6748-9708-860B37DC1D50}"/>
              </a:ext>
            </a:extLst>
          </p:cNvPr>
          <p:cNvSpPr>
            <a:spLocks noGrp="1" noChangeAspect="1"/>
          </p:cNvSpPr>
          <p:nvPr>
            <p:ph type="body" sz="quarter" idx="17" hasCustomPrompt="1"/>
          </p:nvPr>
        </p:nvSpPr>
        <p:spPr>
          <a:xfrm>
            <a:off x="6332714" y="860890"/>
            <a:ext cx="5537252"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18294300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yp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2" name="Text Placeholder 10">
            <a:extLst>
              <a:ext uri="{FF2B5EF4-FFF2-40B4-BE49-F238E27FC236}">
                <a16:creationId xmlns:a16="http://schemas.microsoft.com/office/drawing/2014/main" id="{5F90632C-301E-32EA-91E1-96C5D6220E7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Tree>
    <p:extLst>
      <p:ext uri="{BB962C8B-B14F-4D97-AF65-F5344CB8AC3E}">
        <p14:creationId xmlns:p14="http://schemas.microsoft.com/office/powerpoint/2010/main" val="132699015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3yp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3600">
                <a:solidFill>
                  <a:schemeClr val="tx1"/>
                </a:solidFill>
              </a:defRPr>
            </a:lvl1pPr>
          </a:lstStyle>
          <a:p>
            <a:r>
              <a:rPr lang="en-US"/>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Contact information</a:t>
            </a:r>
          </a:p>
        </p:txBody>
      </p:sp>
      <p:sp>
        <p:nvSpPr>
          <p:cNvPr id="6" name="TextBox 5">
            <a:extLst>
              <a:ext uri="{FF2B5EF4-FFF2-40B4-BE49-F238E27FC236}">
                <a16:creationId xmlns:a16="http://schemas.microsoft.com/office/drawing/2014/main" id="{CB3923C6-70F5-38D5-0F2A-AFB1BB6D8A0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41315413"/>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cover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bg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userDrawn="1"/>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8" name="Text Placeholder 17">
            <a:extLst>
              <a:ext uri="{FF2B5EF4-FFF2-40B4-BE49-F238E27FC236}">
                <a16:creationId xmlns:a16="http://schemas.microsoft.com/office/drawing/2014/main" id="{4D8E56BE-097F-EB4E-3287-BD1DCBFF4884}"/>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19" name="Text Placeholder 17">
            <a:extLst>
              <a:ext uri="{FF2B5EF4-FFF2-40B4-BE49-F238E27FC236}">
                <a16:creationId xmlns:a16="http://schemas.microsoft.com/office/drawing/2014/main" id="{6942A971-1821-DF95-6B7B-A7991E06FA8B}"/>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6" name="Text Placeholder 17">
            <a:extLst>
              <a:ext uri="{FF2B5EF4-FFF2-40B4-BE49-F238E27FC236}">
                <a16:creationId xmlns:a16="http://schemas.microsoft.com/office/drawing/2014/main" id="{DEC3D6C2-3D92-FDB9-8FF6-0B85288173C0}"/>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
        <p:nvSpPr>
          <p:cNvPr id="15" name="TextBox 14">
            <a:extLst>
              <a:ext uri="{FF2B5EF4-FFF2-40B4-BE49-F238E27FC236}">
                <a16:creationId xmlns:a16="http://schemas.microsoft.com/office/drawing/2014/main" id="{D439B148-E719-27C3-3403-978BEDC13EC0}"/>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43552979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Illustration">
    <p:spTree>
      <p:nvGrpSpPr>
        <p:cNvPr id="1" name=""/>
        <p:cNvGrpSpPr/>
        <p:nvPr/>
      </p:nvGrpSpPr>
      <p:grpSpPr>
        <a:xfrm>
          <a:off x="0" y="0"/>
          <a:ext cx="0" cy="0"/>
          <a:chOff x="0" y="0"/>
          <a:chExt cx="0" cy="0"/>
        </a:xfrm>
      </p:grpSpPr>
      <p:pic>
        <p:nvPicPr>
          <p:cNvPr id="12" name="Illustration Background">
            <a:extLst>
              <a:ext uri="{FF2B5EF4-FFF2-40B4-BE49-F238E27FC236}">
                <a16:creationId xmlns:a16="http://schemas.microsoft.com/office/drawing/2014/main" id="{DB788935-E7B2-2CAC-0048-B92417139B6F}"/>
              </a:ext>
            </a:extLst>
          </p:cNvPr>
          <p:cNvPicPr>
            <a:picLocks noGrp="1" noRot="1" noChangeAspect="1" noMove="1" noResize="1" noEditPoints="1" noAdjustHandles="1" noChangeArrowheads="1" noChangeShapeType="1" noCrop="1"/>
          </p:cNvPicPr>
          <p:nvPr userDrawn="1"/>
        </p:nvPicPr>
        <p:blipFill>
          <a:blip r:embed="rId2" cstate="email">
            <a:extLst>
              <a:ext uri="{28A0092B-C50C-407E-A947-70E740481C1C}">
                <a14:useLocalDpi xmlns:a14="http://schemas.microsoft.com/office/drawing/2010/main"/>
              </a:ext>
            </a:extLst>
          </a:blip>
          <a:srcRect/>
          <a:stretch/>
        </p:blipFill>
        <p:spPr>
          <a:xfrm>
            <a:off x="2467" y="0"/>
            <a:ext cx="12187065" cy="6858000"/>
          </a:xfrm>
          <a:prstGeom prst="rect">
            <a:avLst/>
          </a:prstGeom>
        </p:spPr>
      </p:pic>
      <p:sp>
        <p:nvSpPr>
          <p:cNvPr id="5" name="Confidential disclaimer">
            <a:extLst>
              <a:ext uri="{FF2B5EF4-FFF2-40B4-BE49-F238E27FC236}">
                <a16:creationId xmlns:a16="http://schemas.microsoft.com/office/drawing/2014/main" id="{CD47C08F-F59E-5783-DCC8-C91095C566CB}"/>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7" name="Copyright Line">
            <a:extLst>
              <a:ext uri="{FF2B5EF4-FFF2-40B4-BE49-F238E27FC236}">
                <a16:creationId xmlns:a16="http://schemas.microsoft.com/office/drawing/2014/main" id="{94679E81-620B-431C-44E4-1FAE9486A5EA}"/>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4" name="Footer Placeholder">
            <a:extLst>
              <a:ext uri="{FF2B5EF4-FFF2-40B4-BE49-F238E27FC236}">
                <a16:creationId xmlns:a16="http://schemas.microsoft.com/office/drawing/2014/main" id="{4D4D5DC7-A70B-2666-E654-41F700D18D02}"/>
              </a:ext>
            </a:extLst>
          </p:cNvPr>
          <p:cNvSpPr>
            <a:spLocks noGrp="1" noRot="1" noMove="1" noResize="1" noEditPoints="1" noAdjustHandles="1" noChangeArrowheads="1" noChangeShapeType="1"/>
          </p:cNvSpPr>
          <p:nvPr>
            <p:ph type="ftr" sz="quarter" idx="13"/>
          </p:nvPr>
        </p:nvSpPr>
        <p:spPr>
          <a:xfrm>
            <a:off x="3251200" y="6485399"/>
            <a:ext cx="3716336" cy="282957"/>
          </a:xfrm>
          <a:noFill/>
        </p:spPr>
        <p:txBody>
          <a:bodyPr/>
          <a:lstStyle>
            <a:lvl1pPr algn="l">
              <a:defRPr>
                <a:solidFill>
                  <a:srgbClr val="FFFFFF"/>
                </a:solidFill>
              </a:defRPr>
            </a:lvl1pPr>
          </a:lstStyle>
          <a:p>
            <a:endParaRPr lang="en-GB"/>
          </a:p>
        </p:txBody>
      </p:sp>
      <p:sp>
        <p:nvSpPr>
          <p:cNvPr id="27" name="Date Placeholder">
            <a:extLst>
              <a:ext uri="{FF2B5EF4-FFF2-40B4-BE49-F238E27FC236}">
                <a16:creationId xmlns:a16="http://schemas.microsoft.com/office/drawing/2014/main" id="{959D1E47-A59F-7F2A-1103-CE2E01F9C34F}"/>
              </a:ext>
            </a:extLst>
          </p:cNvPr>
          <p:cNvSpPr>
            <a:spLocks noGrp="1" noRot="1" noMove="1" noResize="1" noEditPoints="1" noAdjustHandles="1" noChangeArrowheads="1" noChangeShapeType="1"/>
          </p:cNvSpPr>
          <p:nvPr>
            <p:ph type="dt" sz="half" idx="14"/>
          </p:nvPr>
        </p:nvSpPr>
        <p:spPr>
          <a:xfrm>
            <a:off x="292100" y="5036705"/>
            <a:ext cx="1744664" cy="282957"/>
          </a:xfrm>
        </p:spPr>
        <p:txBody>
          <a:bodyPr/>
          <a:lstStyle>
            <a:lvl1pPr>
              <a:defRPr sz="1200">
                <a:solidFill>
                  <a:srgbClr val="FFFFFF"/>
                </a:solidFill>
              </a:defRPr>
            </a:lvl1pPr>
          </a:lstStyle>
          <a:p>
            <a:fld id="{C75F7465-666F-4675-891F-E92434DCB819}" type="datetime1">
              <a:rPr lang="en-GB" smtClean="0"/>
              <a:t>18/11/2024</a:t>
            </a:fld>
            <a:endParaRPr lang="en-GB"/>
          </a:p>
        </p:txBody>
      </p:sp>
      <p:sp>
        <p:nvSpPr>
          <p:cNvPr id="3" name="Title/Dept Placeholder">
            <a:extLst>
              <a:ext uri="{FF2B5EF4-FFF2-40B4-BE49-F238E27FC236}">
                <a16:creationId xmlns:a16="http://schemas.microsoft.com/office/drawing/2014/main" id="{DADB3285-032F-C5EA-E4E6-C62E075FF1F0}"/>
              </a:ext>
            </a:extLst>
          </p:cNvPr>
          <p:cNvSpPr>
            <a:spLocks noGrp="1" noRot="1" noMove="1" noResize="1" noEditPoints="1" noAdjustHandles="1" noChangeArrowheads="1" noChangeShapeType="1"/>
          </p:cNvSpPr>
          <p:nvPr>
            <p:ph type="body" sz="quarter" idx="11" hasCustomPrompt="1"/>
          </p:nvPr>
        </p:nvSpPr>
        <p:spPr>
          <a:xfrm>
            <a:off x="288558" y="4560602"/>
            <a:ext cx="8642082" cy="344385"/>
          </a:xfrm>
        </p:spPr>
        <p:txBody>
          <a:bodyPr tIns="0" bIns="0">
            <a:noAutofit/>
          </a:bodyPr>
          <a:lstStyle>
            <a:lvl1pPr marL="0" indent="0">
              <a:lnSpc>
                <a:spcPct val="100000"/>
              </a:lnSpc>
              <a:spcBef>
                <a:spcPts val="0"/>
              </a:spcBef>
              <a:spcAft>
                <a:spcPts val="0"/>
              </a:spcAft>
              <a:buNone/>
              <a:defRPr sz="1200" b="0">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2" name="Presenter Name Placeholder">
            <a:extLst>
              <a:ext uri="{FF2B5EF4-FFF2-40B4-BE49-F238E27FC236}">
                <a16:creationId xmlns:a16="http://schemas.microsoft.com/office/drawing/2014/main" id="{3417592A-6067-984F-549E-3833CDB76A54}"/>
              </a:ext>
            </a:extLst>
          </p:cNvPr>
          <p:cNvSpPr>
            <a:spLocks noGrp="1" noRot="1" noMove="1" noResize="1" noEditPoints="1" noAdjustHandles="1" noChangeArrowheads="1" noChangeShapeType="1"/>
          </p:cNvSpPr>
          <p:nvPr>
            <p:ph type="body" sz="quarter" idx="10" hasCustomPrompt="1"/>
          </p:nvPr>
        </p:nvSpPr>
        <p:spPr>
          <a:xfrm>
            <a:off x="288558" y="4192468"/>
            <a:ext cx="8642082" cy="344384"/>
          </a:xfrm>
        </p:spPr>
        <p:txBody>
          <a:bodyPr tIns="0" bIns="0" anchor="b" anchorCtr="0">
            <a:noAutofit/>
          </a:bodyPr>
          <a:lstStyle>
            <a:lvl1pPr marL="0" indent="0">
              <a:lnSpc>
                <a:spcPct val="100000"/>
              </a:lnSpc>
              <a:spcBef>
                <a:spcPts val="0"/>
              </a:spcBef>
              <a:spcAft>
                <a:spcPts val="0"/>
              </a:spcAft>
              <a:buNone/>
              <a:defRPr sz="1200" b="1">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17" name="Subtitle Placeholder">
            <a:extLst>
              <a:ext uri="{FF2B5EF4-FFF2-40B4-BE49-F238E27FC236}">
                <a16:creationId xmlns:a16="http://schemas.microsoft.com/office/drawing/2014/main" id="{A4501D72-EE3C-0DA6-BA4B-C1D78BA85AE8}"/>
              </a:ext>
            </a:extLst>
          </p:cNvPr>
          <p:cNvSpPr>
            <a:spLocks noGrp="1" noRot="1" noMove="1" noResize="1" noEditPoints="1" noAdjustHandles="1" noChangeArrowheads="1" noChangeShapeType="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Title Placeholder">
            <a:extLst>
              <a:ext uri="{FF2B5EF4-FFF2-40B4-BE49-F238E27FC236}">
                <a16:creationId xmlns:a16="http://schemas.microsoft.com/office/drawing/2014/main" id="{7987C027-455E-4C45-138D-8334F13BBEEA}"/>
              </a:ext>
            </a:extLst>
          </p:cNvPr>
          <p:cNvSpPr>
            <a:spLocks noGrp="1" noRot="1" noMove="1" noResize="1" noEditPoints="1" noAdjustHandles="1" noChangeArrowheads="1" noChangeShapeType="1"/>
          </p:cNvSpPr>
          <p:nvPr>
            <p:ph type="ctrTitle" hasCustomPrompt="1"/>
          </p:nvPr>
        </p:nvSpPr>
        <p:spPr>
          <a:xfrm>
            <a:off x="288558" y="635035"/>
            <a:ext cx="8642082" cy="2387600"/>
          </a:xfrm>
          <a:prstGeom prst="rect">
            <a:avLst/>
          </a:prstGeom>
        </p:spPr>
        <p:txBody>
          <a:bodyPr anchor="b">
            <a:noAutofit/>
          </a:bodyPr>
          <a:lstStyle>
            <a:lvl1pPr algn="l">
              <a:defRPr sz="5400">
                <a:solidFill>
                  <a:srgbClr val="FFFFFF"/>
                </a:solidFill>
              </a:defRPr>
            </a:lvl1pPr>
          </a:lstStyle>
          <a:p>
            <a:r>
              <a:rPr lang="en-US"/>
              <a:t>Insert your presentation title here maximum of three lines</a:t>
            </a:r>
          </a:p>
        </p:txBody>
      </p:sp>
      <p:pic>
        <p:nvPicPr>
          <p:cNvPr id="6" name="NielsenIQ GFK lockup" hidden="1">
            <a:extLst>
              <a:ext uri="{FF2B5EF4-FFF2-40B4-BE49-F238E27FC236}">
                <a16:creationId xmlns:a16="http://schemas.microsoft.com/office/drawing/2014/main" id="{1527D24A-5EB5-2412-09AA-2A0D682A2D88}"/>
              </a:ext>
            </a:extLst>
          </p:cNvPr>
          <p:cNvPicPr>
            <a:picLocks noGrp="1" noRot="1" noMove="1" noResize="1" noEditPoints="1" noAdjustHandles="1" noChangeArrowheads="1" noChangeShapeType="1" noCrop="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286122" y="5539740"/>
            <a:ext cx="3377876" cy="753596"/>
          </a:xfrm>
          <a:prstGeom prst="rect">
            <a:avLst/>
          </a:prstGeom>
        </p:spPr>
      </p:pic>
      <p:pic>
        <p:nvPicPr>
          <p:cNvPr id="18" name="NielsenIQ logo+wordmark" hidden="1">
            <a:extLst>
              <a:ext uri="{FF2B5EF4-FFF2-40B4-BE49-F238E27FC236}">
                <a16:creationId xmlns:a16="http://schemas.microsoft.com/office/drawing/2014/main" id="{041ECC27-E626-2866-047D-40D91692A395}"/>
              </a:ext>
            </a:extLst>
          </p:cNvPr>
          <p:cNvPicPr>
            <a:picLocks noGrp="1" noRo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val="0"/>
              </a:ext>
            </a:extLst>
          </a:blip>
          <a:srcRect/>
          <a:stretch/>
        </p:blipFill>
        <p:spPr>
          <a:xfrm>
            <a:off x="288559" y="5563212"/>
            <a:ext cx="2155408" cy="743616"/>
          </a:xfrm>
          <a:prstGeom prst="rect">
            <a:avLst/>
          </a:prstGeom>
        </p:spPr>
      </p:pic>
      <p:sp>
        <p:nvSpPr>
          <p:cNvPr id="8" name="Nielsen wordmark">
            <a:extLst>
              <a:ext uri="{FF2B5EF4-FFF2-40B4-BE49-F238E27FC236}">
                <a16:creationId xmlns:a16="http://schemas.microsoft.com/office/drawing/2014/main" id="{4BFD1796-2F8B-4ED9-936A-10DB34E78CAC}"/>
              </a:ext>
            </a:extLst>
          </p:cNvPr>
          <p:cNvSpPr>
            <a:spLocks noGrp="1" noRot="1" noMove="1" noResize="1" noEditPoints="1" noAdjustHandles="1" noChangeArrowheads="1" noChangeShapeType="1"/>
          </p:cNvSpPr>
          <p:nvPr userDrawn="1"/>
        </p:nvSpPr>
        <p:spPr>
          <a:xfrm>
            <a:off x="295274" y="5686380"/>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bg1"/>
          </a:solidFill>
          <a:ln w="774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76665000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88468253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42286068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22365243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309931756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Tree>
    <p:extLst>
      <p:ext uri="{BB962C8B-B14F-4D97-AF65-F5344CB8AC3E}">
        <p14:creationId xmlns:p14="http://schemas.microsoft.com/office/powerpoint/2010/main" val="209394936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Tree>
    <p:extLst>
      <p:ext uri="{BB962C8B-B14F-4D97-AF65-F5344CB8AC3E}">
        <p14:creationId xmlns:p14="http://schemas.microsoft.com/office/powerpoint/2010/main" val="241292707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351282066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9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D738652-F2B9-77EE-9932-7A515F33FA1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34784689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5149320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1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768B6213-3C0B-98FB-A39E-0937AD93C8E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3525329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Full-Bleed Photo">
    <p:spTree>
      <p:nvGrpSpPr>
        <p:cNvPr id="1" name=""/>
        <p:cNvGrpSpPr/>
        <p:nvPr/>
      </p:nvGrpSpPr>
      <p:grpSpPr>
        <a:xfrm>
          <a:off x="0" y="0"/>
          <a:ext cx="0" cy="0"/>
          <a:chOff x="0" y="0"/>
          <a:chExt cx="0" cy="0"/>
        </a:xfrm>
      </p:grpSpPr>
      <p:sp>
        <p:nvSpPr>
          <p:cNvPr id="37" name="Off-slide Instructions">
            <a:extLst>
              <a:ext uri="{FF2B5EF4-FFF2-40B4-BE49-F238E27FC236}">
                <a16:creationId xmlns:a16="http://schemas.microsoft.com/office/drawing/2014/main" id="{271856CE-9F0A-4AD8-67ED-834B35F367B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12338614" y="0"/>
            <a:ext cx="2812486" cy="2373888"/>
          </a:xfrm>
          <a:prstGeom prst="bracketPair">
            <a:avLst>
              <a:gd name="adj" fmla="val 4083"/>
            </a:avLst>
          </a:prstGeom>
          <a:solidFill>
            <a:srgbClr val="FFFF00">
              <a:alpha val="80000"/>
            </a:srgbClr>
          </a:solidFill>
          <a:ln w="38100">
            <a:solidFill>
              <a:srgbClr val="FFC000"/>
            </a:solidFill>
          </a:ln>
        </p:spPr>
        <p:style>
          <a:lnRef idx="1">
            <a:schemeClr val="accent1"/>
          </a:lnRef>
          <a:fillRef idx="0">
            <a:schemeClr val="accent1"/>
          </a:fillRef>
          <a:effectRef idx="0">
            <a:schemeClr val="accent1"/>
          </a:effectRef>
          <a:fontRef idx="minor">
            <a:schemeClr val="tx1"/>
          </a:fontRef>
        </p:style>
        <p:txBody>
          <a:bodyPr wrap="square" rtlCol="0" anchor="ctr">
            <a:spAutoFit/>
          </a:bodyPr>
          <a:lstStyle/>
          <a:p>
            <a:pPr marL="0" indent="0" algn="l" defTabSz="914400" rtl="0" eaLnBrk="1" latinLnBrk="0" hangingPunct="1">
              <a:spcAft>
                <a:spcPts val="400"/>
              </a:spcAft>
              <a:buFont typeface="+mj-lt"/>
              <a:buNone/>
            </a:pPr>
            <a:r>
              <a:rPr lang="en-US" sz="1200" b="1" kern="1200">
                <a:solidFill>
                  <a:srgbClr val="000000"/>
                </a:solidFill>
                <a:latin typeface="+mn-lt"/>
                <a:ea typeface="+mn-ea"/>
                <a:cs typeface="+mn-cs"/>
              </a:rPr>
              <a:t>If logo, copyright line, footer, etc. are missing:</a:t>
            </a:r>
          </a:p>
          <a:p>
            <a:pPr marL="177800" lvl="0" indent="-177800">
              <a:spcAft>
                <a:spcPts val="400"/>
              </a:spcAft>
              <a:buFont typeface="+mj-lt"/>
              <a:buAutoNum type="arabicPeriod"/>
            </a:pPr>
            <a:r>
              <a:rPr lang="en-US" sz="800">
                <a:solidFill>
                  <a:srgbClr val="000000"/>
                </a:solidFill>
              </a:rPr>
              <a:t>Go to </a:t>
            </a:r>
            <a:r>
              <a:rPr lang="en-US" sz="800" b="1">
                <a:solidFill>
                  <a:srgbClr val="000000"/>
                </a:solidFill>
              </a:rPr>
              <a:t>View &gt; Slide Master</a:t>
            </a:r>
          </a:p>
          <a:p>
            <a:pPr marL="177800" lvl="0" indent="-177800">
              <a:spcAft>
                <a:spcPts val="400"/>
              </a:spcAft>
              <a:buFont typeface="+mj-lt"/>
              <a:buAutoNum type="arabicPeriod"/>
            </a:pPr>
            <a:r>
              <a:rPr lang="en-US" sz="800">
                <a:solidFill>
                  <a:srgbClr val="000000"/>
                </a:solidFill>
              </a:rPr>
              <a:t>Copy logo and footer elements from Layout Master</a:t>
            </a:r>
          </a:p>
          <a:p>
            <a:pPr marL="177800" lvl="0" indent="-177800">
              <a:spcAft>
                <a:spcPts val="400"/>
              </a:spcAft>
              <a:buFont typeface="+mj-lt"/>
              <a:buAutoNum type="arabicPeriod"/>
            </a:pPr>
            <a:r>
              <a:rPr lang="en-US" sz="800">
                <a:solidFill>
                  <a:srgbClr val="000000"/>
                </a:solidFill>
              </a:rPr>
              <a:t>Close Master View</a:t>
            </a:r>
          </a:p>
          <a:p>
            <a:pPr marL="177800" lvl="0" indent="-177800">
              <a:spcAft>
                <a:spcPts val="400"/>
              </a:spcAft>
              <a:buFont typeface="+mj-lt"/>
              <a:buAutoNum type="arabicPeriod"/>
            </a:pPr>
            <a:r>
              <a:rPr lang="en-US" sz="800">
                <a:solidFill>
                  <a:srgbClr val="000000"/>
                </a:solidFill>
              </a:rPr>
              <a:t>Paste on slide</a:t>
            </a:r>
            <a:endParaRPr lang="en-US" sz="1200" b="1">
              <a:solidFill>
                <a:srgbClr val="000000"/>
              </a:solidFill>
            </a:endParaRPr>
          </a:p>
          <a:p>
            <a:pPr>
              <a:spcAft>
                <a:spcPts val="400"/>
              </a:spcAft>
            </a:pPr>
            <a:endParaRPr lang="en-US" sz="1200" b="1">
              <a:solidFill>
                <a:srgbClr val="000000"/>
              </a:solidFill>
            </a:endParaRPr>
          </a:p>
          <a:p>
            <a:pPr>
              <a:spcAft>
                <a:spcPts val="400"/>
              </a:spcAft>
            </a:pPr>
            <a:r>
              <a:rPr lang="en-US" sz="1200" b="1">
                <a:solidFill>
                  <a:srgbClr val="000000"/>
                </a:solidFill>
              </a:rPr>
              <a:t>To replace existing image:</a:t>
            </a:r>
          </a:p>
          <a:p>
            <a:pPr marL="174625" indent="-174625">
              <a:spcAft>
                <a:spcPts val="400"/>
              </a:spcAft>
              <a:buFont typeface="+mj-lt"/>
              <a:buAutoNum type="arabicPeriod"/>
            </a:pPr>
            <a:r>
              <a:rPr lang="en-US" sz="800">
                <a:solidFill>
                  <a:srgbClr val="000000"/>
                </a:solidFill>
              </a:rPr>
              <a:t>Right-click image placeholder</a:t>
            </a:r>
          </a:p>
          <a:p>
            <a:pPr marL="174625" indent="-174625">
              <a:spcAft>
                <a:spcPts val="400"/>
              </a:spcAft>
              <a:buFont typeface="+mj-lt"/>
              <a:buAutoNum type="arabicPeriod"/>
            </a:pPr>
            <a:r>
              <a:rPr lang="en-US" sz="800">
                <a:solidFill>
                  <a:srgbClr val="000000"/>
                </a:solidFill>
              </a:rPr>
              <a:t>Select </a:t>
            </a:r>
            <a:r>
              <a:rPr lang="en-US" sz="800" b="1">
                <a:solidFill>
                  <a:srgbClr val="000000"/>
                </a:solidFill>
              </a:rPr>
              <a:t>Change Picture</a:t>
            </a:r>
          </a:p>
          <a:p>
            <a:pPr marL="174625" indent="-174625">
              <a:spcAft>
                <a:spcPts val="400"/>
              </a:spcAft>
              <a:buFont typeface="+mj-lt"/>
              <a:buAutoNum type="arabicPeriod"/>
            </a:pPr>
            <a:r>
              <a:rPr lang="en-US" sz="800">
                <a:solidFill>
                  <a:srgbClr val="000000"/>
                </a:solidFill>
              </a:rPr>
              <a:t>Select</a:t>
            </a:r>
            <a:r>
              <a:rPr lang="en-US" sz="800" b="1">
                <a:solidFill>
                  <a:srgbClr val="000000"/>
                </a:solidFill>
              </a:rPr>
              <a:t> desired </a:t>
            </a:r>
            <a:r>
              <a:rPr lang="en-US" sz="800">
                <a:solidFill>
                  <a:srgbClr val="000000"/>
                </a:solidFill>
              </a:rPr>
              <a:t>image file (.jpg, .</a:t>
            </a:r>
            <a:r>
              <a:rPr lang="en-US" sz="800" err="1">
                <a:solidFill>
                  <a:srgbClr val="000000"/>
                </a:solidFill>
              </a:rPr>
              <a:t>png</a:t>
            </a:r>
            <a:r>
              <a:rPr lang="en-US" sz="800">
                <a:solidFill>
                  <a:srgbClr val="000000"/>
                </a:solidFill>
              </a:rPr>
              <a:t>, .gif)</a:t>
            </a:r>
          </a:p>
          <a:p>
            <a:pPr marL="174625" indent="-174625">
              <a:spcAft>
                <a:spcPts val="400"/>
              </a:spcAft>
              <a:buFont typeface="+mj-lt"/>
              <a:buAutoNum type="arabicPeriod"/>
            </a:pPr>
            <a:endParaRPr lang="en-US" sz="800">
              <a:solidFill>
                <a:srgbClr val="000000"/>
              </a:solidFill>
            </a:endParaRPr>
          </a:p>
        </p:txBody>
      </p:sp>
      <p:sp>
        <p:nvSpPr>
          <p:cNvPr id="21" name="Picture Placeholder">
            <a:extLst>
              <a:ext uri="{FF2B5EF4-FFF2-40B4-BE49-F238E27FC236}">
                <a16:creationId xmlns:a16="http://schemas.microsoft.com/office/drawing/2014/main" id="{52F19A97-1265-FCED-7EE6-B54C73691BB4}"/>
              </a:ext>
            </a:extLst>
          </p:cNvPr>
          <p:cNvSpPr>
            <a:spLocks noGrp="1" noRot="1" noMove="1" noResize="1" noEditPoints="1" noAdjustHandles="1" noChangeArrowheads="1" noChangeShapeType="1"/>
          </p:cNvSpPr>
          <p:nvPr>
            <p:ph type="pic" sz="quarter" idx="16" hasCustomPrompt="1"/>
          </p:nvPr>
        </p:nvSpPr>
        <p:spPr>
          <a:xfrm>
            <a:off x="0" y="0"/>
            <a:ext cx="12192000" cy="6858000"/>
          </a:xfrm>
          <a:solidFill>
            <a:schemeClr val="tx1">
              <a:lumMod val="60000"/>
              <a:lumOff val="40000"/>
            </a:schemeClr>
          </a:solidFill>
        </p:spPr>
        <p:txBody>
          <a:bodyPr lIns="9144000" tIns="91440" rIns="0" anchor="t">
            <a:normAutofit/>
          </a:bodyPr>
          <a:lstStyle>
            <a:lvl1pPr marL="228600" indent="-228600" algn="l">
              <a:buFont typeface="Arial" panose="020B0604020202020204" pitchFamily="34" charset="0"/>
              <a:buNone/>
              <a:defRPr sz="1400" b="1">
                <a:solidFill>
                  <a:srgbClr val="FFFF00"/>
                </a:solidFill>
              </a:defRPr>
            </a:lvl1pPr>
          </a:lstStyle>
          <a:p>
            <a:r>
              <a:rPr lang="en-US"/>
              <a:t>To add image: </a:t>
            </a:r>
            <a:br>
              <a:rPr lang="en-US"/>
            </a:br>
            <a:r>
              <a:rPr lang="en-US"/>
              <a:t>1. Select image placeholder</a:t>
            </a:r>
            <a:br>
              <a:rPr lang="en-US"/>
            </a:br>
            <a:r>
              <a:rPr lang="en-US"/>
              <a:t>2. Drag/drop file or copy/paste image into slide (.jpg, .gif, .</a:t>
            </a:r>
            <a:r>
              <a:rPr lang="en-US" err="1"/>
              <a:t>png</a:t>
            </a:r>
            <a:r>
              <a:rPr lang="en-US"/>
              <a:t>)</a:t>
            </a:r>
            <a:br>
              <a:rPr lang="en-US"/>
            </a:br>
            <a:r>
              <a:rPr lang="en-US"/>
              <a:t>3. Right-click image and “Send to back”</a:t>
            </a:r>
          </a:p>
        </p:txBody>
      </p:sp>
      <p:sp>
        <p:nvSpPr>
          <p:cNvPr id="5" name="Confidential disclaimer">
            <a:extLst>
              <a:ext uri="{FF2B5EF4-FFF2-40B4-BE49-F238E27FC236}">
                <a16:creationId xmlns:a16="http://schemas.microsoft.com/office/drawing/2014/main" id="{5608DDC1-C01E-6D4A-6FBF-3A04BB3F9975}"/>
              </a:ext>
            </a:extLst>
          </p:cNvPr>
          <p:cNvSpPr txBox="1">
            <a:spLocks noGrp="1" noRot="1" noMove="1" noResize="1" noEditPoints="1" noAdjustHandles="1" noChangeArrowheads="1" noChangeShapeType="1"/>
          </p:cNvSpPr>
          <p:nvPr userDrawn="1"/>
        </p:nvSpPr>
        <p:spPr>
          <a:xfrm>
            <a:off x="10798636"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7" name="Copyright Line">
            <a:extLst>
              <a:ext uri="{FF2B5EF4-FFF2-40B4-BE49-F238E27FC236}">
                <a16:creationId xmlns:a16="http://schemas.microsoft.com/office/drawing/2014/main" id="{94679E81-620B-431C-44E4-1FAE9486A5EA}"/>
              </a:ext>
            </a:extLst>
          </p:cNvPr>
          <p:cNvSpPr txBox="1">
            <a:spLocks noGrp="1" noRot="1" noMove="1" noResize="1" noEditPoints="1" noAdjustHandles="1" noChangeArrowheads="1" noChangeShapeType="1"/>
          </p:cNvSpPr>
          <p:nvPr userDrawn="1"/>
        </p:nvSpPr>
        <p:spPr>
          <a:xfrm>
            <a:off x="288558" y="6536553"/>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rgbClr val="BBBBBB"/>
                </a:solidFill>
                <a:latin typeface="+mn-lt"/>
                <a:ea typeface="+mn-ea"/>
                <a:cs typeface="+mn-cs"/>
              </a:rPr>
              <a:t>© </a:t>
            </a:r>
            <a:fld id="{8BFAE56B-6D08-4B3F-AB76-3783A8251C9C}" type="datetimeyyyy">
              <a:rPr lang="en-US" sz="700" kern="1200" smtClean="0">
                <a:solidFill>
                  <a:srgbClr val="BBBBBB"/>
                </a:solidFill>
                <a:latin typeface="+mn-lt"/>
                <a:ea typeface="+mn-ea"/>
                <a:cs typeface="+mn-cs"/>
              </a:rPr>
              <a:pPr marL="0" marR="0" indent="0" algn="l" defTabSz="914400" rtl="0" eaLnBrk="1" fontAlgn="auto" latinLnBrk="0" hangingPunct="1">
                <a:lnSpc>
                  <a:spcPct val="100000"/>
                </a:lnSpc>
                <a:spcBef>
                  <a:spcPts val="0"/>
                </a:spcBef>
                <a:spcAft>
                  <a:spcPts val="0"/>
                </a:spcAft>
                <a:buClrTx/>
                <a:buSzTx/>
                <a:buFontTx/>
                <a:buNone/>
                <a:tabLst/>
                <a:defRPr/>
              </a:pPr>
              <a:t>2024</a:t>
            </a:fld>
            <a:r>
              <a:rPr lang="en-US" sz="700" kern="1200">
                <a:solidFill>
                  <a:srgbClr val="BBBBBB"/>
                </a:solidFill>
                <a:latin typeface="+mn-lt"/>
                <a:ea typeface="+mn-ea"/>
                <a:cs typeface="+mn-cs"/>
              </a:rPr>
              <a:t> Nielsen Consumer LLC. All Rights Reserved.</a:t>
            </a:r>
          </a:p>
        </p:txBody>
      </p:sp>
      <p:sp>
        <p:nvSpPr>
          <p:cNvPr id="4" name="Footer Placeholder">
            <a:extLst>
              <a:ext uri="{FF2B5EF4-FFF2-40B4-BE49-F238E27FC236}">
                <a16:creationId xmlns:a16="http://schemas.microsoft.com/office/drawing/2014/main" id="{EC7B7A51-3AAD-04A0-499C-1BDCF93D6A34}"/>
              </a:ext>
            </a:extLst>
          </p:cNvPr>
          <p:cNvSpPr>
            <a:spLocks noGrp="1" noRot="1" noMove="1" noResize="1" noEditPoints="1" noAdjustHandles="1" noChangeArrowheads="1" noChangeShapeType="1"/>
          </p:cNvSpPr>
          <p:nvPr>
            <p:ph type="ftr" sz="quarter" idx="13"/>
          </p:nvPr>
        </p:nvSpPr>
        <p:spPr>
          <a:xfrm>
            <a:off x="3251200" y="6485399"/>
            <a:ext cx="3716336" cy="282957"/>
          </a:xfrm>
          <a:noFill/>
        </p:spPr>
        <p:txBody>
          <a:bodyPr/>
          <a:lstStyle>
            <a:lvl1pPr algn="l">
              <a:defRPr>
                <a:solidFill>
                  <a:srgbClr val="FFFFFF"/>
                </a:solidFill>
              </a:defRPr>
            </a:lvl1pPr>
          </a:lstStyle>
          <a:p>
            <a:endParaRPr lang="en-GB"/>
          </a:p>
        </p:txBody>
      </p:sp>
      <p:sp>
        <p:nvSpPr>
          <p:cNvPr id="22" name="Date Placeholder">
            <a:extLst>
              <a:ext uri="{FF2B5EF4-FFF2-40B4-BE49-F238E27FC236}">
                <a16:creationId xmlns:a16="http://schemas.microsoft.com/office/drawing/2014/main" id="{2FF3E537-3200-2E95-28C8-4005E0D0E4DF}"/>
              </a:ext>
            </a:extLst>
          </p:cNvPr>
          <p:cNvSpPr>
            <a:spLocks noGrp="1" noRot="1" noMove="1" noResize="1" noEditPoints="1" noAdjustHandles="1" noChangeArrowheads="1" noChangeShapeType="1"/>
          </p:cNvSpPr>
          <p:nvPr>
            <p:ph type="dt" sz="half" idx="14"/>
          </p:nvPr>
        </p:nvSpPr>
        <p:spPr>
          <a:xfrm>
            <a:off x="292100" y="5036705"/>
            <a:ext cx="1744664" cy="282957"/>
          </a:xfrm>
        </p:spPr>
        <p:txBody>
          <a:bodyPr/>
          <a:lstStyle>
            <a:lvl1pPr>
              <a:defRPr sz="1200">
                <a:solidFill>
                  <a:srgbClr val="FFFFFF"/>
                </a:solidFill>
              </a:defRPr>
            </a:lvl1pPr>
          </a:lstStyle>
          <a:p>
            <a:fld id="{C75F7465-666F-4675-891F-E92434DCB819}" type="datetime1">
              <a:rPr lang="en-GB" smtClean="0"/>
              <a:t>18/11/2024</a:t>
            </a:fld>
            <a:endParaRPr lang="en-GB"/>
          </a:p>
        </p:txBody>
      </p:sp>
      <p:sp>
        <p:nvSpPr>
          <p:cNvPr id="3" name="Title/Dept Placeholder">
            <a:extLst>
              <a:ext uri="{FF2B5EF4-FFF2-40B4-BE49-F238E27FC236}">
                <a16:creationId xmlns:a16="http://schemas.microsoft.com/office/drawing/2014/main" id="{DADB3285-032F-C5EA-E4E6-C62E075FF1F0}"/>
              </a:ext>
            </a:extLst>
          </p:cNvPr>
          <p:cNvSpPr>
            <a:spLocks noGrp="1" noRot="1" noMove="1" noResize="1" noEditPoints="1" noAdjustHandles="1" noChangeArrowheads="1" noChangeShapeType="1"/>
          </p:cNvSpPr>
          <p:nvPr>
            <p:ph type="body" sz="quarter" idx="11" hasCustomPrompt="1"/>
          </p:nvPr>
        </p:nvSpPr>
        <p:spPr>
          <a:xfrm>
            <a:off x="288558" y="4560602"/>
            <a:ext cx="8642082" cy="344385"/>
          </a:xfrm>
        </p:spPr>
        <p:txBody>
          <a:bodyPr tIns="0" bIns="0">
            <a:noAutofit/>
          </a:bodyPr>
          <a:lstStyle>
            <a:lvl1pPr marL="0" indent="0">
              <a:lnSpc>
                <a:spcPct val="100000"/>
              </a:lnSpc>
              <a:spcBef>
                <a:spcPts val="0"/>
              </a:spcBef>
              <a:spcAft>
                <a:spcPts val="0"/>
              </a:spcAft>
              <a:buNone/>
              <a:defRPr sz="1200" b="0">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2" name="Presenter Name Placeholder">
            <a:extLst>
              <a:ext uri="{FF2B5EF4-FFF2-40B4-BE49-F238E27FC236}">
                <a16:creationId xmlns:a16="http://schemas.microsoft.com/office/drawing/2014/main" id="{3417592A-6067-984F-549E-3833CDB76A54}"/>
              </a:ext>
            </a:extLst>
          </p:cNvPr>
          <p:cNvSpPr>
            <a:spLocks noGrp="1" noRot="1" noMove="1" noResize="1" noEditPoints="1" noAdjustHandles="1" noChangeArrowheads="1" noChangeShapeType="1"/>
          </p:cNvSpPr>
          <p:nvPr>
            <p:ph type="body" sz="quarter" idx="10" hasCustomPrompt="1"/>
          </p:nvPr>
        </p:nvSpPr>
        <p:spPr>
          <a:xfrm>
            <a:off x="288558" y="4192468"/>
            <a:ext cx="8642082" cy="344384"/>
          </a:xfrm>
        </p:spPr>
        <p:txBody>
          <a:bodyPr tIns="0" bIns="0" anchor="b" anchorCtr="0">
            <a:noAutofit/>
          </a:bodyPr>
          <a:lstStyle>
            <a:lvl1pPr marL="0" indent="0">
              <a:lnSpc>
                <a:spcPct val="100000"/>
              </a:lnSpc>
              <a:spcBef>
                <a:spcPts val="0"/>
              </a:spcBef>
              <a:spcAft>
                <a:spcPts val="0"/>
              </a:spcAft>
              <a:buNone/>
              <a:defRPr sz="1200" b="1">
                <a:solidFill>
                  <a:srgbClr val="FFFFFF"/>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17" name="Subtitle Placeholder">
            <a:extLst>
              <a:ext uri="{FF2B5EF4-FFF2-40B4-BE49-F238E27FC236}">
                <a16:creationId xmlns:a16="http://schemas.microsoft.com/office/drawing/2014/main" id="{A4501D72-EE3C-0DA6-BA4B-C1D78BA85AE8}"/>
              </a:ext>
            </a:extLst>
          </p:cNvPr>
          <p:cNvSpPr>
            <a:spLocks noGrp="1" noRot="1" noMove="1" noResize="1" noEditPoints="1" noAdjustHandles="1" noChangeArrowheads="1" noChangeShapeType="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Title Placeholder">
            <a:extLst>
              <a:ext uri="{FF2B5EF4-FFF2-40B4-BE49-F238E27FC236}">
                <a16:creationId xmlns:a16="http://schemas.microsoft.com/office/drawing/2014/main" id="{7987C027-455E-4C45-138D-8334F13BBEEA}"/>
              </a:ext>
            </a:extLst>
          </p:cNvPr>
          <p:cNvSpPr>
            <a:spLocks noGrp="1" noRot="1" noMove="1" noResize="1" noEditPoints="1" noAdjustHandles="1" noChangeArrowheads="1" noChangeShapeType="1"/>
          </p:cNvSpPr>
          <p:nvPr>
            <p:ph type="ctrTitle" hasCustomPrompt="1"/>
          </p:nvPr>
        </p:nvSpPr>
        <p:spPr>
          <a:xfrm>
            <a:off x="288558" y="635035"/>
            <a:ext cx="8642082" cy="2387600"/>
          </a:xfrm>
          <a:prstGeom prst="rect">
            <a:avLst/>
          </a:prstGeom>
        </p:spPr>
        <p:txBody>
          <a:bodyPr anchor="b">
            <a:noAutofit/>
          </a:bodyPr>
          <a:lstStyle>
            <a:lvl1pPr algn="l">
              <a:defRPr sz="5400">
                <a:solidFill>
                  <a:srgbClr val="FFFFFF"/>
                </a:solidFill>
              </a:defRPr>
            </a:lvl1pPr>
          </a:lstStyle>
          <a:p>
            <a:r>
              <a:rPr lang="en-US"/>
              <a:t>Insert your presentation title here maximum of three lines</a:t>
            </a:r>
          </a:p>
        </p:txBody>
      </p:sp>
      <p:pic>
        <p:nvPicPr>
          <p:cNvPr id="6" name="NielsenIQ GFK lockup" hidden="1">
            <a:extLst>
              <a:ext uri="{FF2B5EF4-FFF2-40B4-BE49-F238E27FC236}">
                <a16:creationId xmlns:a16="http://schemas.microsoft.com/office/drawing/2014/main" id="{5418E13B-8AFF-E657-70EF-BADD9F33A385}"/>
              </a:ext>
            </a:extLst>
          </p:cNvPr>
          <p:cNvPicPr>
            <a:picLocks noGrp="1" noRo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86122" y="5539740"/>
            <a:ext cx="3377876" cy="753596"/>
          </a:xfrm>
          <a:prstGeom prst="rect">
            <a:avLst/>
          </a:prstGeom>
        </p:spPr>
      </p:pic>
      <p:pic>
        <p:nvPicPr>
          <p:cNvPr id="18" name="NielsenIQ logo+wordmark" hidden="1">
            <a:extLst>
              <a:ext uri="{FF2B5EF4-FFF2-40B4-BE49-F238E27FC236}">
                <a16:creationId xmlns:a16="http://schemas.microsoft.com/office/drawing/2014/main" id="{041ECC27-E626-2866-047D-40D91692A395}"/>
              </a:ext>
            </a:extLst>
          </p:cNvPr>
          <p:cNvPicPr>
            <a:picLocks noGrp="1" noRot="1" noMove="1" noResize="1" noEditPoints="1" noAdjustHandles="1" noChangeArrowheads="1" noChangeShapeType="1" noCrop="1"/>
          </p:cNvPicPr>
          <p:nvPr userDrawn="1"/>
        </p:nvPicPr>
        <p:blipFill>
          <a:blip r:embed="rId4" cstate="print">
            <a:extLst>
              <a:ext uri="{28A0092B-C50C-407E-A947-70E740481C1C}">
                <a14:useLocalDpi xmlns:a14="http://schemas.microsoft.com/office/drawing/2010/main" val="0"/>
              </a:ext>
            </a:extLst>
          </a:blip>
          <a:srcRect/>
          <a:stretch/>
        </p:blipFill>
        <p:spPr>
          <a:xfrm>
            <a:off x="288559" y="5563212"/>
            <a:ext cx="2155408" cy="743616"/>
          </a:xfrm>
          <a:prstGeom prst="rect">
            <a:avLst/>
          </a:prstGeom>
        </p:spPr>
      </p:pic>
      <p:sp>
        <p:nvSpPr>
          <p:cNvPr id="38" name="Nielsen wordmark">
            <a:extLst>
              <a:ext uri="{FF2B5EF4-FFF2-40B4-BE49-F238E27FC236}">
                <a16:creationId xmlns:a16="http://schemas.microsoft.com/office/drawing/2014/main" id="{6D5C1F9E-5298-0893-F83B-8DC3C0EC17DD}"/>
              </a:ext>
            </a:extLst>
          </p:cNvPr>
          <p:cNvSpPr>
            <a:spLocks noGrp="1" noRot="1" noMove="1" noResize="1" noEditPoints="1" noAdjustHandles="1" noChangeArrowheads="1" noChangeShapeType="1"/>
          </p:cNvSpPr>
          <p:nvPr userDrawn="1"/>
        </p:nvSpPr>
        <p:spPr>
          <a:xfrm>
            <a:off x="295274" y="5686380"/>
            <a:ext cx="2855736" cy="516802"/>
          </a:xfrm>
          <a:custGeom>
            <a:avLst/>
            <a:gdLst>
              <a:gd name="connsiteX0" fmla="*/ 1628098 w 2855736"/>
              <a:gd name="connsiteY0" fmla="*/ 189308 h 516802"/>
              <a:gd name="connsiteX1" fmla="*/ 1598276 w 2855736"/>
              <a:gd name="connsiteY1" fmla="*/ 194730 h 516802"/>
              <a:gd name="connsiteX2" fmla="*/ 1576820 w 2855736"/>
              <a:gd name="connsiteY2" fmla="*/ 209524 h 516802"/>
              <a:gd name="connsiteX3" fmla="*/ 1563188 w 2855736"/>
              <a:gd name="connsiteY3" fmla="*/ 231368 h 516802"/>
              <a:gd name="connsiteX4" fmla="*/ 1563188 w 2855736"/>
              <a:gd name="connsiteY4" fmla="*/ 231290 h 516802"/>
              <a:gd name="connsiteX5" fmla="*/ 1557921 w 2855736"/>
              <a:gd name="connsiteY5" fmla="*/ 254838 h 516802"/>
              <a:gd name="connsiteX6" fmla="*/ 1694015 w 2855736"/>
              <a:gd name="connsiteY6" fmla="*/ 254838 h 516802"/>
              <a:gd name="connsiteX7" fmla="*/ 1678059 w 2855736"/>
              <a:gd name="connsiteY7" fmla="*/ 207201 h 516802"/>
              <a:gd name="connsiteX8" fmla="*/ 1628098 w 2855736"/>
              <a:gd name="connsiteY8" fmla="*/ 189308 h 516802"/>
              <a:gd name="connsiteX9" fmla="*/ 782717 w 2855736"/>
              <a:gd name="connsiteY9" fmla="*/ 189308 h 516802"/>
              <a:gd name="connsiteX10" fmla="*/ 752895 w 2855736"/>
              <a:gd name="connsiteY10" fmla="*/ 194730 h 516802"/>
              <a:gd name="connsiteX11" fmla="*/ 731439 w 2855736"/>
              <a:gd name="connsiteY11" fmla="*/ 209524 h 516802"/>
              <a:gd name="connsiteX12" fmla="*/ 717807 w 2855736"/>
              <a:gd name="connsiteY12" fmla="*/ 231368 h 516802"/>
              <a:gd name="connsiteX13" fmla="*/ 717807 w 2855736"/>
              <a:gd name="connsiteY13" fmla="*/ 231290 h 516802"/>
              <a:gd name="connsiteX14" fmla="*/ 712539 w 2855736"/>
              <a:gd name="connsiteY14" fmla="*/ 254838 h 516802"/>
              <a:gd name="connsiteX15" fmla="*/ 848634 w 2855736"/>
              <a:gd name="connsiteY15" fmla="*/ 254838 h 516802"/>
              <a:gd name="connsiteX16" fmla="*/ 832677 w 2855736"/>
              <a:gd name="connsiteY16" fmla="*/ 207201 h 516802"/>
              <a:gd name="connsiteX17" fmla="*/ 782717 w 2855736"/>
              <a:gd name="connsiteY17" fmla="*/ 189308 h 516802"/>
              <a:gd name="connsiteX18" fmla="*/ 476601 w 2855736"/>
              <a:gd name="connsiteY18" fmla="*/ 124553 h 516802"/>
              <a:gd name="connsiteX19" fmla="*/ 480087 w 2855736"/>
              <a:gd name="connsiteY19" fmla="*/ 124553 h 516802"/>
              <a:gd name="connsiteX20" fmla="*/ 569319 w 2855736"/>
              <a:gd name="connsiteY20" fmla="*/ 124553 h 516802"/>
              <a:gd name="connsiteX21" fmla="*/ 572882 w 2855736"/>
              <a:gd name="connsiteY21" fmla="*/ 124553 h 516802"/>
              <a:gd name="connsiteX22" fmla="*/ 572882 w 2855736"/>
              <a:gd name="connsiteY22" fmla="*/ 128116 h 516802"/>
              <a:gd name="connsiteX23" fmla="*/ 572804 w 2855736"/>
              <a:gd name="connsiteY23" fmla="*/ 466299 h 516802"/>
              <a:gd name="connsiteX24" fmla="*/ 569319 w 2855736"/>
              <a:gd name="connsiteY24" fmla="*/ 466299 h 516802"/>
              <a:gd name="connsiteX25" fmla="*/ 480087 w 2855736"/>
              <a:gd name="connsiteY25" fmla="*/ 466299 h 516802"/>
              <a:gd name="connsiteX26" fmla="*/ 476601 w 2855736"/>
              <a:gd name="connsiteY26" fmla="*/ 466299 h 516802"/>
              <a:gd name="connsiteX27" fmla="*/ 476601 w 2855736"/>
              <a:gd name="connsiteY27" fmla="*/ 127496 h 516802"/>
              <a:gd name="connsiteX28" fmla="*/ 2026544 w 2855736"/>
              <a:gd name="connsiteY28" fmla="*/ 116342 h 516802"/>
              <a:gd name="connsiteX29" fmla="*/ 2113220 w 2855736"/>
              <a:gd name="connsiteY29" fmla="*/ 147093 h 516802"/>
              <a:gd name="connsiteX30" fmla="*/ 2141569 w 2855736"/>
              <a:gd name="connsiteY30" fmla="*/ 242832 h 516802"/>
              <a:gd name="connsiteX31" fmla="*/ 2141569 w 2855736"/>
              <a:gd name="connsiteY31" fmla="*/ 466376 h 516802"/>
              <a:gd name="connsiteX32" fmla="*/ 2045366 w 2855736"/>
              <a:gd name="connsiteY32" fmla="*/ 466376 h 516802"/>
              <a:gd name="connsiteX33" fmla="*/ 2045366 w 2855736"/>
              <a:gd name="connsiteY33" fmla="*/ 254992 h 516802"/>
              <a:gd name="connsiteX34" fmla="*/ 2033050 w 2855736"/>
              <a:gd name="connsiteY34" fmla="*/ 209757 h 516802"/>
              <a:gd name="connsiteX35" fmla="*/ 1999820 w 2855736"/>
              <a:gd name="connsiteY35" fmla="*/ 197983 h 516802"/>
              <a:gd name="connsiteX36" fmla="*/ 1971548 w 2855736"/>
              <a:gd name="connsiteY36" fmla="*/ 202786 h 516802"/>
              <a:gd name="connsiteX37" fmla="*/ 1949472 w 2855736"/>
              <a:gd name="connsiteY37" fmla="*/ 216651 h 516802"/>
              <a:gd name="connsiteX38" fmla="*/ 1935143 w 2855736"/>
              <a:gd name="connsiteY38" fmla="*/ 237022 h 516802"/>
              <a:gd name="connsiteX39" fmla="*/ 1929411 w 2855736"/>
              <a:gd name="connsiteY39" fmla="*/ 262583 h 516802"/>
              <a:gd name="connsiteX40" fmla="*/ 1929411 w 2855736"/>
              <a:gd name="connsiteY40" fmla="*/ 466299 h 516802"/>
              <a:gd name="connsiteX41" fmla="*/ 1833130 w 2855736"/>
              <a:gd name="connsiteY41" fmla="*/ 466299 h 516802"/>
              <a:gd name="connsiteX42" fmla="*/ 1833130 w 2855736"/>
              <a:gd name="connsiteY42" fmla="*/ 124630 h 516802"/>
              <a:gd name="connsiteX43" fmla="*/ 1926855 w 2855736"/>
              <a:gd name="connsiteY43" fmla="*/ 124630 h 516802"/>
              <a:gd name="connsiteX44" fmla="*/ 1926855 w 2855736"/>
              <a:gd name="connsiteY44" fmla="*/ 165063 h 516802"/>
              <a:gd name="connsiteX45" fmla="*/ 1968605 w 2855736"/>
              <a:gd name="connsiteY45" fmla="*/ 130052 h 516802"/>
              <a:gd name="connsiteX46" fmla="*/ 2026544 w 2855736"/>
              <a:gd name="connsiteY46" fmla="*/ 116342 h 516802"/>
              <a:gd name="connsiteX47" fmla="*/ 1272176 w 2855736"/>
              <a:gd name="connsiteY47" fmla="*/ 115490 h 516802"/>
              <a:gd name="connsiteX48" fmla="*/ 1339410 w 2855736"/>
              <a:gd name="connsiteY48" fmla="*/ 123623 h 516802"/>
              <a:gd name="connsiteX49" fmla="*/ 1384258 w 2855736"/>
              <a:gd name="connsiteY49" fmla="*/ 145544 h 516802"/>
              <a:gd name="connsiteX50" fmla="*/ 1397194 w 2855736"/>
              <a:gd name="connsiteY50" fmla="*/ 157860 h 516802"/>
              <a:gd name="connsiteX51" fmla="*/ 1410749 w 2855736"/>
              <a:gd name="connsiteY51" fmla="*/ 178696 h 516802"/>
              <a:gd name="connsiteX52" fmla="*/ 1415319 w 2855736"/>
              <a:gd name="connsiteY52" fmla="*/ 189695 h 516802"/>
              <a:gd name="connsiteX53" fmla="*/ 1416171 w 2855736"/>
              <a:gd name="connsiteY53" fmla="*/ 192174 h 516802"/>
              <a:gd name="connsiteX54" fmla="*/ 1422755 w 2855736"/>
              <a:gd name="connsiteY54" fmla="*/ 222847 h 516802"/>
              <a:gd name="connsiteX55" fmla="*/ 1423065 w 2855736"/>
              <a:gd name="connsiteY55" fmla="*/ 226643 h 516802"/>
              <a:gd name="connsiteX56" fmla="*/ 1335382 w 2855736"/>
              <a:gd name="connsiteY56" fmla="*/ 226643 h 516802"/>
              <a:gd name="connsiteX57" fmla="*/ 1333058 w 2855736"/>
              <a:gd name="connsiteY57" fmla="*/ 218432 h 516802"/>
              <a:gd name="connsiteX58" fmla="*/ 1318109 w 2855736"/>
              <a:gd name="connsiteY58" fmla="*/ 198835 h 516802"/>
              <a:gd name="connsiteX59" fmla="*/ 1274035 w 2855736"/>
              <a:gd name="connsiteY59" fmla="*/ 188688 h 516802"/>
              <a:gd name="connsiteX60" fmla="*/ 1245220 w 2855736"/>
              <a:gd name="connsiteY60" fmla="*/ 191477 h 516802"/>
              <a:gd name="connsiteX61" fmla="*/ 1227870 w 2855736"/>
              <a:gd name="connsiteY61" fmla="*/ 198293 h 516802"/>
              <a:gd name="connsiteX62" fmla="*/ 1219504 w 2855736"/>
              <a:gd name="connsiteY62" fmla="*/ 207123 h 516802"/>
              <a:gd name="connsiteX63" fmla="*/ 1217025 w 2855736"/>
              <a:gd name="connsiteY63" fmla="*/ 216418 h 516802"/>
              <a:gd name="connsiteX64" fmla="*/ 1225469 w 2855736"/>
              <a:gd name="connsiteY64" fmla="*/ 236867 h 516802"/>
              <a:gd name="connsiteX65" fmla="*/ 1262494 w 2855736"/>
              <a:gd name="connsiteY65" fmla="*/ 248641 h 516802"/>
              <a:gd name="connsiteX66" fmla="*/ 1304553 w 2855736"/>
              <a:gd name="connsiteY66" fmla="*/ 255612 h 516802"/>
              <a:gd name="connsiteX67" fmla="*/ 1365513 w 2855736"/>
              <a:gd name="connsiteY67" fmla="*/ 270484 h 516802"/>
              <a:gd name="connsiteX68" fmla="*/ 1403313 w 2855736"/>
              <a:gd name="connsiteY68" fmla="*/ 293179 h 516802"/>
              <a:gd name="connsiteX69" fmla="*/ 1423375 w 2855736"/>
              <a:gd name="connsiteY69" fmla="*/ 325635 h 516802"/>
              <a:gd name="connsiteX70" fmla="*/ 1423375 w 2855736"/>
              <a:gd name="connsiteY70" fmla="*/ 325712 h 516802"/>
              <a:gd name="connsiteX71" fmla="*/ 1428952 w 2855736"/>
              <a:gd name="connsiteY71" fmla="*/ 368159 h 516802"/>
              <a:gd name="connsiteX72" fmla="*/ 1391927 w 2855736"/>
              <a:gd name="connsiteY72" fmla="*/ 446392 h 516802"/>
              <a:gd name="connsiteX73" fmla="*/ 1279534 w 2855736"/>
              <a:gd name="connsiteY73" fmla="*/ 475516 h 516802"/>
              <a:gd name="connsiteX74" fmla="*/ 1221828 w 2855736"/>
              <a:gd name="connsiteY74" fmla="*/ 470017 h 516802"/>
              <a:gd name="connsiteX75" fmla="*/ 1172255 w 2855736"/>
              <a:gd name="connsiteY75" fmla="*/ 450730 h 516802"/>
              <a:gd name="connsiteX76" fmla="*/ 1136081 w 2855736"/>
              <a:gd name="connsiteY76" fmla="*/ 413937 h 516802"/>
              <a:gd name="connsiteX77" fmla="*/ 1120280 w 2855736"/>
              <a:gd name="connsiteY77" fmla="*/ 360336 h 516802"/>
              <a:gd name="connsiteX78" fmla="*/ 1213230 w 2855736"/>
              <a:gd name="connsiteY78" fmla="*/ 360336 h 516802"/>
              <a:gd name="connsiteX79" fmla="*/ 1233911 w 2855736"/>
              <a:gd name="connsiteY79" fmla="*/ 391087 h 516802"/>
              <a:gd name="connsiteX80" fmla="*/ 1278295 w 2855736"/>
              <a:gd name="connsiteY80" fmla="*/ 399685 h 516802"/>
              <a:gd name="connsiteX81" fmla="*/ 1322059 w 2855736"/>
              <a:gd name="connsiteY81" fmla="*/ 392171 h 516802"/>
              <a:gd name="connsiteX82" fmla="*/ 1333988 w 2855736"/>
              <a:gd name="connsiteY82" fmla="*/ 369398 h 516802"/>
              <a:gd name="connsiteX83" fmla="*/ 1326319 w 2855736"/>
              <a:gd name="connsiteY83" fmla="*/ 349492 h 516802"/>
              <a:gd name="connsiteX84" fmla="*/ 1295568 w 2855736"/>
              <a:gd name="connsiteY84" fmla="*/ 337253 h 516802"/>
              <a:gd name="connsiteX85" fmla="*/ 1247467 w 2855736"/>
              <a:gd name="connsiteY85" fmla="*/ 329585 h 516802"/>
              <a:gd name="connsiteX86" fmla="*/ 1155678 w 2855736"/>
              <a:gd name="connsiteY86" fmla="*/ 296045 h 516802"/>
              <a:gd name="connsiteX87" fmla="*/ 1124695 w 2855736"/>
              <a:gd name="connsiteY87" fmla="*/ 222847 h 516802"/>
              <a:gd name="connsiteX88" fmla="*/ 1135617 w 2855736"/>
              <a:gd name="connsiteY88" fmla="*/ 177844 h 516802"/>
              <a:gd name="connsiteX89" fmla="*/ 1166290 w 2855736"/>
              <a:gd name="connsiteY89" fmla="*/ 144150 h 516802"/>
              <a:gd name="connsiteX90" fmla="*/ 1212920 w 2855736"/>
              <a:gd name="connsiteY90" fmla="*/ 122926 h 516802"/>
              <a:gd name="connsiteX91" fmla="*/ 1272176 w 2855736"/>
              <a:gd name="connsiteY91" fmla="*/ 115490 h 516802"/>
              <a:gd name="connsiteX92" fmla="*/ 1629957 w 2855736"/>
              <a:gd name="connsiteY92" fmla="*/ 115335 h 516802"/>
              <a:gd name="connsiteX93" fmla="*/ 1747616 w 2855736"/>
              <a:gd name="connsiteY93" fmla="*/ 160493 h 516802"/>
              <a:gd name="connsiteX94" fmla="*/ 1787043 w 2855736"/>
              <a:gd name="connsiteY94" fmla="*/ 281328 h 516802"/>
              <a:gd name="connsiteX95" fmla="*/ 1787043 w 2855736"/>
              <a:gd name="connsiteY95" fmla="*/ 320522 h 516802"/>
              <a:gd name="connsiteX96" fmla="*/ 1556526 w 2855736"/>
              <a:gd name="connsiteY96" fmla="*/ 320522 h 516802"/>
              <a:gd name="connsiteX97" fmla="*/ 1575968 w 2855736"/>
              <a:gd name="connsiteY97" fmla="*/ 377454 h 516802"/>
              <a:gd name="connsiteX98" fmla="*/ 1630654 w 2855736"/>
              <a:gd name="connsiteY98" fmla="*/ 398833 h 516802"/>
              <a:gd name="connsiteX99" fmla="*/ 1688825 w 2855736"/>
              <a:gd name="connsiteY99" fmla="*/ 360181 h 516802"/>
              <a:gd name="connsiteX100" fmla="*/ 1688903 w 2855736"/>
              <a:gd name="connsiteY100" fmla="*/ 360181 h 516802"/>
              <a:gd name="connsiteX101" fmla="*/ 1782937 w 2855736"/>
              <a:gd name="connsiteY101" fmla="*/ 360181 h 516802"/>
              <a:gd name="connsiteX102" fmla="*/ 1737082 w 2855736"/>
              <a:gd name="connsiteY102" fmla="*/ 445540 h 516802"/>
              <a:gd name="connsiteX103" fmla="*/ 1630034 w 2855736"/>
              <a:gd name="connsiteY103" fmla="*/ 475284 h 516802"/>
              <a:gd name="connsiteX104" fmla="*/ 1502848 w 2855736"/>
              <a:gd name="connsiteY104" fmla="*/ 428267 h 516802"/>
              <a:gd name="connsiteX105" fmla="*/ 1460168 w 2855736"/>
              <a:gd name="connsiteY105" fmla="*/ 295890 h 516802"/>
              <a:gd name="connsiteX106" fmla="*/ 1472484 w 2855736"/>
              <a:gd name="connsiteY106" fmla="*/ 219826 h 516802"/>
              <a:gd name="connsiteX107" fmla="*/ 1507340 w 2855736"/>
              <a:gd name="connsiteY107" fmla="*/ 162894 h 516802"/>
              <a:gd name="connsiteX108" fmla="*/ 1561174 w 2855736"/>
              <a:gd name="connsiteY108" fmla="*/ 127341 h 516802"/>
              <a:gd name="connsiteX109" fmla="*/ 1629957 w 2855736"/>
              <a:gd name="connsiteY109" fmla="*/ 115335 h 516802"/>
              <a:gd name="connsiteX110" fmla="*/ 784576 w 2855736"/>
              <a:gd name="connsiteY110" fmla="*/ 115335 h 516802"/>
              <a:gd name="connsiteX111" fmla="*/ 902235 w 2855736"/>
              <a:gd name="connsiteY111" fmla="*/ 160493 h 516802"/>
              <a:gd name="connsiteX112" fmla="*/ 941661 w 2855736"/>
              <a:gd name="connsiteY112" fmla="*/ 281328 h 516802"/>
              <a:gd name="connsiteX113" fmla="*/ 941661 w 2855736"/>
              <a:gd name="connsiteY113" fmla="*/ 320522 h 516802"/>
              <a:gd name="connsiteX114" fmla="*/ 711145 w 2855736"/>
              <a:gd name="connsiteY114" fmla="*/ 320522 h 516802"/>
              <a:gd name="connsiteX115" fmla="*/ 730587 w 2855736"/>
              <a:gd name="connsiteY115" fmla="*/ 377454 h 516802"/>
              <a:gd name="connsiteX116" fmla="*/ 785273 w 2855736"/>
              <a:gd name="connsiteY116" fmla="*/ 398833 h 516802"/>
              <a:gd name="connsiteX117" fmla="*/ 843444 w 2855736"/>
              <a:gd name="connsiteY117" fmla="*/ 360181 h 516802"/>
              <a:gd name="connsiteX118" fmla="*/ 843522 w 2855736"/>
              <a:gd name="connsiteY118" fmla="*/ 360181 h 516802"/>
              <a:gd name="connsiteX119" fmla="*/ 937556 w 2855736"/>
              <a:gd name="connsiteY119" fmla="*/ 360181 h 516802"/>
              <a:gd name="connsiteX120" fmla="*/ 891701 w 2855736"/>
              <a:gd name="connsiteY120" fmla="*/ 445540 h 516802"/>
              <a:gd name="connsiteX121" fmla="*/ 784653 w 2855736"/>
              <a:gd name="connsiteY121" fmla="*/ 475284 h 516802"/>
              <a:gd name="connsiteX122" fmla="*/ 657467 w 2855736"/>
              <a:gd name="connsiteY122" fmla="*/ 428267 h 516802"/>
              <a:gd name="connsiteX123" fmla="*/ 614787 w 2855736"/>
              <a:gd name="connsiteY123" fmla="*/ 295890 h 516802"/>
              <a:gd name="connsiteX124" fmla="*/ 627103 w 2855736"/>
              <a:gd name="connsiteY124" fmla="*/ 219826 h 516802"/>
              <a:gd name="connsiteX125" fmla="*/ 661959 w 2855736"/>
              <a:gd name="connsiteY125" fmla="*/ 162894 h 516802"/>
              <a:gd name="connsiteX126" fmla="*/ 715793 w 2855736"/>
              <a:gd name="connsiteY126" fmla="*/ 127341 h 516802"/>
              <a:gd name="connsiteX127" fmla="*/ 784576 w 2855736"/>
              <a:gd name="connsiteY127" fmla="*/ 115335 h 516802"/>
              <a:gd name="connsiteX128" fmla="*/ 2576886 w 2855736"/>
              <a:gd name="connsiteY128" fmla="*/ 97288 h 516802"/>
              <a:gd name="connsiteX129" fmla="*/ 2435834 w 2855736"/>
              <a:gd name="connsiteY129" fmla="*/ 238339 h 516802"/>
              <a:gd name="connsiteX130" fmla="*/ 2576886 w 2855736"/>
              <a:gd name="connsiteY130" fmla="*/ 379391 h 516802"/>
              <a:gd name="connsiteX131" fmla="*/ 2717938 w 2855736"/>
              <a:gd name="connsiteY131" fmla="*/ 238339 h 516802"/>
              <a:gd name="connsiteX132" fmla="*/ 2576886 w 2855736"/>
              <a:gd name="connsiteY132" fmla="*/ 97288 h 516802"/>
              <a:gd name="connsiteX133" fmla="*/ 2196642 w 2855736"/>
              <a:gd name="connsiteY133" fmla="*/ 10456 h 516802"/>
              <a:gd name="connsiteX134" fmla="*/ 2290522 w 2855736"/>
              <a:gd name="connsiteY134" fmla="*/ 10456 h 516802"/>
              <a:gd name="connsiteX135" fmla="*/ 2290522 w 2855736"/>
              <a:gd name="connsiteY135" fmla="*/ 466298 h 516802"/>
              <a:gd name="connsiteX136" fmla="*/ 2196642 w 2855736"/>
              <a:gd name="connsiteY136" fmla="*/ 466298 h 516802"/>
              <a:gd name="connsiteX137" fmla="*/ 986665 w 2855736"/>
              <a:gd name="connsiteY137" fmla="*/ 10456 h 516802"/>
              <a:gd name="connsiteX138" fmla="*/ 1080545 w 2855736"/>
              <a:gd name="connsiteY138" fmla="*/ 10456 h 516802"/>
              <a:gd name="connsiteX139" fmla="*/ 1080545 w 2855736"/>
              <a:gd name="connsiteY139" fmla="*/ 475593 h 516802"/>
              <a:gd name="connsiteX140" fmla="*/ 1065905 w 2855736"/>
              <a:gd name="connsiteY140" fmla="*/ 475593 h 516802"/>
              <a:gd name="connsiteX141" fmla="*/ 986665 w 2855736"/>
              <a:gd name="connsiteY141" fmla="*/ 394107 h 516802"/>
              <a:gd name="connsiteX142" fmla="*/ 476601 w 2855736"/>
              <a:gd name="connsiteY142" fmla="*/ 10456 h 516802"/>
              <a:gd name="connsiteX143" fmla="*/ 480087 w 2855736"/>
              <a:gd name="connsiteY143" fmla="*/ 10456 h 516802"/>
              <a:gd name="connsiteX144" fmla="*/ 569319 w 2855736"/>
              <a:gd name="connsiteY144" fmla="*/ 10456 h 516802"/>
              <a:gd name="connsiteX145" fmla="*/ 572882 w 2855736"/>
              <a:gd name="connsiteY145" fmla="*/ 10456 h 516802"/>
              <a:gd name="connsiteX146" fmla="*/ 572882 w 2855736"/>
              <a:gd name="connsiteY146" fmla="*/ 81330 h 516802"/>
              <a:gd name="connsiteX147" fmla="*/ 572882 w 2855736"/>
              <a:gd name="connsiteY147" fmla="*/ 84893 h 516802"/>
              <a:gd name="connsiteX148" fmla="*/ 569319 w 2855736"/>
              <a:gd name="connsiteY148" fmla="*/ 84893 h 516802"/>
              <a:gd name="connsiteX149" fmla="*/ 480087 w 2855736"/>
              <a:gd name="connsiteY149" fmla="*/ 84893 h 516802"/>
              <a:gd name="connsiteX150" fmla="*/ 476601 w 2855736"/>
              <a:gd name="connsiteY150" fmla="*/ 84893 h 516802"/>
              <a:gd name="connsiteX151" fmla="*/ 476601 w 2855736"/>
              <a:gd name="connsiteY151" fmla="*/ 81330 h 516802"/>
              <a:gd name="connsiteX152" fmla="*/ 58559 w 2855736"/>
              <a:gd name="connsiteY152" fmla="*/ 6331 h 516802"/>
              <a:gd name="connsiteX153" fmla="*/ 82648 w 2855736"/>
              <a:gd name="connsiteY153" fmla="*/ 20990 h 516802"/>
              <a:gd name="connsiteX154" fmla="*/ 326565 w 2855736"/>
              <a:gd name="connsiteY154" fmla="*/ 298911 h 516802"/>
              <a:gd name="connsiteX155" fmla="*/ 326565 w 2855736"/>
              <a:gd name="connsiteY155" fmla="*/ 10456 h 516802"/>
              <a:gd name="connsiteX156" fmla="*/ 421064 w 2855736"/>
              <a:gd name="connsiteY156" fmla="*/ 10456 h 516802"/>
              <a:gd name="connsiteX157" fmla="*/ 421064 w 2855736"/>
              <a:gd name="connsiteY157" fmla="*/ 424781 h 516802"/>
              <a:gd name="connsiteX158" fmla="*/ 390545 w 2855736"/>
              <a:gd name="connsiteY158" fmla="*/ 469397 h 516802"/>
              <a:gd name="connsiteX159" fmla="*/ 373814 w 2855736"/>
              <a:gd name="connsiteY159" fmla="*/ 472495 h 516802"/>
              <a:gd name="connsiteX160" fmla="*/ 338416 w 2855736"/>
              <a:gd name="connsiteY160" fmla="*/ 456461 h 516802"/>
              <a:gd name="connsiteX161" fmla="*/ 94499 w 2855736"/>
              <a:gd name="connsiteY161" fmla="*/ 178541 h 516802"/>
              <a:gd name="connsiteX162" fmla="*/ 94499 w 2855736"/>
              <a:gd name="connsiteY162" fmla="*/ 466298 h 516802"/>
              <a:gd name="connsiteX163" fmla="*/ 0 w 2855736"/>
              <a:gd name="connsiteY163" fmla="*/ 466298 h 516802"/>
              <a:gd name="connsiteX164" fmla="*/ 0 w 2855736"/>
              <a:gd name="connsiteY164" fmla="*/ 52748 h 516802"/>
              <a:gd name="connsiteX165" fmla="*/ 30519 w 2855736"/>
              <a:gd name="connsiteY165" fmla="*/ 8055 h 516802"/>
              <a:gd name="connsiteX166" fmla="*/ 58559 w 2855736"/>
              <a:gd name="connsiteY166" fmla="*/ 6331 h 516802"/>
              <a:gd name="connsiteX167" fmla="*/ 2576886 w 2855736"/>
              <a:gd name="connsiteY167" fmla="*/ 0 h 516802"/>
              <a:gd name="connsiteX168" fmla="*/ 2815303 w 2855736"/>
              <a:gd name="connsiteY168" fmla="*/ 238417 h 516802"/>
              <a:gd name="connsiteX169" fmla="*/ 2775489 w 2855736"/>
              <a:gd name="connsiteY169" fmla="*/ 370096 h 516802"/>
              <a:gd name="connsiteX170" fmla="*/ 2775412 w 2855736"/>
              <a:gd name="connsiteY170" fmla="*/ 370096 h 516802"/>
              <a:gd name="connsiteX171" fmla="*/ 2855736 w 2855736"/>
              <a:gd name="connsiteY171" fmla="*/ 450420 h 516802"/>
              <a:gd name="connsiteX172" fmla="*/ 2789354 w 2855736"/>
              <a:gd name="connsiteY172" fmla="*/ 516802 h 516802"/>
              <a:gd name="connsiteX173" fmla="*/ 2709108 w 2855736"/>
              <a:gd name="connsiteY173" fmla="*/ 436555 h 516802"/>
              <a:gd name="connsiteX174" fmla="*/ 2576886 w 2855736"/>
              <a:gd name="connsiteY174" fmla="*/ 476756 h 516802"/>
              <a:gd name="connsiteX175" fmla="*/ 2338469 w 2855736"/>
              <a:gd name="connsiteY175" fmla="*/ 238417 h 516802"/>
              <a:gd name="connsiteX176" fmla="*/ 2576886 w 2855736"/>
              <a:gd name="connsiteY176" fmla="*/ 0 h 51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855736" h="516802">
                <a:moveTo>
                  <a:pt x="1628098" y="189308"/>
                </a:moveTo>
                <a:cubicBezTo>
                  <a:pt x="1616711" y="189308"/>
                  <a:pt x="1606719" y="191089"/>
                  <a:pt x="1598276" y="194730"/>
                </a:cubicBezTo>
                <a:cubicBezTo>
                  <a:pt x="1589833" y="198370"/>
                  <a:pt x="1582630" y="203328"/>
                  <a:pt x="1576820" y="209524"/>
                </a:cubicBezTo>
                <a:cubicBezTo>
                  <a:pt x="1571011" y="215798"/>
                  <a:pt x="1566441" y="223157"/>
                  <a:pt x="1563188" y="231368"/>
                </a:cubicBezTo>
                <a:lnTo>
                  <a:pt x="1563188" y="231290"/>
                </a:lnTo>
                <a:cubicBezTo>
                  <a:pt x="1560399" y="238571"/>
                  <a:pt x="1558618" y="246472"/>
                  <a:pt x="1557921" y="254838"/>
                </a:cubicBezTo>
                <a:lnTo>
                  <a:pt x="1694015" y="254838"/>
                </a:lnTo>
                <a:cubicBezTo>
                  <a:pt x="1693473" y="234621"/>
                  <a:pt x="1688128" y="218587"/>
                  <a:pt x="1678059" y="207201"/>
                </a:cubicBezTo>
                <a:cubicBezTo>
                  <a:pt x="1667524" y="195349"/>
                  <a:pt x="1650716" y="189308"/>
                  <a:pt x="1628098" y="189308"/>
                </a:cubicBezTo>
                <a:close/>
                <a:moveTo>
                  <a:pt x="782717" y="189308"/>
                </a:moveTo>
                <a:cubicBezTo>
                  <a:pt x="771330" y="189308"/>
                  <a:pt x="761338" y="191089"/>
                  <a:pt x="752895" y="194730"/>
                </a:cubicBezTo>
                <a:cubicBezTo>
                  <a:pt x="744452" y="198370"/>
                  <a:pt x="737249" y="203328"/>
                  <a:pt x="731439" y="209524"/>
                </a:cubicBezTo>
                <a:cubicBezTo>
                  <a:pt x="725630" y="215798"/>
                  <a:pt x="721060" y="223157"/>
                  <a:pt x="717807" y="231368"/>
                </a:cubicBezTo>
                <a:lnTo>
                  <a:pt x="717807" y="231290"/>
                </a:lnTo>
                <a:cubicBezTo>
                  <a:pt x="715018" y="238571"/>
                  <a:pt x="713237" y="246472"/>
                  <a:pt x="712539" y="254838"/>
                </a:cubicBezTo>
                <a:lnTo>
                  <a:pt x="848634" y="254838"/>
                </a:lnTo>
                <a:cubicBezTo>
                  <a:pt x="848092" y="234621"/>
                  <a:pt x="842747" y="218587"/>
                  <a:pt x="832677" y="207201"/>
                </a:cubicBezTo>
                <a:cubicBezTo>
                  <a:pt x="822143" y="195349"/>
                  <a:pt x="805335" y="189308"/>
                  <a:pt x="782717" y="189308"/>
                </a:cubicBezTo>
                <a:close/>
                <a:moveTo>
                  <a:pt x="476601" y="124553"/>
                </a:moveTo>
                <a:lnTo>
                  <a:pt x="480087" y="124553"/>
                </a:lnTo>
                <a:lnTo>
                  <a:pt x="569319" y="124553"/>
                </a:lnTo>
                <a:lnTo>
                  <a:pt x="572882" y="124553"/>
                </a:lnTo>
                <a:lnTo>
                  <a:pt x="572882" y="128116"/>
                </a:lnTo>
                <a:lnTo>
                  <a:pt x="572804" y="466299"/>
                </a:lnTo>
                <a:lnTo>
                  <a:pt x="569319" y="466299"/>
                </a:lnTo>
                <a:lnTo>
                  <a:pt x="480087" y="466299"/>
                </a:lnTo>
                <a:lnTo>
                  <a:pt x="476601" y="466299"/>
                </a:lnTo>
                <a:lnTo>
                  <a:pt x="476601" y="127496"/>
                </a:lnTo>
                <a:close/>
                <a:moveTo>
                  <a:pt x="2026544" y="116342"/>
                </a:moveTo>
                <a:cubicBezTo>
                  <a:pt x="2065195" y="116342"/>
                  <a:pt x="2094320" y="126721"/>
                  <a:pt x="2113220" y="147093"/>
                </a:cubicBezTo>
                <a:cubicBezTo>
                  <a:pt x="2132042" y="167465"/>
                  <a:pt x="2141569" y="199687"/>
                  <a:pt x="2141569" y="242832"/>
                </a:cubicBezTo>
                <a:lnTo>
                  <a:pt x="2141569" y="466376"/>
                </a:lnTo>
                <a:lnTo>
                  <a:pt x="2045366" y="466376"/>
                </a:lnTo>
                <a:lnTo>
                  <a:pt x="2045366" y="254992"/>
                </a:lnTo>
                <a:cubicBezTo>
                  <a:pt x="2045366" y="232762"/>
                  <a:pt x="2041183" y="217503"/>
                  <a:pt x="2033050" y="209757"/>
                </a:cubicBezTo>
                <a:cubicBezTo>
                  <a:pt x="2024840" y="201933"/>
                  <a:pt x="2013686" y="197983"/>
                  <a:pt x="1999820" y="197983"/>
                </a:cubicBezTo>
                <a:cubicBezTo>
                  <a:pt x="1988899" y="197983"/>
                  <a:pt x="1979371" y="199610"/>
                  <a:pt x="1971548" y="202786"/>
                </a:cubicBezTo>
                <a:cubicBezTo>
                  <a:pt x="1963647" y="205961"/>
                  <a:pt x="1956211" y="210764"/>
                  <a:pt x="1949472" y="216651"/>
                </a:cubicBezTo>
                <a:cubicBezTo>
                  <a:pt x="1943818" y="222305"/>
                  <a:pt x="1938938" y="229121"/>
                  <a:pt x="1935143" y="237022"/>
                </a:cubicBezTo>
                <a:cubicBezTo>
                  <a:pt x="1931347" y="244768"/>
                  <a:pt x="1929411" y="253366"/>
                  <a:pt x="1929411" y="262583"/>
                </a:cubicBezTo>
                <a:lnTo>
                  <a:pt x="1929411" y="466299"/>
                </a:lnTo>
                <a:lnTo>
                  <a:pt x="1833130" y="466299"/>
                </a:lnTo>
                <a:lnTo>
                  <a:pt x="1833130" y="124630"/>
                </a:lnTo>
                <a:lnTo>
                  <a:pt x="1926855" y="124630"/>
                </a:lnTo>
                <a:lnTo>
                  <a:pt x="1926855" y="165063"/>
                </a:lnTo>
                <a:cubicBezTo>
                  <a:pt x="1938938" y="149494"/>
                  <a:pt x="1952958" y="137798"/>
                  <a:pt x="1968605" y="130052"/>
                </a:cubicBezTo>
                <a:cubicBezTo>
                  <a:pt x="1987040" y="120989"/>
                  <a:pt x="2006559" y="116342"/>
                  <a:pt x="2026544" y="116342"/>
                </a:cubicBezTo>
                <a:close/>
                <a:moveTo>
                  <a:pt x="1272176" y="115490"/>
                </a:moveTo>
                <a:cubicBezTo>
                  <a:pt x="1298667" y="115490"/>
                  <a:pt x="1321285" y="118279"/>
                  <a:pt x="1339410" y="123623"/>
                </a:cubicBezTo>
                <a:cubicBezTo>
                  <a:pt x="1357613" y="129045"/>
                  <a:pt x="1372717" y="136404"/>
                  <a:pt x="1384258" y="145544"/>
                </a:cubicBezTo>
                <a:cubicBezTo>
                  <a:pt x="1389061" y="149339"/>
                  <a:pt x="1393321" y="153445"/>
                  <a:pt x="1397194" y="157860"/>
                </a:cubicBezTo>
                <a:cubicBezTo>
                  <a:pt x="1402693" y="164211"/>
                  <a:pt x="1407263" y="171183"/>
                  <a:pt x="1410749" y="178696"/>
                </a:cubicBezTo>
                <a:cubicBezTo>
                  <a:pt x="1412376" y="182259"/>
                  <a:pt x="1413925" y="185977"/>
                  <a:pt x="1415319" y="189695"/>
                </a:cubicBezTo>
                <a:cubicBezTo>
                  <a:pt x="1415629" y="190547"/>
                  <a:pt x="1415861" y="191322"/>
                  <a:pt x="1416171" y="192174"/>
                </a:cubicBezTo>
                <a:cubicBezTo>
                  <a:pt x="1419347" y="201934"/>
                  <a:pt x="1421516" y="212235"/>
                  <a:pt x="1422755" y="222847"/>
                </a:cubicBezTo>
                <a:cubicBezTo>
                  <a:pt x="1422910" y="224087"/>
                  <a:pt x="1422910" y="225403"/>
                  <a:pt x="1423065" y="226643"/>
                </a:cubicBezTo>
                <a:lnTo>
                  <a:pt x="1335382" y="226643"/>
                </a:lnTo>
                <a:cubicBezTo>
                  <a:pt x="1334762" y="223699"/>
                  <a:pt x="1333988" y="220988"/>
                  <a:pt x="1333058" y="218432"/>
                </a:cubicBezTo>
                <a:cubicBezTo>
                  <a:pt x="1329263" y="208905"/>
                  <a:pt x="1324615" y="203793"/>
                  <a:pt x="1318109" y="198835"/>
                </a:cubicBezTo>
                <a:cubicBezTo>
                  <a:pt x="1309201" y="192096"/>
                  <a:pt x="1294406" y="188688"/>
                  <a:pt x="1274035" y="188688"/>
                </a:cubicBezTo>
                <a:cubicBezTo>
                  <a:pt x="1262494" y="188688"/>
                  <a:pt x="1252734" y="189618"/>
                  <a:pt x="1245220" y="191477"/>
                </a:cubicBezTo>
                <a:cubicBezTo>
                  <a:pt x="1237784" y="193258"/>
                  <a:pt x="1231975" y="195582"/>
                  <a:pt x="1227870" y="198293"/>
                </a:cubicBezTo>
                <a:cubicBezTo>
                  <a:pt x="1223919" y="200927"/>
                  <a:pt x="1221131" y="203870"/>
                  <a:pt x="1219504" y="207123"/>
                </a:cubicBezTo>
                <a:cubicBezTo>
                  <a:pt x="1217878" y="210454"/>
                  <a:pt x="1217025" y="213630"/>
                  <a:pt x="1217025" y="216418"/>
                </a:cubicBezTo>
                <a:cubicBezTo>
                  <a:pt x="1217025" y="225946"/>
                  <a:pt x="1219814" y="232685"/>
                  <a:pt x="1225469" y="236867"/>
                </a:cubicBezTo>
                <a:cubicBezTo>
                  <a:pt x="1231588" y="241437"/>
                  <a:pt x="1244058" y="245388"/>
                  <a:pt x="1262494" y="248641"/>
                </a:cubicBezTo>
                <a:lnTo>
                  <a:pt x="1304553" y="255612"/>
                </a:lnTo>
                <a:cubicBezTo>
                  <a:pt x="1328023" y="259485"/>
                  <a:pt x="1350022" y="264442"/>
                  <a:pt x="1365513" y="270484"/>
                </a:cubicBezTo>
                <a:cubicBezTo>
                  <a:pt x="1381160" y="276526"/>
                  <a:pt x="1393863" y="284194"/>
                  <a:pt x="1403313" y="293179"/>
                </a:cubicBezTo>
                <a:cubicBezTo>
                  <a:pt x="1412840" y="302320"/>
                  <a:pt x="1419579" y="313241"/>
                  <a:pt x="1423375" y="325635"/>
                </a:cubicBezTo>
                <a:lnTo>
                  <a:pt x="1423375" y="325712"/>
                </a:lnTo>
                <a:cubicBezTo>
                  <a:pt x="1427093" y="337950"/>
                  <a:pt x="1428952" y="352203"/>
                  <a:pt x="1428952" y="368159"/>
                </a:cubicBezTo>
                <a:cubicBezTo>
                  <a:pt x="1428952" y="400537"/>
                  <a:pt x="1416481" y="426873"/>
                  <a:pt x="1391927" y="446392"/>
                </a:cubicBezTo>
                <a:cubicBezTo>
                  <a:pt x="1367605" y="465757"/>
                  <a:pt x="1329805" y="475516"/>
                  <a:pt x="1279534" y="475516"/>
                </a:cubicBezTo>
                <a:cubicBezTo>
                  <a:pt x="1259473" y="475516"/>
                  <a:pt x="1240031" y="473657"/>
                  <a:pt x="1221828" y="470017"/>
                </a:cubicBezTo>
                <a:cubicBezTo>
                  <a:pt x="1203470" y="466299"/>
                  <a:pt x="1186739" y="459870"/>
                  <a:pt x="1172255" y="450730"/>
                </a:cubicBezTo>
                <a:cubicBezTo>
                  <a:pt x="1157615" y="441590"/>
                  <a:pt x="1145454" y="429196"/>
                  <a:pt x="1136081" y="413937"/>
                </a:cubicBezTo>
                <a:cubicBezTo>
                  <a:pt x="1127251" y="399607"/>
                  <a:pt x="1121984" y="381559"/>
                  <a:pt x="1120280" y="360336"/>
                </a:cubicBezTo>
                <a:lnTo>
                  <a:pt x="1213230" y="360336"/>
                </a:lnTo>
                <a:cubicBezTo>
                  <a:pt x="1216561" y="375828"/>
                  <a:pt x="1223455" y="386207"/>
                  <a:pt x="1233911" y="391087"/>
                </a:cubicBezTo>
                <a:cubicBezTo>
                  <a:pt x="1246072" y="396819"/>
                  <a:pt x="1261022" y="399685"/>
                  <a:pt x="1278295" y="399685"/>
                </a:cubicBezTo>
                <a:cubicBezTo>
                  <a:pt x="1298744" y="399685"/>
                  <a:pt x="1313539" y="397129"/>
                  <a:pt x="1322059" y="392171"/>
                </a:cubicBezTo>
                <a:cubicBezTo>
                  <a:pt x="1330115" y="387524"/>
                  <a:pt x="1333988" y="380088"/>
                  <a:pt x="1333988" y="369398"/>
                </a:cubicBezTo>
                <a:cubicBezTo>
                  <a:pt x="1333988" y="361808"/>
                  <a:pt x="1331509" y="355224"/>
                  <a:pt x="1326319" y="349492"/>
                </a:cubicBezTo>
                <a:cubicBezTo>
                  <a:pt x="1321207" y="343760"/>
                  <a:pt x="1310828" y="339654"/>
                  <a:pt x="1295568" y="337253"/>
                </a:cubicBezTo>
                <a:lnTo>
                  <a:pt x="1247467" y="329585"/>
                </a:lnTo>
                <a:cubicBezTo>
                  <a:pt x="1206723" y="323156"/>
                  <a:pt x="1175818" y="311847"/>
                  <a:pt x="1155678" y="296045"/>
                </a:cubicBezTo>
                <a:cubicBezTo>
                  <a:pt x="1135152" y="279934"/>
                  <a:pt x="1124695" y="255302"/>
                  <a:pt x="1124695" y="222847"/>
                </a:cubicBezTo>
                <a:cubicBezTo>
                  <a:pt x="1124695" y="206194"/>
                  <a:pt x="1128336" y="191089"/>
                  <a:pt x="1135617" y="177844"/>
                </a:cubicBezTo>
                <a:cubicBezTo>
                  <a:pt x="1142820" y="164676"/>
                  <a:pt x="1153122" y="153367"/>
                  <a:pt x="1166290" y="144150"/>
                </a:cubicBezTo>
                <a:cubicBezTo>
                  <a:pt x="1179303" y="135010"/>
                  <a:pt x="1194950" y="127883"/>
                  <a:pt x="1212920" y="122926"/>
                </a:cubicBezTo>
                <a:cubicBezTo>
                  <a:pt x="1230813" y="117969"/>
                  <a:pt x="1250720" y="115490"/>
                  <a:pt x="1272176" y="115490"/>
                </a:cubicBezTo>
                <a:close/>
                <a:moveTo>
                  <a:pt x="1629957" y="115335"/>
                </a:moveTo>
                <a:cubicBezTo>
                  <a:pt x="1681776" y="115335"/>
                  <a:pt x="1721358" y="130517"/>
                  <a:pt x="1747616" y="160493"/>
                </a:cubicBezTo>
                <a:cubicBezTo>
                  <a:pt x="1773797" y="190315"/>
                  <a:pt x="1787043" y="230980"/>
                  <a:pt x="1787043" y="281328"/>
                </a:cubicBezTo>
                <a:lnTo>
                  <a:pt x="1787043" y="320522"/>
                </a:lnTo>
                <a:lnTo>
                  <a:pt x="1556526" y="320522"/>
                </a:lnTo>
                <a:cubicBezTo>
                  <a:pt x="1557843" y="344612"/>
                  <a:pt x="1564350" y="363744"/>
                  <a:pt x="1575968" y="377454"/>
                </a:cubicBezTo>
                <a:cubicBezTo>
                  <a:pt x="1587974" y="391629"/>
                  <a:pt x="1606332" y="398833"/>
                  <a:pt x="1630654" y="398833"/>
                </a:cubicBezTo>
                <a:cubicBezTo>
                  <a:pt x="1662954" y="398833"/>
                  <a:pt x="1682009" y="386207"/>
                  <a:pt x="1688825" y="360181"/>
                </a:cubicBezTo>
                <a:lnTo>
                  <a:pt x="1688903" y="360181"/>
                </a:lnTo>
                <a:lnTo>
                  <a:pt x="1782937" y="360181"/>
                </a:lnTo>
                <a:cubicBezTo>
                  <a:pt x="1776663" y="397361"/>
                  <a:pt x="1761249" y="426098"/>
                  <a:pt x="1737082" y="445540"/>
                </a:cubicBezTo>
                <a:cubicBezTo>
                  <a:pt x="1712527" y="465292"/>
                  <a:pt x="1676509" y="475284"/>
                  <a:pt x="1630034" y="475284"/>
                </a:cubicBezTo>
                <a:cubicBezTo>
                  <a:pt x="1574032" y="475284"/>
                  <a:pt x="1531197" y="459482"/>
                  <a:pt x="1502848" y="428267"/>
                </a:cubicBezTo>
                <a:cubicBezTo>
                  <a:pt x="1474498" y="397129"/>
                  <a:pt x="1460168" y="352590"/>
                  <a:pt x="1460168" y="295890"/>
                </a:cubicBezTo>
                <a:cubicBezTo>
                  <a:pt x="1460168" y="267618"/>
                  <a:pt x="1464273" y="241979"/>
                  <a:pt x="1472484" y="219826"/>
                </a:cubicBezTo>
                <a:cubicBezTo>
                  <a:pt x="1480695" y="197673"/>
                  <a:pt x="1492391" y="178464"/>
                  <a:pt x="1507340" y="162894"/>
                </a:cubicBezTo>
                <a:cubicBezTo>
                  <a:pt x="1522290" y="147325"/>
                  <a:pt x="1540415" y="135397"/>
                  <a:pt x="1561174" y="127341"/>
                </a:cubicBezTo>
                <a:cubicBezTo>
                  <a:pt x="1581855" y="119363"/>
                  <a:pt x="1605015" y="115335"/>
                  <a:pt x="1629957" y="115335"/>
                </a:cubicBezTo>
                <a:close/>
                <a:moveTo>
                  <a:pt x="784576" y="115335"/>
                </a:moveTo>
                <a:cubicBezTo>
                  <a:pt x="836395" y="115335"/>
                  <a:pt x="875977" y="130517"/>
                  <a:pt x="902235" y="160493"/>
                </a:cubicBezTo>
                <a:cubicBezTo>
                  <a:pt x="928416" y="190315"/>
                  <a:pt x="941661" y="230980"/>
                  <a:pt x="941661" y="281328"/>
                </a:cubicBezTo>
                <a:lnTo>
                  <a:pt x="941661" y="320522"/>
                </a:lnTo>
                <a:lnTo>
                  <a:pt x="711145" y="320522"/>
                </a:lnTo>
                <a:cubicBezTo>
                  <a:pt x="712462" y="344612"/>
                  <a:pt x="718969" y="363744"/>
                  <a:pt x="730587" y="377454"/>
                </a:cubicBezTo>
                <a:cubicBezTo>
                  <a:pt x="742593" y="391629"/>
                  <a:pt x="760951" y="398833"/>
                  <a:pt x="785273" y="398833"/>
                </a:cubicBezTo>
                <a:cubicBezTo>
                  <a:pt x="817573" y="398833"/>
                  <a:pt x="836628" y="386207"/>
                  <a:pt x="843444" y="360181"/>
                </a:cubicBezTo>
                <a:lnTo>
                  <a:pt x="843522" y="360181"/>
                </a:lnTo>
                <a:lnTo>
                  <a:pt x="937556" y="360181"/>
                </a:lnTo>
                <a:cubicBezTo>
                  <a:pt x="931282" y="397361"/>
                  <a:pt x="915868" y="426098"/>
                  <a:pt x="891701" y="445540"/>
                </a:cubicBezTo>
                <a:cubicBezTo>
                  <a:pt x="867146" y="465292"/>
                  <a:pt x="831128" y="475284"/>
                  <a:pt x="784653" y="475284"/>
                </a:cubicBezTo>
                <a:cubicBezTo>
                  <a:pt x="728651" y="475284"/>
                  <a:pt x="685816" y="459482"/>
                  <a:pt x="657467" y="428267"/>
                </a:cubicBezTo>
                <a:cubicBezTo>
                  <a:pt x="629117" y="397129"/>
                  <a:pt x="614787" y="352590"/>
                  <a:pt x="614787" y="295890"/>
                </a:cubicBezTo>
                <a:cubicBezTo>
                  <a:pt x="614787" y="267618"/>
                  <a:pt x="618892" y="241979"/>
                  <a:pt x="627103" y="219826"/>
                </a:cubicBezTo>
                <a:cubicBezTo>
                  <a:pt x="635313" y="197673"/>
                  <a:pt x="647010" y="178464"/>
                  <a:pt x="661959" y="162894"/>
                </a:cubicBezTo>
                <a:cubicBezTo>
                  <a:pt x="676909" y="147325"/>
                  <a:pt x="695034" y="135397"/>
                  <a:pt x="715793" y="127341"/>
                </a:cubicBezTo>
                <a:cubicBezTo>
                  <a:pt x="736474" y="119363"/>
                  <a:pt x="759634" y="115335"/>
                  <a:pt x="784576" y="115335"/>
                </a:cubicBezTo>
                <a:close/>
                <a:moveTo>
                  <a:pt x="2576886" y="97288"/>
                </a:moveTo>
                <a:cubicBezTo>
                  <a:pt x="2499118" y="97288"/>
                  <a:pt x="2435834" y="160571"/>
                  <a:pt x="2435834" y="238339"/>
                </a:cubicBezTo>
                <a:cubicBezTo>
                  <a:pt x="2435834" y="316108"/>
                  <a:pt x="2499118" y="379391"/>
                  <a:pt x="2576886" y="379391"/>
                </a:cubicBezTo>
                <a:cubicBezTo>
                  <a:pt x="2654654" y="379391"/>
                  <a:pt x="2717938" y="316108"/>
                  <a:pt x="2717938" y="238339"/>
                </a:cubicBezTo>
                <a:cubicBezTo>
                  <a:pt x="2717938" y="160571"/>
                  <a:pt x="2654654" y="97288"/>
                  <a:pt x="2576886" y="97288"/>
                </a:cubicBezTo>
                <a:close/>
                <a:moveTo>
                  <a:pt x="2196642" y="10456"/>
                </a:moveTo>
                <a:lnTo>
                  <a:pt x="2290522" y="10456"/>
                </a:lnTo>
                <a:lnTo>
                  <a:pt x="2290522" y="466298"/>
                </a:lnTo>
                <a:lnTo>
                  <a:pt x="2196642" y="466298"/>
                </a:lnTo>
                <a:close/>
                <a:moveTo>
                  <a:pt x="986665" y="10456"/>
                </a:moveTo>
                <a:lnTo>
                  <a:pt x="1080545" y="10456"/>
                </a:lnTo>
                <a:lnTo>
                  <a:pt x="1080545" y="475593"/>
                </a:lnTo>
                <a:lnTo>
                  <a:pt x="1065905" y="475593"/>
                </a:lnTo>
                <a:cubicBezTo>
                  <a:pt x="1022063" y="475129"/>
                  <a:pt x="986665" y="438878"/>
                  <a:pt x="986665" y="394107"/>
                </a:cubicBezTo>
                <a:close/>
                <a:moveTo>
                  <a:pt x="476601" y="10456"/>
                </a:moveTo>
                <a:lnTo>
                  <a:pt x="480087" y="10456"/>
                </a:lnTo>
                <a:lnTo>
                  <a:pt x="569319" y="10456"/>
                </a:lnTo>
                <a:lnTo>
                  <a:pt x="572882" y="10456"/>
                </a:lnTo>
                <a:lnTo>
                  <a:pt x="572882" y="81330"/>
                </a:lnTo>
                <a:lnTo>
                  <a:pt x="572882" y="84893"/>
                </a:lnTo>
                <a:lnTo>
                  <a:pt x="569319" y="84893"/>
                </a:lnTo>
                <a:lnTo>
                  <a:pt x="480087" y="84893"/>
                </a:lnTo>
                <a:lnTo>
                  <a:pt x="476601" y="84893"/>
                </a:lnTo>
                <a:lnTo>
                  <a:pt x="476601" y="81330"/>
                </a:lnTo>
                <a:close/>
                <a:moveTo>
                  <a:pt x="58559" y="6331"/>
                </a:moveTo>
                <a:cubicBezTo>
                  <a:pt x="67660" y="8597"/>
                  <a:pt x="76103" y="13593"/>
                  <a:pt x="82648" y="20990"/>
                </a:cubicBezTo>
                <a:lnTo>
                  <a:pt x="326565" y="298911"/>
                </a:lnTo>
                <a:lnTo>
                  <a:pt x="326565" y="10456"/>
                </a:lnTo>
                <a:lnTo>
                  <a:pt x="421064" y="10456"/>
                </a:lnTo>
                <a:lnTo>
                  <a:pt x="421064" y="424781"/>
                </a:lnTo>
                <a:cubicBezTo>
                  <a:pt x="421064" y="444610"/>
                  <a:pt x="408903" y="462348"/>
                  <a:pt x="390545" y="469397"/>
                </a:cubicBezTo>
                <a:cubicBezTo>
                  <a:pt x="385123" y="471488"/>
                  <a:pt x="379391" y="472495"/>
                  <a:pt x="373814" y="472495"/>
                </a:cubicBezTo>
                <a:cubicBezTo>
                  <a:pt x="360491" y="472495"/>
                  <a:pt x="347556" y="466918"/>
                  <a:pt x="338416" y="456461"/>
                </a:cubicBezTo>
                <a:lnTo>
                  <a:pt x="94499" y="178541"/>
                </a:lnTo>
                <a:lnTo>
                  <a:pt x="94499" y="466298"/>
                </a:lnTo>
                <a:lnTo>
                  <a:pt x="0" y="466298"/>
                </a:lnTo>
                <a:lnTo>
                  <a:pt x="0" y="52748"/>
                </a:lnTo>
                <a:cubicBezTo>
                  <a:pt x="0" y="32841"/>
                  <a:pt x="12161" y="15103"/>
                  <a:pt x="30519" y="8055"/>
                </a:cubicBezTo>
                <a:cubicBezTo>
                  <a:pt x="39698" y="4530"/>
                  <a:pt x="49457" y="4066"/>
                  <a:pt x="58559" y="6331"/>
                </a:cubicBezTo>
                <a:close/>
                <a:moveTo>
                  <a:pt x="2576886" y="0"/>
                </a:moveTo>
                <a:cubicBezTo>
                  <a:pt x="2708333" y="0"/>
                  <a:pt x="2815303" y="106970"/>
                  <a:pt x="2815303" y="238417"/>
                </a:cubicBezTo>
                <a:cubicBezTo>
                  <a:pt x="2815303" y="287061"/>
                  <a:pt x="2800586" y="332296"/>
                  <a:pt x="2775489" y="370096"/>
                </a:cubicBezTo>
                <a:lnTo>
                  <a:pt x="2775412" y="370096"/>
                </a:lnTo>
                <a:lnTo>
                  <a:pt x="2855736" y="450420"/>
                </a:lnTo>
                <a:lnTo>
                  <a:pt x="2789354" y="516802"/>
                </a:lnTo>
                <a:lnTo>
                  <a:pt x="2709108" y="436555"/>
                </a:lnTo>
                <a:cubicBezTo>
                  <a:pt x="2671230" y="461962"/>
                  <a:pt x="2625762" y="476756"/>
                  <a:pt x="2576886" y="476756"/>
                </a:cubicBezTo>
                <a:cubicBezTo>
                  <a:pt x="2445439" y="476756"/>
                  <a:pt x="2338469" y="369864"/>
                  <a:pt x="2338469" y="238417"/>
                </a:cubicBezTo>
                <a:cubicBezTo>
                  <a:pt x="2338469" y="106970"/>
                  <a:pt x="2445439" y="0"/>
                  <a:pt x="2576886" y="0"/>
                </a:cubicBezTo>
                <a:close/>
              </a:path>
            </a:pathLst>
          </a:custGeom>
          <a:solidFill>
            <a:schemeClr val="bg1"/>
          </a:solidFill>
          <a:ln w="774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15924496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2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224E5460-3920-6E99-455B-F732E037D2C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39687882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3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61431397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4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6857054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5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14935938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6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6334461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7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61397538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8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57240229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9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43480071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0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3813718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1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userDrawn="1"/>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7903007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png"/><Relationship Id="rId5" Type="http://schemas.openxmlformats.org/officeDocument/2006/relationships/slideLayout" Target="../slideLayouts/slideLayout5.xml"/><Relationship Id="rId61" Type="http://schemas.openxmlformats.org/officeDocument/2006/relationships/image" Target="../media/image4.png"/><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2.sv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image" Target="../media/image5.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slideLayout" Target="../slideLayouts/slideLayout58.xml"/><Relationship Id="rId1" Type="http://schemas.openxmlformats.org/officeDocument/2006/relationships/slideLayout" Target="../slideLayouts/slideLayout57.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theme" Target="../theme/theme3.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image" Target="../media/image37.pn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9" Type="http://schemas.openxmlformats.org/officeDocument/2006/relationships/slideLayout" Target="../slideLayouts/slideLayout118.xml"/><Relationship Id="rId21" Type="http://schemas.openxmlformats.org/officeDocument/2006/relationships/slideLayout" Target="../slideLayouts/slideLayout100.xml"/><Relationship Id="rId34" Type="http://schemas.openxmlformats.org/officeDocument/2006/relationships/slideLayout" Target="../slideLayouts/slideLayout113.xml"/><Relationship Id="rId42" Type="http://schemas.openxmlformats.org/officeDocument/2006/relationships/slideLayout" Target="../slideLayouts/slideLayout121.xml"/><Relationship Id="rId47" Type="http://schemas.openxmlformats.org/officeDocument/2006/relationships/tags" Target="../tags/tag2.xml"/><Relationship Id="rId50" Type="http://schemas.openxmlformats.org/officeDocument/2006/relationships/image" Target="../media/image37.png"/><Relationship Id="rId7" Type="http://schemas.openxmlformats.org/officeDocument/2006/relationships/slideLayout" Target="../slideLayouts/slideLayout8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9" Type="http://schemas.openxmlformats.org/officeDocument/2006/relationships/slideLayout" Target="../slideLayouts/slideLayout108.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32" Type="http://schemas.openxmlformats.org/officeDocument/2006/relationships/slideLayout" Target="../slideLayouts/slideLayout111.xml"/><Relationship Id="rId37" Type="http://schemas.openxmlformats.org/officeDocument/2006/relationships/slideLayout" Target="../slideLayouts/slideLayout116.xml"/><Relationship Id="rId40" Type="http://schemas.openxmlformats.org/officeDocument/2006/relationships/slideLayout" Target="../slideLayouts/slideLayout119.xml"/><Relationship Id="rId45" Type="http://schemas.openxmlformats.org/officeDocument/2006/relationships/slideLayout" Target="../slideLayouts/slideLayout124.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slideLayout" Target="../slideLayouts/slideLayout107.xml"/><Relationship Id="rId36" Type="http://schemas.openxmlformats.org/officeDocument/2006/relationships/slideLayout" Target="../slideLayouts/slideLayout115.xml"/><Relationship Id="rId49" Type="http://schemas.openxmlformats.org/officeDocument/2006/relationships/image" Target="../media/image42.emf"/><Relationship Id="rId10" Type="http://schemas.openxmlformats.org/officeDocument/2006/relationships/slideLayout" Target="../slideLayouts/slideLayout89.xml"/><Relationship Id="rId19" Type="http://schemas.openxmlformats.org/officeDocument/2006/relationships/slideLayout" Target="../slideLayouts/slideLayout98.xml"/><Relationship Id="rId31" Type="http://schemas.openxmlformats.org/officeDocument/2006/relationships/slideLayout" Target="../slideLayouts/slideLayout110.xml"/><Relationship Id="rId44" Type="http://schemas.openxmlformats.org/officeDocument/2006/relationships/slideLayout" Target="../slideLayouts/slideLayout123.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slideLayout" Target="../slideLayouts/slideLayout106.xml"/><Relationship Id="rId30" Type="http://schemas.openxmlformats.org/officeDocument/2006/relationships/slideLayout" Target="../slideLayouts/slideLayout109.xml"/><Relationship Id="rId35" Type="http://schemas.openxmlformats.org/officeDocument/2006/relationships/slideLayout" Target="../slideLayouts/slideLayout114.xml"/><Relationship Id="rId43" Type="http://schemas.openxmlformats.org/officeDocument/2006/relationships/slideLayout" Target="../slideLayouts/slideLayout122.xml"/><Relationship Id="rId48" Type="http://schemas.openxmlformats.org/officeDocument/2006/relationships/oleObject" Target="../embeddings/oleObject1.bin"/><Relationship Id="rId8" Type="http://schemas.openxmlformats.org/officeDocument/2006/relationships/slideLayout" Target="../slideLayouts/slideLayout87.xml"/><Relationship Id="rId3" Type="http://schemas.openxmlformats.org/officeDocument/2006/relationships/slideLayout" Target="../slideLayouts/slideLayout82.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33" Type="http://schemas.openxmlformats.org/officeDocument/2006/relationships/slideLayout" Target="../slideLayouts/slideLayout112.xml"/><Relationship Id="rId38" Type="http://schemas.openxmlformats.org/officeDocument/2006/relationships/slideLayout" Target="../slideLayouts/slideLayout117.xml"/><Relationship Id="rId46" Type="http://schemas.openxmlformats.org/officeDocument/2006/relationships/theme" Target="../theme/theme4.xml"/><Relationship Id="rId20" Type="http://schemas.openxmlformats.org/officeDocument/2006/relationships/slideLayout" Target="../slideLayouts/slideLayout99.xml"/><Relationship Id="rId41" Type="http://schemas.openxmlformats.org/officeDocument/2006/relationships/slideLayout" Target="../slideLayouts/slideLayout120.xml"/><Relationship Id="rId1" Type="http://schemas.openxmlformats.org/officeDocument/2006/relationships/slideLayout" Target="../slideLayouts/slideLayout80.xml"/><Relationship Id="rId6"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21" Type="http://schemas.openxmlformats.org/officeDocument/2006/relationships/slideLayout" Target="../slideLayouts/slideLayout145.xml"/><Relationship Id="rId34" Type="http://schemas.openxmlformats.org/officeDocument/2006/relationships/slideLayout" Target="../slideLayouts/slideLayout158.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33" Type="http://schemas.openxmlformats.org/officeDocument/2006/relationships/slideLayout" Target="../slideLayouts/slideLayout157.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32" Type="http://schemas.openxmlformats.org/officeDocument/2006/relationships/slideLayout" Target="../slideLayouts/slideLayout156.xml"/><Relationship Id="rId37" Type="http://schemas.openxmlformats.org/officeDocument/2006/relationships/image" Target="../media/image37.png"/><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36" Type="http://schemas.openxmlformats.org/officeDocument/2006/relationships/theme" Target="../theme/theme5.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slideLayout" Target="../slideLayouts/slideLayout155.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 Id="rId35" Type="http://schemas.openxmlformats.org/officeDocument/2006/relationships/slideLayout" Target="../slideLayouts/slideLayout159.xml"/><Relationship Id="rId8" Type="http://schemas.openxmlformats.org/officeDocument/2006/relationships/slideLayout" Target="../slideLayouts/slideLayout132.xml"/><Relationship Id="rId3" Type="http://schemas.openxmlformats.org/officeDocument/2006/relationships/slideLayout" Target="../slideLayouts/slideLayout12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9" Type="http://schemas.openxmlformats.org/officeDocument/2006/relationships/slideLayout" Target="../slideLayouts/slideLayout198.xml"/><Relationship Id="rId21" Type="http://schemas.openxmlformats.org/officeDocument/2006/relationships/slideLayout" Target="../slideLayouts/slideLayout180.xml"/><Relationship Id="rId34" Type="http://schemas.openxmlformats.org/officeDocument/2006/relationships/slideLayout" Target="../slideLayouts/slideLayout193.xml"/><Relationship Id="rId42" Type="http://schemas.openxmlformats.org/officeDocument/2006/relationships/slideLayout" Target="../slideLayouts/slideLayout201.xml"/><Relationship Id="rId47" Type="http://schemas.openxmlformats.org/officeDocument/2006/relationships/slideLayout" Target="../slideLayouts/slideLayout206.xml"/><Relationship Id="rId50" Type="http://schemas.openxmlformats.org/officeDocument/2006/relationships/slideLayout" Target="../slideLayouts/slideLayout209.xml"/><Relationship Id="rId55" Type="http://schemas.openxmlformats.org/officeDocument/2006/relationships/image" Target="../media/image1.png"/><Relationship Id="rId7" Type="http://schemas.openxmlformats.org/officeDocument/2006/relationships/slideLayout" Target="../slideLayouts/slideLayout166.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9" Type="http://schemas.openxmlformats.org/officeDocument/2006/relationships/slideLayout" Target="../slideLayouts/slideLayout188.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32" Type="http://schemas.openxmlformats.org/officeDocument/2006/relationships/slideLayout" Target="../slideLayouts/slideLayout191.xml"/><Relationship Id="rId37" Type="http://schemas.openxmlformats.org/officeDocument/2006/relationships/slideLayout" Target="../slideLayouts/slideLayout196.xml"/><Relationship Id="rId40" Type="http://schemas.openxmlformats.org/officeDocument/2006/relationships/slideLayout" Target="../slideLayouts/slideLayout199.xml"/><Relationship Id="rId45" Type="http://schemas.openxmlformats.org/officeDocument/2006/relationships/slideLayout" Target="../slideLayouts/slideLayout204.xml"/><Relationship Id="rId53" Type="http://schemas.openxmlformats.org/officeDocument/2006/relationships/slideLayout" Target="../slideLayouts/slideLayout212.xml"/><Relationship Id="rId58" Type="http://schemas.openxmlformats.org/officeDocument/2006/relationships/image" Target="../media/image4.png"/><Relationship Id="rId5" Type="http://schemas.openxmlformats.org/officeDocument/2006/relationships/slideLayout" Target="../slideLayouts/slideLayout164.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slideLayout" Target="../slideLayouts/slideLayout186.xml"/><Relationship Id="rId30" Type="http://schemas.openxmlformats.org/officeDocument/2006/relationships/slideLayout" Target="../slideLayouts/slideLayout189.xml"/><Relationship Id="rId35" Type="http://schemas.openxmlformats.org/officeDocument/2006/relationships/slideLayout" Target="../slideLayouts/slideLayout194.xml"/><Relationship Id="rId43" Type="http://schemas.openxmlformats.org/officeDocument/2006/relationships/slideLayout" Target="../slideLayouts/slideLayout202.xml"/><Relationship Id="rId48" Type="http://schemas.openxmlformats.org/officeDocument/2006/relationships/slideLayout" Target="../slideLayouts/slideLayout207.xml"/><Relationship Id="rId56" Type="http://schemas.openxmlformats.org/officeDocument/2006/relationships/image" Target="../media/image2.svg"/><Relationship Id="rId8" Type="http://schemas.openxmlformats.org/officeDocument/2006/relationships/slideLayout" Target="../slideLayouts/slideLayout167.xml"/><Relationship Id="rId51" Type="http://schemas.openxmlformats.org/officeDocument/2006/relationships/slideLayout" Target="../slideLayouts/slideLayout210.xml"/><Relationship Id="rId3" Type="http://schemas.openxmlformats.org/officeDocument/2006/relationships/slideLayout" Target="../slideLayouts/slideLayout162.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33" Type="http://schemas.openxmlformats.org/officeDocument/2006/relationships/slideLayout" Target="../slideLayouts/slideLayout192.xml"/><Relationship Id="rId38" Type="http://schemas.openxmlformats.org/officeDocument/2006/relationships/slideLayout" Target="../slideLayouts/slideLayout197.xml"/><Relationship Id="rId46" Type="http://schemas.openxmlformats.org/officeDocument/2006/relationships/slideLayout" Target="../slideLayouts/slideLayout205.xml"/><Relationship Id="rId59" Type="http://schemas.openxmlformats.org/officeDocument/2006/relationships/image" Target="../media/image5.svg"/><Relationship Id="rId20" Type="http://schemas.openxmlformats.org/officeDocument/2006/relationships/slideLayout" Target="../slideLayouts/slideLayout179.xml"/><Relationship Id="rId41" Type="http://schemas.openxmlformats.org/officeDocument/2006/relationships/slideLayout" Target="../slideLayouts/slideLayout200.xml"/><Relationship Id="rId54" Type="http://schemas.openxmlformats.org/officeDocument/2006/relationships/theme" Target="../theme/theme6.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28" Type="http://schemas.openxmlformats.org/officeDocument/2006/relationships/slideLayout" Target="../slideLayouts/slideLayout187.xml"/><Relationship Id="rId36" Type="http://schemas.openxmlformats.org/officeDocument/2006/relationships/slideLayout" Target="../slideLayouts/slideLayout195.xml"/><Relationship Id="rId49" Type="http://schemas.openxmlformats.org/officeDocument/2006/relationships/slideLayout" Target="../slideLayouts/slideLayout208.xml"/><Relationship Id="rId57" Type="http://schemas.openxmlformats.org/officeDocument/2006/relationships/image" Target="../media/image3.png"/><Relationship Id="rId10" Type="http://schemas.openxmlformats.org/officeDocument/2006/relationships/slideLayout" Target="../slideLayouts/slideLayout169.xml"/><Relationship Id="rId31" Type="http://schemas.openxmlformats.org/officeDocument/2006/relationships/slideLayout" Target="../slideLayouts/slideLayout190.xml"/><Relationship Id="rId44" Type="http://schemas.openxmlformats.org/officeDocument/2006/relationships/slideLayout" Target="../slideLayouts/slideLayout203.xml"/><Relationship Id="rId52" Type="http://schemas.openxmlformats.org/officeDocument/2006/relationships/slideLayout" Target="../slideLayouts/slideLayout21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26" Type="http://schemas.openxmlformats.org/officeDocument/2006/relationships/slideLayout" Target="../slideLayouts/slideLayout238.xml"/><Relationship Id="rId21" Type="http://schemas.openxmlformats.org/officeDocument/2006/relationships/slideLayout" Target="../slideLayouts/slideLayout233.xml"/><Relationship Id="rId34" Type="http://schemas.openxmlformats.org/officeDocument/2006/relationships/slideLayout" Target="../slideLayouts/slideLayout246.xml"/><Relationship Id="rId7" Type="http://schemas.openxmlformats.org/officeDocument/2006/relationships/slideLayout" Target="../slideLayouts/slideLayout219.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5" Type="http://schemas.openxmlformats.org/officeDocument/2006/relationships/slideLayout" Target="../slideLayouts/slideLayout237.xml"/><Relationship Id="rId33" Type="http://schemas.openxmlformats.org/officeDocument/2006/relationships/slideLayout" Target="../slideLayouts/slideLayout245.xml"/><Relationship Id="rId38" Type="http://schemas.openxmlformats.org/officeDocument/2006/relationships/image" Target="../media/image32.png"/><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0" Type="http://schemas.openxmlformats.org/officeDocument/2006/relationships/slideLayout" Target="../slideLayouts/slideLayout232.xml"/><Relationship Id="rId29" Type="http://schemas.openxmlformats.org/officeDocument/2006/relationships/slideLayout" Target="../slideLayouts/slideLayout241.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slideLayout" Target="../slideLayouts/slideLayout223.xml"/><Relationship Id="rId24" Type="http://schemas.openxmlformats.org/officeDocument/2006/relationships/slideLayout" Target="../slideLayouts/slideLayout236.xml"/><Relationship Id="rId32" Type="http://schemas.openxmlformats.org/officeDocument/2006/relationships/slideLayout" Target="../slideLayouts/slideLayout244.xml"/><Relationship Id="rId37" Type="http://schemas.openxmlformats.org/officeDocument/2006/relationships/theme" Target="../theme/theme7.xml"/><Relationship Id="rId5" Type="http://schemas.openxmlformats.org/officeDocument/2006/relationships/slideLayout" Target="../slideLayouts/slideLayout217.xml"/><Relationship Id="rId15" Type="http://schemas.openxmlformats.org/officeDocument/2006/relationships/slideLayout" Target="../slideLayouts/slideLayout227.xml"/><Relationship Id="rId23" Type="http://schemas.openxmlformats.org/officeDocument/2006/relationships/slideLayout" Target="../slideLayouts/slideLayout235.xml"/><Relationship Id="rId28" Type="http://schemas.openxmlformats.org/officeDocument/2006/relationships/slideLayout" Target="../slideLayouts/slideLayout240.xml"/><Relationship Id="rId36" Type="http://schemas.openxmlformats.org/officeDocument/2006/relationships/slideLayout" Target="../slideLayouts/slideLayout248.xml"/><Relationship Id="rId10" Type="http://schemas.openxmlformats.org/officeDocument/2006/relationships/slideLayout" Target="../slideLayouts/slideLayout222.xml"/><Relationship Id="rId19" Type="http://schemas.openxmlformats.org/officeDocument/2006/relationships/slideLayout" Target="../slideLayouts/slideLayout231.xml"/><Relationship Id="rId31" Type="http://schemas.openxmlformats.org/officeDocument/2006/relationships/slideLayout" Target="../slideLayouts/slideLayout243.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slideLayout" Target="../slideLayouts/slideLayout226.xml"/><Relationship Id="rId22" Type="http://schemas.openxmlformats.org/officeDocument/2006/relationships/slideLayout" Target="../slideLayouts/slideLayout234.xml"/><Relationship Id="rId27" Type="http://schemas.openxmlformats.org/officeDocument/2006/relationships/slideLayout" Target="../slideLayouts/slideLayout239.xml"/><Relationship Id="rId30" Type="http://schemas.openxmlformats.org/officeDocument/2006/relationships/slideLayout" Target="../slideLayouts/slideLayout242.xml"/><Relationship Id="rId35" Type="http://schemas.openxmlformats.org/officeDocument/2006/relationships/slideLayout" Target="../slideLayouts/slideLayout247.xml"/><Relationship Id="rId8" Type="http://schemas.openxmlformats.org/officeDocument/2006/relationships/slideLayout" Target="../slideLayouts/slideLayout220.xml"/><Relationship Id="rId3" Type="http://schemas.openxmlformats.org/officeDocument/2006/relationships/slideLayout" Target="../slideLayouts/slideLayout2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2" name="Column Markers Bottom">
            <a:extLst>
              <a:ext uri="{FF2B5EF4-FFF2-40B4-BE49-F238E27FC236}">
                <a16:creationId xmlns:a16="http://schemas.microsoft.com/office/drawing/2014/main" id="{E1D6B4B9-1099-AE79-D01E-0EAEC19E45AF}"/>
              </a:ext>
            </a:extLst>
          </p:cNvPr>
          <p:cNvGrpSpPr>
            <a:grpSpLocks noGrp="1" noUngrp="1" noRot="1" noMove="1" noResize="1"/>
          </p:cNvGrpSpPr>
          <p:nvPr userDrawn="1"/>
        </p:nvGrpSpPr>
        <p:grpSpPr>
          <a:xfrm>
            <a:off x="292100" y="6871945"/>
            <a:ext cx="11607801" cy="163023"/>
            <a:chOff x="292100" y="6871945"/>
            <a:chExt cx="11607801" cy="163023"/>
          </a:xfrm>
        </p:grpSpPr>
        <p:grpSp>
          <p:nvGrpSpPr>
            <p:cNvPr id="152" name="Group 151">
              <a:extLst>
                <a:ext uri="{FF2B5EF4-FFF2-40B4-BE49-F238E27FC236}">
                  <a16:creationId xmlns:a16="http://schemas.microsoft.com/office/drawing/2014/main" id="{BE110526-ADF0-FAFE-E6F6-7C0C9BCC4779}"/>
                </a:ext>
              </a:extLst>
            </p:cNvPr>
            <p:cNvGrpSpPr>
              <a:grpSpLocks noGrp="1" noUngrp="1" noRot="1" noMove="1" noResize="1"/>
            </p:cNvGrpSpPr>
            <p:nvPr userDrawn="1"/>
          </p:nvGrpSpPr>
          <p:grpSpPr>
            <a:xfrm rot="10800000">
              <a:off x="292100" y="6871945"/>
              <a:ext cx="11607801" cy="137160"/>
              <a:chOff x="292100" y="-165576"/>
              <a:chExt cx="11607801" cy="137160"/>
            </a:xfrm>
          </p:grpSpPr>
          <p:cxnSp>
            <p:nvCxnSpPr>
              <p:cNvPr id="153" name="Straight Connector 152">
                <a:extLst>
                  <a:ext uri="{FF2B5EF4-FFF2-40B4-BE49-F238E27FC236}">
                    <a16:creationId xmlns:a16="http://schemas.microsoft.com/office/drawing/2014/main" id="{80A4DF54-7035-6C14-2C30-2B436C500B8E}"/>
                  </a:ext>
                </a:extLst>
              </p:cNvPr>
              <p:cNvCxnSpPr>
                <a:cxnSpLocks noGrp="1" noRot="1" noMove="1" noResize="1" noEditPoints="1" noAdjustHandles="1" noChangeArrowheads="1" noChangeShapeType="1"/>
              </p:cNvCxnSpPr>
              <p:nvPr userDrawn="1"/>
            </p:nvCxnSpPr>
            <p:spPr>
              <a:xfrm>
                <a:off x="292100"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54" name="Straight Connector 153">
                <a:extLst>
                  <a:ext uri="{FF2B5EF4-FFF2-40B4-BE49-F238E27FC236}">
                    <a16:creationId xmlns:a16="http://schemas.microsoft.com/office/drawing/2014/main" id="{670D1442-8E01-B2E8-926B-7888C14EFD17}"/>
                  </a:ext>
                </a:extLst>
              </p:cNvPr>
              <p:cNvCxnSpPr>
                <a:cxnSpLocks noGrp="1" noRot="1" noMove="1" noResize="1" noEditPoints="1" noAdjustHandles="1" noChangeArrowheads="1" noChangeShapeType="1"/>
              </p:cNvCxnSpPr>
              <p:nvPr userDrawn="1"/>
            </p:nvCxnSpPr>
            <p:spPr>
              <a:xfrm>
                <a:off x="1049338"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55" name="Straight Connector 154">
                <a:extLst>
                  <a:ext uri="{FF2B5EF4-FFF2-40B4-BE49-F238E27FC236}">
                    <a16:creationId xmlns:a16="http://schemas.microsoft.com/office/drawing/2014/main" id="{90532B25-CA4D-3B6A-6E0F-1B2848BEE2A2}"/>
                  </a:ext>
                </a:extLst>
              </p:cNvPr>
              <p:cNvCxnSpPr>
                <a:cxnSpLocks noGrp="1" noRot="1" noMove="1" noResize="1" noEditPoints="1" noAdjustHandles="1" noChangeArrowheads="1" noChangeShapeType="1"/>
              </p:cNvCxnSpPr>
              <p:nvPr userDrawn="1"/>
            </p:nvCxnSpPr>
            <p:spPr>
              <a:xfrm>
                <a:off x="1277937"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56" name="Straight Connector 155">
                <a:extLst>
                  <a:ext uri="{FF2B5EF4-FFF2-40B4-BE49-F238E27FC236}">
                    <a16:creationId xmlns:a16="http://schemas.microsoft.com/office/drawing/2014/main" id="{F267E6E1-987D-98AF-DF0F-3B2926D01225}"/>
                  </a:ext>
                </a:extLst>
              </p:cNvPr>
              <p:cNvCxnSpPr>
                <a:cxnSpLocks noGrp="1" noRot="1" noMove="1" noResize="1" noEditPoints="1" noAdjustHandles="1" noChangeArrowheads="1" noChangeShapeType="1"/>
              </p:cNvCxnSpPr>
              <p:nvPr userDrawn="1"/>
            </p:nvCxnSpPr>
            <p:spPr>
              <a:xfrm>
                <a:off x="2035175"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57" name="Straight Connector 156">
                <a:extLst>
                  <a:ext uri="{FF2B5EF4-FFF2-40B4-BE49-F238E27FC236}">
                    <a16:creationId xmlns:a16="http://schemas.microsoft.com/office/drawing/2014/main" id="{D2A9C692-7128-365D-B823-06548244B596}"/>
                  </a:ext>
                </a:extLst>
              </p:cNvPr>
              <p:cNvCxnSpPr>
                <a:cxnSpLocks noGrp="1" noRot="1" noMove="1" noResize="1" noEditPoints="1" noAdjustHandles="1" noChangeArrowheads="1" noChangeShapeType="1"/>
              </p:cNvCxnSpPr>
              <p:nvPr userDrawn="1"/>
            </p:nvCxnSpPr>
            <p:spPr>
              <a:xfrm>
                <a:off x="2265363"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58" name="Straight Connector 157">
                <a:extLst>
                  <a:ext uri="{FF2B5EF4-FFF2-40B4-BE49-F238E27FC236}">
                    <a16:creationId xmlns:a16="http://schemas.microsoft.com/office/drawing/2014/main" id="{04F05B7A-E93D-CFB9-B6F9-1B2BF080916F}"/>
                  </a:ext>
                </a:extLst>
              </p:cNvPr>
              <p:cNvCxnSpPr>
                <a:cxnSpLocks noGrp="1" noRot="1" noMove="1" noResize="1" noEditPoints="1" noAdjustHandles="1" noChangeArrowheads="1" noChangeShapeType="1"/>
              </p:cNvCxnSpPr>
              <p:nvPr userDrawn="1"/>
            </p:nvCxnSpPr>
            <p:spPr>
              <a:xfrm>
                <a:off x="3022601"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cxnSp>
            <p:nvCxnSpPr>
              <p:cNvPr id="159" name="Straight Connector 158">
                <a:extLst>
                  <a:ext uri="{FF2B5EF4-FFF2-40B4-BE49-F238E27FC236}">
                    <a16:creationId xmlns:a16="http://schemas.microsoft.com/office/drawing/2014/main" id="{1B89BC66-0F9A-1EC3-7665-B83A788EEA93}"/>
                  </a:ext>
                </a:extLst>
              </p:cNvPr>
              <p:cNvCxnSpPr>
                <a:cxnSpLocks noGrp="1" noRot="1" noMove="1" noResize="1" noEditPoints="1" noAdjustHandles="1" noChangeArrowheads="1" noChangeShapeType="1"/>
              </p:cNvCxnSpPr>
              <p:nvPr userDrawn="1"/>
            </p:nvCxnSpPr>
            <p:spPr>
              <a:xfrm>
                <a:off x="3251200"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cxnSp>
            <p:nvCxnSpPr>
              <p:cNvPr id="160" name="Straight Connector 159">
                <a:extLst>
                  <a:ext uri="{FF2B5EF4-FFF2-40B4-BE49-F238E27FC236}">
                    <a16:creationId xmlns:a16="http://schemas.microsoft.com/office/drawing/2014/main" id="{5FA024A8-3261-24D4-053C-69B151F55125}"/>
                  </a:ext>
                </a:extLst>
              </p:cNvPr>
              <p:cNvCxnSpPr>
                <a:cxnSpLocks noGrp="1" noRot="1" noMove="1" noResize="1" noEditPoints="1" noAdjustHandles="1" noChangeArrowheads="1" noChangeShapeType="1"/>
              </p:cNvCxnSpPr>
              <p:nvPr userDrawn="1"/>
            </p:nvCxnSpPr>
            <p:spPr>
              <a:xfrm>
                <a:off x="4008438" y="-165576"/>
                <a:ext cx="0" cy="137160"/>
              </a:xfrm>
              <a:prstGeom prst="line">
                <a:avLst/>
              </a:prstGeom>
              <a:ln w="3175">
                <a:solidFill>
                  <a:srgbClr val="FFC000"/>
                </a:solidFill>
              </a:ln>
            </p:spPr>
            <p:style>
              <a:lnRef idx="2">
                <a:schemeClr val="accent1"/>
              </a:lnRef>
              <a:fillRef idx="0">
                <a:schemeClr val="accent1"/>
              </a:fillRef>
              <a:effectRef idx="1">
                <a:schemeClr val="accent1"/>
              </a:effectRef>
              <a:fontRef idx="minor">
                <a:schemeClr val="tx1"/>
              </a:fontRef>
            </p:style>
          </p:cxnSp>
          <p:cxnSp>
            <p:nvCxnSpPr>
              <p:cNvPr id="161" name="Straight Connector 160">
                <a:extLst>
                  <a:ext uri="{FF2B5EF4-FFF2-40B4-BE49-F238E27FC236}">
                    <a16:creationId xmlns:a16="http://schemas.microsoft.com/office/drawing/2014/main" id="{156CB882-2C70-5A74-3737-0DACE12E6AB6}"/>
                  </a:ext>
                </a:extLst>
              </p:cNvPr>
              <p:cNvCxnSpPr>
                <a:cxnSpLocks noGrp="1" noRot="1" noMove="1" noResize="1" noEditPoints="1" noAdjustHandles="1" noChangeArrowheads="1" noChangeShapeType="1"/>
              </p:cNvCxnSpPr>
              <p:nvPr userDrawn="1"/>
            </p:nvCxnSpPr>
            <p:spPr>
              <a:xfrm>
                <a:off x="4237037" y="-165576"/>
                <a:ext cx="0" cy="137160"/>
              </a:xfrm>
              <a:prstGeom prst="line">
                <a:avLst/>
              </a:prstGeom>
              <a:ln w="3175">
                <a:solidFill>
                  <a:srgbClr val="FFC000"/>
                </a:solidFill>
              </a:ln>
            </p:spPr>
            <p:style>
              <a:lnRef idx="2">
                <a:schemeClr val="accent1"/>
              </a:lnRef>
              <a:fillRef idx="0">
                <a:schemeClr val="accent1"/>
              </a:fillRef>
              <a:effectRef idx="1">
                <a:schemeClr val="accent1"/>
              </a:effectRef>
              <a:fontRef idx="minor">
                <a:schemeClr val="tx1"/>
              </a:fontRef>
            </p:style>
          </p:cxnSp>
          <p:cxnSp>
            <p:nvCxnSpPr>
              <p:cNvPr id="162" name="Straight Connector 161">
                <a:extLst>
                  <a:ext uri="{FF2B5EF4-FFF2-40B4-BE49-F238E27FC236}">
                    <a16:creationId xmlns:a16="http://schemas.microsoft.com/office/drawing/2014/main" id="{1B48B91C-853B-5024-8ACD-DDD17A239487}"/>
                  </a:ext>
                </a:extLst>
              </p:cNvPr>
              <p:cNvCxnSpPr>
                <a:cxnSpLocks noGrp="1" noRot="1" noMove="1" noResize="1" noEditPoints="1" noAdjustHandles="1" noChangeArrowheads="1" noChangeShapeType="1"/>
              </p:cNvCxnSpPr>
              <p:nvPr userDrawn="1"/>
            </p:nvCxnSpPr>
            <p:spPr>
              <a:xfrm>
                <a:off x="4994275"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63" name="Straight Connector 162">
                <a:extLst>
                  <a:ext uri="{FF2B5EF4-FFF2-40B4-BE49-F238E27FC236}">
                    <a16:creationId xmlns:a16="http://schemas.microsoft.com/office/drawing/2014/main" id="{2CE81E04-31BD-6D43-C55A-C91681E50947}"/>
                  </a:ext>
                </a:extLst>
              </p:cNvPr>
              <p:cNvCxnSpPr>
                <a:cxnSpLocks noGrp="1" noRot="1" noMove="1" noResize="1" noEditPoints="1" noAdjustHandles="1" noChangeArrowheads="1" noChangeShapeType="1"/>
              </p:cNvCxnSpPr>
              <p:nvPr userDrawn="1"/>
            </p:nvCxnSpPr>
            <p:spPr>
              <a:xfrm>
                <a:off x="5222874"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64" name="Straight Connector 163">
                <a:extLst>
                  <a:ext uri="{FF2B5EF4-FFF2-40B4-BE49-F238E27FC236}">
                    <a16:creationId xmlns:a16="http://schemas.microsoft.com/office/drawing/2014/main" id="{7F8CDAA3-FD28-C355-23BC-499395BE300E}"/>
                  </a:ext>
                </a:extLst>
              </p:cNvPr>
              <p:cNvCxnSpPr>
                <a:cxnSpLocks noGrp="1" noRot="1" noMove="1" noResize="1" noEditPoints="1" noAdjustHandles="1" noChangeArrowheads="1" noChangeShapeType="1"/>
              </p:cNvCxnSpPr>
              <p:nvPr userDrawn="1"/>
            </p:nvCxnSpPr>
            <p:spPr>
              <a:xfrm>
                <a:off x="5980112"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cxnSp>
            <p:nvCxnSpPr>
              <p:cNvPr id="165" name="Straight Connector 164">
                <a:extLst>
                  <a:ext uri="{FF2B5EF4-FFF2-40B4-BE49-F238E27FC236}">
                    <a16:creationId xmlns:a16="http://schemas.microsoft.com/office/drawing/2014/main" id="{3D8E9710-60CE-3DA0-7382-C73A94CB0D80}"/>
                  </a:ext>
                </a:extLst>
              </p:cNvPr>
              <p:cNvCxnSpPr>
                <a:cxnSpLocks noGrp="1" noRot="1" noMove="1" noResize="1" noEditPoints="1" noAdjustHandles="1" noChangeArrowheads="1" noChangeShapeType="1"/>
              </p:cNvCxnSpPr>
              <p:nvPr userDrawn="1"/>
            </p:nvCxnSpPr>
            <p:spPr>
              <a:xfrm>
                <a:off x="6210300"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cxnSp>
            <p:nvCxnSpPr>
              <p:cNvPr id="166" name="Straight Connector 165">
                <a:extLst>
                  <a:ext uri="{FF2B5EF4-FFF2-40B4-BE49-F238E27FC236}">
                    <a16:creationId xmlns:a16="http://schemas.microsoft.com/office/drawing/2014/main" id="{733C6AA6-13D5-5435-C02F-8F0070698D66}"/>
                  </a:ext>
                </a:extLst>
              </p:cNvPr>
              <p:cNvCxnSpPr>
                <a:cxnSpLocks noGrp="1" noRot="1" noMove="1" noResize="1" noEditPoints="1" noAdjustHandles="1" noChangeArrowheads="1" noChangeShapeType="1"/>
              </p:cNvCxnSpPr>
              <p:nvPr userDrawn="1"/>
            </p:nvCxnSpPr>
            <p:spPr>
              <a:xfrm>
                <a:off x="6967538"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67" name="Straight Connector 166">
                <a:extLst>
                  <a:ext uri="{FF2B5EF4-FFF2-40B4-BE49-F238E27FC236}">
                    <a16:creationId xmlns:a16="http://schemas.microsoft.com/office/drawing/2014/main" id="{B015AFE0-C364-2ADE-866F-ED48C44A349C}"/>
                  </a:ext>
                </a:extLst>
              </p:cNvPr>
              <p:cNvCxnSpPr>
                <a:cxnSpLocks noGrp="1" noRot="1" noMove="1" noResize="1" noEditPoints="1" noAdjustHandles="1" noChangeArrowheads="1" noChangeShapeType="1"/>
              </p:cNvCxnSpPr>
              <p:nvPr userDrawn="1"/>
            </p:nvCxnSpPr>
            <p:spPr>
              <a:xfrm>
                <a:off x="7196137"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68" name="Straight Connector 167">
                <a:extLst>
                  <a:ext uri="{FF2B5EF4-FFF2-40B4-BE49-F238E27FC236}">
                    <a16:creationId xmlns:a16="http://schemas.microsoft.com/office/drawing/2014/main" id="{11395D59-3589-CE2B-EE20-7EAAF4EE0DD5}"/>
                  </a:ext>
                </a:extLst>
              </p:cNvPr>
              <p:cNvCxnSpPr>
                <a:cxnSpLocks noGrp="1" noRot="1" noMove="1" noResize="1" noEditPoints="1" noAdjustHandles="1" noChangeArrowheads="1" noChangeShapeType="1"/>
              </p:cNvCxnSpPr>
              <p:nvPr userDrawn="1"/>
            </p:nvCxnSpPr>
            <p:spPr>
              <a:xfrm>
                <a:off x="7953375" y="-165576"/>
                <a:ext cx="0" cy="137160"/>
              </a:xfrm>
              <a:prstGeom prst="line">
                <a:avLst/>
              </a:prstGeom>
              <a:ln w="3175">
                <a:solidFill>
                  <a:srgbClr val="FFC000"/>
                </a:solidFill>
              </a:ln>
            </p:spPr>
            <p:style>
              <a:lnRef idx="2">
                <a:schemeClr val="accent1"/>
              </a:lnRef>
              <a:fillRef idx="0">
                <a:schemeClr val="accent1"/>
              </a:fillRef>
              <a:effectRef idx="1">
                <a:schemeClr val="accent1"/>
              </a:effectRef>
              <a:fontRef idx="minor">
                <a:schemeClr val="tx1"/>
              </a:fontRef>
            </p:style>
          </p:cxnSp>
          <p:cxnSp>
            <p:nvCxnSpPr>
              <p:cNvPr id="169" name="Straight Connector 168">
                <a:extLst>
                  <a:ext uri="{FF2B5EF4-FFF2-40B4-BE49-F238E27FC236}">
                    <a16:creationId xmlns:a16="http://schemas.microsoft.com/office/drawing/2014/main" id="{5DA54A0A-00B3-66C0-4D16-2A52CAD39782}"/>
                  </a:ext>
                </a:extLst>
              </p:cNvPr>
              <p:cNvCxnSpPr>
                <a:cxnSpLocks noGrp="1" noRot="1" noMove="1" noResize="1" noEditPoints="1" noAdjustHandles="1" noChangeArrowheads="1" noChangeShapeType="1"/>
              </p:cNvCxnSpPr>
              <p:nvPr userDrawn="1"/>
            </p:nvCxnSpPr>
            <p:spPr>
              <a:xfrm>
                <a:off x="9169400"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cxnSp>
            <p:nvCxnSpPr>
              <p:cNvPr id="170" name="Straight Connector 169">
                <a:extLst>
                  <a:ext uri="{FF2B5EF4-FFF2-40B4-BE49-F238E27FC236}">
                    <a16:creationId xmlns:a16="http://schemas.microsoft.com/office/drawing/2014/main" id="{AF52679F-E0D0-984E-0A9D-11E933F01859}"/>
                  </a:ext>
                </a:extLst>
              </p:cNvPr>
              <p:cNvCxnSpPr>
                <a:cxnSpLocks noGrp="1" noRot="1" noMove="1" noResize="1" noEditPoints="1" noAdjustHandles="1" noChangeArrowheads="1" noChangeShapeType="1"/>
              </p:cNvCxnSpPr>
              <p:nvPr userDrawn="1"/>
            </p:nvCxnSpPr>
            <p:spPr>
              <a:xfrm>
                <a:off x="9926638"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71" name="Straight Connector 170">
                <a:extLst>
                  <a:ext uri="{FF2B5EF4-FFF2-40B4-BE49-F238E27FC236}">
                    <a16:creationId xmlns:a16="http://schemas.microsoft.com/office/drawing/2014/main" id="{20C312C4-7307-2152-5E04-277863965440}"/>
                  </a:ext>
                </a:extLst>
              </p:cNvPr>
              <p:cNvCxnSpPr>
                <a:cxnSpLocks noGrp="1" noRot="1" noMove="1" noResize="1" noEditPoints="1" noAdjustHandles="1" noChangeArrowheads="1" noChangeShapeType="1"/>
              </p:cNvCxnSpPr>
              <p:nvPr userDrawn="1"/>
            </p:nvCxnSpPr>
            <p:spPr>
              <a:xfrm>
                <a:off x="10156826"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72" name="Straight Connector 171">
                <a:extLst>
                  <a:ext uri="{FF2B5EF4-FFF2-40B4-BE49-F238E27FC236}">
                    <a16:creationId xmlns:a16="http://schemas.microsoft.com/office/drawing/2014/main" id="{DD4E9147-05ED-7705-CC1F-72D71C0F6C79}"/>
                  </a:ext>
                </a:extLst>
              </p:cNvPr>
              <p:cNvCxnSpPr>
                <a:cxnSpLocks noGrp="1" noRot="1" noMove="1" noResize="1" noEditPoints="1" noAdjustHandles="1" noChangeArrowheads="1" noChangeShapeType="1"/>
              </p:cNvCxnSpPr>
              <p:nvPr userDrawn="1"/>
            </p:nvCxnSpPr>
            <p:spPr>
              <a:xfrm>
                <a:off x="10914064"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73" name="Straight Connector 172">
                <a:extLst>
                  <a:ext uri="{FF2B5EF4-FFF2-40B4-BE49-F238E27FC236}">
                    <a16:creationId xmlns:a16="http://schemas.microsoft.com/office/drawing/2014/main" id="{C20E3FFB-E227-153F-ABE1-FC87F5F732AA}"/>
                  </a:ext>
                </a:extLst>
              </p:cNvPr>
              <p:cNvCxnSpPr>
                <a:cxnSpLocks noGrp="1" noRot="1" noMove="1" noResize="1" noEditPoints="1" noAdjustHandles="1" noChangeArrowheads="1" noChangeShapeType="1"/>
              </p:cNvCxnSpPr>
              <p:nvPr userDrawn="1"/>
            </p:nvCxnSpPr>
            <p:spPr>
              <a:xfrm>
                <a:off x="11142663"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74" name="Straight Connector 173">
                <a:extLst>
                  <a:ext uri="{FF2B5EF4-FFF2-40B4-BE49-F238E27FC236}">
                    <a16:creationId xmlns:a16="http://schemas.microsoft.com/office/drawing/2014/main" id="{3F423C1A-2AC0-2B62-7F6A-AA998E137B0C}"/>
                  </a:ext>
                </a:extLst>
              </p:cNvPr>
              <p:cNvCxnSpPr>
                <a:cxnSpLocks noGrp="1" noRot="1" noMove="1" noResize="1" noEditPoints="1" noAdjustHandles="1" noChangeArrowheads="1" noChangeShapeType="1"/>
              </p:cNvCxnSpPr>
              <p:nvPr userDrawn="1"/>
            </p:nvCxnSpPr>
            <p:spPr>
              <a:xfrm>
                <a:off x="11899901"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75" name="Straight Connector 174">
                <a:extLst>
                  <a:ext uri="{FF2B5EF4-FFF2-40B4-BE49-F238E27FC236}">
                    <a16:creationId xmlns:a16="http://schemas.microsoft.com/office/drawing/2014/main" id="{E5B626B8-ACE5-10A8-AAA1-A34285F0A471}"/>
                  </a:ext>
                </a:extLst>
              </p:cNvPr>
              <p:cNvCxnSpPr>
                <a:cxnSpLocks noGrp="1" noRot="1" noMove="1" noResize="1" noEditPoints="1" noAdjustHandles="1" noChangeArrowheads="1" noChangeShapeType="1"/>
              </p:cNvCxnSpPr>
              <p:nvPr userDrawn="1"/>
            </p:nvCxnSpPr>
            <p:spPr>
              <a:xfrm>
                <a:off x="8181975" y="-165576"/>
                <a:ext cx="0" cy="137160"/>
              </a:xfrm>
              <a:prstGeom prst="line">
                <a:avLst/>
              </a:prstGeom>
              <a:ln w="3175">
                <a:solidFill>
                  <a:srgbClr val="FFC000"/>
                </a:solidFill>
              </a:ln>
            </p:spPr>
            <p:style>
              <a:lnRef idx="2">
                <a:schemeClr val="accent1"/>
              </a:lnRef>
              <a:fillRef idx="0">
                <a:schemeClr val="accent1"/>
              </a:fillRef>
              <a:effectRef idx="1">
                <a:schemeClr val="accent1"/>
              </a:effectRef>
              <a:fontRef idx="minor">
                <a:schemeClr val="tx1"/>
              </a:fontRef>
            </p:style>
          </p:cxnSp>
          <p:cxnSp>
            <p:nvCxnSpPr>
              <p:cNvPr id="176" name="Straight Connector 175">
                <a:extLst>
                  <a:ext uri="{FF2B5EF4-FFF2-40B4-BE49-F238E27FC236}">
                    <a16:creationId xmlns:a16="http://schemas.microsoft.com/office/drawing/2014/main" id="{B2923CDE-FDD7-7A51-817A-A07397D5F16B}"/>
                  </a:ext>
                </a:extLst>
              </p:cNvPr>
              <p:cNvCxnSpPr>
                <a:cxnSpLocks noGrp="1" noRot="1" noMove="1" noResize="1" noEditPoints="1" noAdjustHandles="1" noChangeArrowheads="1" noChangeShapeType="1"/>
              </p:cNvCxnSpPr>
              <p:nvPr userDrawn="1"/>
            </p:nvCxnSpPr>
            <p:spPr>
              <a:xfrm>
                <a:off x="8939213"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grpSp>
        <p:sp>
          <p:nvSpPr>
            <p:cNvPr id="177" name="TextBox 176">
              <a:extLst>
                <a:ext uri="{FF2B5EF4-FFF2-40B4-BE49-F238E27FC236}">
                  <a16:creationId xmlns:a16="http://schemas.microsoft.com/office/drawing/2014/main" id="{4B728ACB-14F7-C40A-473B-317C751CD181}"/>
                </a:ext>
              </a:extLst>
            </p:cNvPr>
            <p:cNvSpPr txBox="1">
              <a:spLocks noGrp="1" noRot="1" noMove="1" noResize="1" noEditPoints="1" noAdjustHandles="1" noChangeArrowheads="1" noChangeShapeType="1"/>
            </p:cNvSpPr>
            <p:nvPr userDrawn="1"/>
          </p:nvSpPr>
          <p:spPr>
            <a:xfrm>
              <a:off x="3086414" y="6878002"/>
              <a:ext cx="99386" cy="156966"/>
            </a:xfrm>
            <a:prstGeom prst="rect">
              <a:avLst/>
            </a:prstGeom>
            <a:noFill/>
          </p:spPr>
          <p:txBody>
            <a:bodyPr wrap="none" lIns="0" tIns="0" rIns="0" bIns="0" rtlCol="0">
              <a:spAutoFit/>
            </a:bodyPr>
            <a:lstStyle/>
            <a:p>
              <a:pPr algn="ctr">
                <a:lnSpc>
                  <a:spcPct val="85000"/>
                </a:lnSpc>
              </a:pPr>
              <a:r>
                <a:rPr lang="en-GB" sz="600">
                  <a:solidFill>
                    <a:srgbClr val="00B0F0"/>
                  </a:solidFill>
                </a:rPr>
                <a:t>4</a:t>
              </a:r>
              <a:br>
                <a:rPr lang="en-GB" sz="600">
                  <a:solidFill>
                    <a:srgbClr val="00B0F0"/>
                  </a:solidFill>
                </a:rPr>
              </a:br>
              <a:r>
                <a:rPr lang="en-GB" sz="600">
                  <a:solidFill>
                    <a:srgbClr val="00B0F0"/>
                  </a:solidFill>
                </a:rPr>
                <a:t>col</a:t>
              </a:r>
            </a:p>
          </p:txBody>
        </p:sp>
        <p:sp>
          <p:nvSpPr>
            <p:cNvPr id="178" name="TextBox 177">
              <a:extLst>
                <a:ext uri="{FF2B5EF4-FFF2-40B4-BE49-F238E27FC236}">
                  <a16:creationId xmlns:a16="http://schemas.microsoft.com/office/drawing/2014/main" id="{F7BA58E8-87C4-8336-7BF2-D4A38EFF668B}"/>
                </a:ext>
              </a:extLst>
            </p:cNvPr>
            <p:cNvSpPr txBox="1">
              <a:spLocks noGrp="1" noRot="1" noMove="1" noResize="1" noEditPoints="1" noAdjustHandles="1" noChangeArrowheads="1" noChangeShapeType="1"/>
            </p:cNvSpPr>
            <p:nvPr userDrawn="1"/>
          </p:nvSpPr>
          <p:spPr>
            <a:xfrm>
              <a:off x="9000792" y="6878002"/>
              <a:ext cx="99386" cy="156966"/>
            </a:xfrm>
            <a:prstGeom prst="rect">
              <a:avLst/>
            </a:prstGeom>
            <a:noFill/>
          </p:spPr>
          <p:txBody>
            <a:bodyPr wrap="none" lIns="0" tIns="0" rIns="0" bIns="0" rtlCol="0">
              <a:spAutoFit/>
            </a:bodyPr>
            <a:lstStyle/>
            <a:p>
              <a:pPr algn="ctr">
                <a:lnSpc>
                  <a:spcPct val="85000"/>
                </a:lnSpc>
              </a:pPr>
              <a:r>
                <a:rPr lang="en-GB" sz="600">
                  <a:solidFill>
                    <a:srgbClr val="00B0F0"/>
                  </a:solidFill>
                </a:rPr>
                <a:t>4</a:t>
              </a:r>
              <a:br>
                <a:rPr lang="en-GB" sz="600">
                  <a:solidFill>
                    <a:srgbClr val="00B0F0"/>
                  </a:solidFill>
                </a:rPr>
              </a:br>
              <a:r>
                <a:rPr lang="en-GB" sz="600">
                  <a:solidFill>
                    <a:srgbClr val="00B0F0"/>
                  </a:solidFill>
                </a:rPr>
                <a:t>col</a:t>
              </a:r>
            </a:p>
          </p:txBody>
        </p:sp>
        <p:sp>
          <p:nvSpPr>
            <p:cNvPr id="179" name="TextBox 178">
              <a:extLst>
                <a:ext uri="{FF2B5EF4-FFF2-40B4-BE49-F238E27FC236}">
                  <a16:creationId xmlns:a16="http://schemas.microsoft.com/office/drawing/2014/main" id="{18E780D4-D62C-31AE-986F-E3882F4C3C30}"/>
                </a:ext>
              </a:extLst>
            </p:cNvPr>
            <p:cNvSpPr txBox="1">
              <a:spLocks noGrp="1" noRot="1" noMove="1" noResize="1" noEditPoints="1" noAdjustHandles="1" noChangeArrowheads="1" noChangeShapeType="1"/>
            </p:cNvSpPr>
            <p:nvPr userDrawn="1"/>
          </p:nvSpPr>
          <p:spPr>
            <a:xfrm>
              <a:off x="6024488" y="6878002"/>
              <a:ext cx="149080" cy="156966"/>
            </a:xfrm>
            <a:prstGeom prst="rect">
              <a:avLst/>
            </a:prstGeom>
            <a:noFill/>
          </p:spPr>
          <p:txBody>
            <a:bodyPr wrap="none" lIns="0" tIns="0" rIns="0" bIns="0" rtlCol="0">
              <a:spAutoFit/>
            </a:bodyPr>
            <a:lstStyle/>
            <a:p>
              <a:pPr algn="ctr">
                <a:lnSpc>
                  <a:spcPct val="85000"/>
                </a:lnSpc>
              </a:pPr>
              <a:r>
                <a:rPr lang="en-GB" sz="600">
                  <a:solidFill>
                    <a:srgbClr val="00B0F0"/>
                  </a:solidFill>
                </a:rPr>
                <a:t>2 / 4</a:t>
              </a:r>
              <a:br>
                <a:rPr lang="en-GB" sz="600">
                  <a:solidFill>
                    <a:srgbClr val="00B0F0"/>
                  </a:solidFill>
                </a:rPr>
              </a:br>
              <a:r>
                <a:rPr lang="en-GB" sz="600">
                  <a:solidFill>
                    <a:srgbClr val="00B0F0"/>
                  </a:solidFill>
                </a:rPr>
                <a:t>col</a:t>
              </a:r>
            </a:p>
          </p:txBody>
        </p:sp>
        <p:sp>
          <p:nvSpPr>
            <p:cNvPr id="180" name="TextBox 179">
              <a:extLst>
                <a:ext uri="{FF2B5EF4-FFF2-40B4-BE49-F238E27FC236}">
                  <a16:creationId xmlns:a16="http://schemas.microsoft.com/office/drawing/2014/main" id="{A341B576-F973-FF3B-9D70-757A51DED63E}"/>
                </a:ext>
              </a:extLst>
            </p:cNvPr>
            <p:cNvSpPr txBox="1">
              <a:spLocks noGrp="1" noRot="1" noMove="1" noResize="1" noEditPoints="1" noAdjustHandles="1" noChangeArrowheads="1" noChangeShapeType="1"/>
            </p:cNvSpPr>
            <p:nvPr userDrawn="1"/>
          </p:nvSpPr>
          <p:spPr>
            <a:xfrm>
              <a:off x="4077661" y="6878002"/>
              <a:ext cx="99386" cy="156966"/>
            </a:xfrm>
            <a:prstGeom prst="rect">
              <a:avLst/>
            </a:prstGeom>
            <a:noFill/>
          </p:spPr>
          <p:txBody>
            <a:bodyPr wrap="none" lIns="0" tIns="0" rIns="0" bIns="0" rtlCol="0">
              <a:spAutoFit/>
            </a:bodyPr>
            <a:lstStyle/>
            <a:p>
              <a:pPr algn="ctr">
                <a:lnSpc>
                  <a:spcPct val="85000"/>
                </a:lnSpc>
              </a:pPr>
              <a:r>
                <a:rPr lang="en-GB" sz="600">
                  <a:solidFill>
                    <a:srgbClr val="FFC000"/>
                  </a:solidFill>
                </a:rPr>
                <a:t>3</a:t>
              </a:r>
              <a:br>
                <a:rPr lang="en-GB" sz="600">
                  <a:solidFill>
                    <a:srgbClr val="FFC000"/>
                  </a:solidFill>
                </a:rPr>
              </a:br>
              <a:r>
                <a:rPr lang="en-GB" sz="600">
                  <a:solidFill>
                    <a:srgbClr val="FFC000"/>
                  </a:solidFill>
                </a:rPr>
                <a:t>col</a:t>
              </a:r>
            </a:p>
          </p:txBody>
        </p:sp>
        <p:sp>
          <p:nvSpPr>
            <p:cNvPr id="181" name="TextBox 180">
              <a:extLst>
                <a:ext uri="{FF2B5EF4-FFF2-40B4-BE49-F238E27FC236}">
                  <a16:creationId xmlns:a16="http://schemas.microsoft.com/office/drawing/2014/main" id="{D94C725E-2F75-A1A8-2A47-9AE54AFFDF90}"/>
                </a:ext>
              </a:extLst>
            </p:cNvPr>
            <p:cNvSpPr txBox="1">
              <a:spLocks noGrp="1" noRot="1" noMove="1" noResize="1" noEditPoints="1" noAdjustHandles="1" noChangeArrowheads="1" noChangeShapeType="1"/>
            </p:cNvSpPr>
            <p:nvPr userDrawn="1"/>
          </p:nvSpPr>
          <p:spPr>
            <a:xfrm>
              <a:off x="8013366" y="6878002"/>
              <a:ext cx="99386" cy="156966"/>
            </a:xfrm>
            <a:prstGeom prst="rect">
              <a:avLst/>
            </a:prstGeom>
            <a:noFill/>
          </p:spPr>
          <p:txBody>
            <a:bodyPr wrap="none" lIns="0" tIns="0" rIns="0" bIns="0" rtlCol="0">
              <a:spAutoFit/>
            </a:bodyPr>
            <a:lstStyle/>
            <a:p>
              <a:pPr algn="ctr">
                <a:lnSpc>
                  <a:spcPct val="85000"/>
                </a:lnSpc>
              </a:pPr>
              <a:r>
                <a:rPr lang="en-GB" sz="600">
                  <a:solidFill>
                    <a:srgbClr val="FFC000"/>
                  </a:solidFill>
                </a:rPr>
                <a:t>3</a:t>
              </a:r>
              <a:br>
                <a:rPr lang="en-GB" sz="600">
                  <a:solidFill>
                    <a:srgbClr val="FFC000"/>
                  </a:solidFill>
                </a:rPr>
              </a:br>
              <a:r>
                <a:rPr lang="en-GB" sz="600">
                  <a:solidFill>
                    <a:srgbClr val="FFC000"/>
                  </a:solidFill>
                </a:rPr>
                <a:t>col</a:t>
              </a:r>
            </a:p>
          </p:txBody>
        </p:sp>
      </p:grpSp>
      <p:grpSp>
        <p:nvGrpSpPr>
          <p:cNvPr id="151" name="Column Markers Top">
            <a:extLst>
              <a:ext uri="{FF2B5EF4-FFF2-40B4-BE49-F238E27FC236}">
                <a16:creationId xmlns:a16="http://schemas.microsoft.com/office/drawing/2014/main" id="{D22D9BE6-0B65-1C47-03BF-D1AB953BE5D3}"/>
              </a:ext>
            </a:extLst>
          </p:cNvPr>
          <p:cNvGrpSpPr>
            <a:grpSpLocks noGrp="1" noUngrp="1" noRot="1" noMove="1" noResize="1"/>
          </p:cNvGrpSpPr>
          <p:nvPr userDrawn="1"/>
        </p:nvGrpSpPr>
        <p:grpSpPr>
          <a:xfrm>
            <a:off x="292100" y="-165576"/>
            <a:ext cx="11607801" cy="137160"/>
            <a:chOff x="292100" y="-165576"/>
            <a:chExt cx="11607801" cy="137160"/>
          </a:xfrm>
        </p:grpSpPr>
        <p:cxnSp>
          <p:nvCxnSpPr>
            <p:cNvPr id="108" name="Straight Connector 107">
              <a:extLst>
                <a:ext uri="{FF2B5EF4-FFF2-40B4-BE49-F238E27FC236}">
                  <a16:creationId xmlns:a16="http://schemas.microsoft.com/office/drawing/2014/main" id="{A1C2DAF0-B0C5-3814-F177-4D283ED86E18}"/>
                </a:ext>
              </a:extLst>
            </p:cNvPr>
            <p:cNvCxnSpPr>
              <a:cxnSpLocks noGrp="1" noRot="1" noMove="1" noResize="1" noEditPoints="1" noAdjustHandles="1" noChangeArrowheads="1" noChangeShapeType="1"/>
            </p:cNvCxnSpPr>
            <p:nvPr userDrawn="1"/>
          </p:nvCxnSpPr>
          <p:spPr>
            <a:xfrm>
              <a:off x="292100"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760C7E0C-2513-2BF9-58C7-7ED275705160}"/>
                </a:ext>
              </a:extLst>
            </p:cNvPr>
            <p:cNvCxnSpPr>
              <a:cxnSpLocks noGrp="1" noRot="1" noMove="1" noResize="1" noEditPoints="1" noAdjustHandles="1" noChangeArrowheads="1" noChangeShapeType="1"/>
            </p:cNvCxnSpPr>
            <p:nvPr userDrawn="1"/>
          </p:nvCxnSpPr>
          <p:spPr>
            <a:xfrm>
              <a:off x="1049338"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DA8C53B7-FA46-2487-2FDF-B14532D4DC6F}"/>
                </a:ext>
              </a:extLst>
            </p:cNvPr>
            <p:cNvCxnSpPr>
              <a:cxnSpLocks noGrp="1" noRot="1" noMove="1" noResize="1" noEditPoints="1" noAdjustHandles="1" noChangeArrowheads="1" noChangeShapeType="1"/>
            </p:cNvCxnSpPr>
            <p:nvPr userDrawn="1"/>
          </p:nvCxnSpPr>
          <p:spPr>
            <a:xfrm>
              <a:off x="1277937"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32117F78-F20D-7784-AFAB-33B9E45C00F5}"/>
                </a:ext>
              </a:extLst>
            </p:cNvPr>
            <p:cNvCxnSpPr>
              <a:cxnSpLocks noGrp="1" noRot="1" noMove="1" noResize="1" noEditPoints="1" noAdjustHandles="1" noChangeArrowheads="1" noChangeShapeType="1"/>
            </p:cNvCxnSpPr>
            <p:nvPr userDrawn="1"/>
          </p:nvCxnSpPr>
          <p:spPr>
            <a:xfrm>
              <a:off x="2035175"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538C8718-4726-16BF-EE37-79212A3DCD73}"/>
                </a:ext>
              </a:extLst>
            </p:cNvPr>
            <p:cNvCxnSpPr>
              <a:cxnSpLocks noGrp="1" noRot="1" noMove="1" noResize="1" noEditPoints="1" noAdjustHandles="1" noChangeArrowheads="1" noChangeShapeType="1"/>
            </p:cNvCxnSpPr>
            <p:nvPr userDrawn="1"/>
          </p:nvCxnSpPr>
          <p:spPr>
            <a:xfrm>
              <a:off x="2265363"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CDE7C7E9-FC71-BAE6-B8D3-3ABEBABB121B}"/>
                </a:ext>
              </a:extLst>
            </p:cNvPr>
            <p:cNvCxnSpPr>
              <a:cxnSpLocks noGrp="1" noRot="1" noMove="1" noResize="1" noEditPoints="1" noAdjustHandles="1" noChangeArrowheads="1" noChangeShapeType="1"/>
            </p:cNvCxnSpPr>
            <p:nvPr userDrawn="1"/>
          </p:nvCxnSpPr>
          <p:spPr>
            <a:xfrm>
              <a:off x="3022601"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6A00B385-516E-8D52-13A9-8C3600BF4FC3}"/>
                </a:ext>
              </a:extLst>
            </p:cNvPr>
            <p:cNvCxnSpPr>
              <a:cxnSpLocks noGrp="1" noRot="1" noMove="1" noResize="1" noEditPoints="1" noAdjustHandles="1" noChangeArrowheads="1" noChangeShapeType="1"/>
            </p:cNvCxnSpPr>
            <p:nvPr userDrawn="1"/>
          </p:nvCxnSpPr>
          <p:spPr>
            <a:xfrm>
              <a:off x="3251200"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97BEECB8-6E26-BD06-398F-0B566BF9BBDD}"/>
                </a:ext>
              </a:extLst>
            </p:cNvPr>
            <p:cNvCxnSpPr>
              <a:cxnSpLocks noGrp="1" noRot="1" noMove="1" noResize="1" noEditPoints="1" noAdjustHandles="1" noChangeArrowheads="1" noChangeShapeType="1"/>
            </p:cNvCxnSpPr>
            <p:nvPr userDrawn="1"/>
          </p:nvCxnSpPr>
          <p:spPr>
            <a:xfrm>
              <a:off x="4008438" y="-165576"/>
              <a:ext cx="0" cy="137160"/>
            </a:xfrm>
            <a:prstGeom prst="line">
              <a:avLst/>
            </a:prstGeom>
            <a:ln w="3175">
              <a:solidFill>
                <a:srgbClr val="FFC000"/>
              </a:solidFill>
            </a:ln>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2CEE70E6-06A0-448E-5213-9F480BBB2168}"/>
                </a:ext>
              </a:extLst>
            </p:cNvPr>
            <p:cNvCxnSpPr>
              <a:cxnSpLocks noGrp="1" noRot="1" noMove="1" noResize="1" noEditPoints="1" noAdjustHandles="1" noChangeArrowheads="1" noChangeShapeType="1"/>
            </p:cNvCxnSpPr>
            <p:nvPr userDrawn="1"/>
          </p:nvCxnSpPr>
          <p:spPr>
            <a:xfrm>
              <a:off x="4237037" y="-165576"/>
              <a:ext cx="0" cy="137160"/>
            </a:xfrm>
            <a:prstGeom prst="line">
              <a:avLst/>
            </a:prstGeom>
            <a:ln w="3175">
              <a:solidFill>
                <a:srgbClr val="FFC000"/>
              </a:solidFill>
            </a:ln>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D99AAB26-4D5A-211F-CD30-4DF8B9DB561D}"/>
                </a:ext>
              </a:extLst>
            </p:cNvPr>
            <p:cNvCxnSpPr>
              <a:cxnSpLocks noGrp="1" noRot="1" noMove="1" noResize="1" noEditPoints="1" noAdjustHandles="1" noChangeArrowheads="1" noChangeShapeType="1"/>
            </p:cNvCxnSpPr>
            <p:nvPr userDrawn="1"/>
          </p:nvCxnSpPr>
          <p:spPr>
            <a:xfrm>
              <a:off x="4994275"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C2193421-A7B5-60F1-885A-86D1AAD4C1A6}"/>
                </a:ext>
              </a:extLst>
            </p:cNvPr>
            <p:cNvCxnSpPr>
              <a:cxnSpLocks noGrp="1" noRot="1" noMove="1" noResize="1" noEditPoints="1" noAdjustHandles="1" noChangeArrowheads="1" noChangeShapeType="1"/>
            </p:cNvCxnSpPr>
            <p:nvPr userDrawn="1"/>
          </p:nvCxnSpPr>
          <p:spPr>
            <a:xfrm>
              <a:off x="5222874"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78" name="Straight Connector 77">
              <a:extLst>
                <a:ext uri="{FF2B5EF4-FFF2-40B4-BE49-F238E27FC236}">
                  <a16:creationId xmlns:a16="http://schemas.microsoft.com/office/drawing/2014/main" id="{AB5A5379-3BC9-60DA-11B7-BCC88BF63626}"/>
                </a:ext>
              </a:extLst>
            </p:cNvPr>
            <p:cNvCxnSpPr>
              <a:cxnSpLocks noGrp="1" noRot="1" noMove="1" noResize="1" noEditPoints="1" noAdjustHandles="1" noChangeArrowheads="1" noChangeShapeType="1"/>
            </p:cNvCxnSpPr>
            <p:nvPr userDrawn="1"/>
          </p:nvCxnSpPr>
          <p:spPr>
            <a:xfrm>
              <a:off x="5980112"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387343BE-0ACB-44CE-03AA-B3F4290A4B61}"/>
                </a:ext>
              </a:extLst>
            </p:cNvPr>
            <p:cNvCxnSpPr>
              <a:cxnSpLocks noGrp="1" noRot="1" noMove="1" noResize="1" noEditPoints="1" noAdjustHandles="1" noChangeArrowheads="1" noChangeShapeType="1"/>
            </p:cNvCxnSpPr>
            <p:nvPr userDrawn="1"/>
          </p:nvCxnSpPr>
          <p:spPr>
            <a:xfrm>
              <a:off x="6210300"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F30D142D-B1E9-9CBF-97EF-00A42B7BC5FE}"/>
                </a:ext>
              </a:extLst>
            </p:cNvPr>
            <p:cNvCxnSpPr>
              <a:cxnSpLocks noGrp="1" noRot="1" noMove="1" noResize="1" noEditPoints="1" noAdjustHandles="1" noChangeArrowheads="1" noChangeShapeType="1"/>
            </p:cNvCxnSpPr>
            <p:nvPr userDrawn="1"/>
          </p:nvCxnSpPr>
          <p:spPr>
            <a:xfrm>
              <a:off x="6967538"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732EA936-B37E-FA24-83D8-1DEE414B5F82}"/>
                </a:ext>
              </a:extLst>
            </p:cNvPr>
            <p:cNvCxnSpPr>
              <a:cxnSpLocks noGrp="1" noRot="1" noMove="1" noResize="1" noEditPoints="1" noAdjustHandles="1" noChangeArrowheads="1" noChangeShapeType="1"/>
            </p:cNvCxnSpPr>
            <p:nvPr userDrawn="1"/>
          </p:nvCxnSpPr>
          <p:spPr>
            <a:xfrm>
              <a:off x="7196137"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3BE1C96A-624D-767C-6715-0D9623297663}"/>
                </a:ext>
              </a:extLst>
            </p:cNvPr>
            <p:cNvCxnSpPr>
              <a:cxnSpLocks noGrp="1" noRot="1" noMove="1" noResize="1" noEditPoints="1" noAdjustHandles="1" noChangeArrowheads="1" noChangeShapeType="1"/>
            </p:cNvCxnSpPr>
            <p:nvPr userDrawn="1"/>
          </p:nvCxnSpPr>
          <p:spPr>
            <a:xfrm>
              <a:off x="7953375" y="-165576"/>
              <a:ext cx="0" cy="137160"/>
            </a:xfrm>
            <a:prstGeom prst="line">
              <a:avLst/>
            </a:prstGeom>
            <a:ln w="3175">
              <a:solidFill>
                <a:srgbClr val="FFC000"/>
              </a:solidFill>
            </a:ln>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DBF0FBA6-1F05-149A-AD58-63F474363036}"/>
                </a:ext>
              </a:extLst>
            </p:cNvPr>
            <p:cNvCxnSpPr>
              <a:cxnSpLocks noGrp="1" noRot="1" noMove="1" noResize="1" noEditPoints="1" noAdjustHandles="1" noChangeArrowheads="1" noChangeShapeType="1"/>
            </p:cNvCxnSpPr>
            <p:nvPr userDrawn="1"/>
          </p:nvCxnSpPr>
          <p:spPr>
            <a:xfrm>
              <a:off x="9169400"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56C9AC2C-8889-C695-8160-7D43B07CBEBB}"/>
                </a:ext>
              </a:extLst>
            </p:cNvPr>
            <p:cNvCxnSpPr>
              <a:cxnSpLocks noGrp="1" noRot="1" noMove="1" noResize="1" noEditPoints="1" noAdjustHandles="1" noChangeArrowheads="1" noChangeShapeType="1"/>
            </p:cNvCxnSpPr>
            <p:nvPr userDrawn="1"/>
          </p:nvCxnSpPr>
          <p:spPr>
            <a:xfrm>
              <a:off x="9926638"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A3521B7C-5C33-9A4C-FBD4-E8303128C409}"/>
                </a:ext>
              </a:extLst>
            </p:cNvPr>
            <p:cNvCxnSpPr>
              <a:cxnSpLocks noGrp="1" noRot="1" noMove="1" noResize="1" noEditPoints="1" noAdjustHandles="1" noChangeArrowheads="1" noChangeShapeType="1"/>
            </p:cNvCxnSpPr>
            <p:nvPr userDrawn="1"/>
          </p:nvCxnSpPr>
          <p:spPr>
            <a:xfrm>
              <a:off x="10156826"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31597926-2F92-C2A6-EC39-92172371F51E}"/>
                </a:ext>
              </a:extLst>
            </p:cNvPr>
            <p:cNvCxnSpPr>
              <a:cxnSpLocks noGrp="1" noRot="1" noMove="1" noResize="1" noEditPoints="1" noAdjustHandles="1" noChangeArrowheads="1" noChangeShapeType="1"/>
            </p:cNvCxnSpPr>
            <p:nvPr userDrawn="1"/>
          </p:nvCxnSpPr>
          <p:spPr>
            <a:xfrm>
              <a:off x="10914064"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1FE0C9B9-B779-6459-B1D3-0E89CB20C7A8}"/>
                </a:ext>
              </a:extLst>
            </p:cNvPr>
            <p:cNvCxnSpPr>
              <a:cxnSpLocks noGrp="1" noRot="1" noMove="1" noResize="1" noEditPoints="1" noAdjustHandles="1" noChangeArrowheads="1" noChangeShapeType="1"/>
            </p:cNvCxnSpPr>
            <p:nvPr userDrawn="1"/>
          </p:nvCxnSpPr>
          <p:spPr>
            <a:xfrm>
              <a:off x="11142663"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D7A92DD3-EDC2-277F-7A79-16F1FC1A8DD1}"/>
                </a:ext>
              </a:extLst>
            </p:cNvPr>
            <p:cNvCxnSpPr>
              <a:cxnSpLocks noGrp="1" noRot="1" noMove="1" noResize="1" noEditPoints="1" noAdjustHandles="1" noChangeArrowheads="1" noChangeShapeType="1"/>
            </p:cNvCxnSpPr>
            <p:nvPr userDrawn="1"/>
          </p:nvCxnSpPr>
          <p:spPr>
            <a:xfrm>
              <a:off x="11899901"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259978F6-C812-F2EB-2011-738453334C4C}"/>
                </a:ext>
              </a:extLst>
            </p:cNvPr>
            <p:cNvCxnSpPr>
              <a:cxnSpLocks noGrp="1" noRot="1" noMove="1" noResize="1" noEditPoints="1" noAdjustHandles="1" noChangeArrowheads="1" noChangeShapeType="1"/>
            </p:cNvCxnSpPr>
            <p:nvPr userDrawn="1"/>
          </p:nvCxnSpPr>
          <p:spPr>
            <a:xfrm>
              <a:off x="8181975" y="-165576"/>
              <a:ext cx="0" cy="137160"/>
            </a:xfrm>
            <a:prstGeom prst="line">
              <a:avLst/>
            </a:prstGeom>
            <a:ln w="3175">
              <a:solidFill>
                <a:srgbClr val="FFC000"/>
              </a:solidFill>
            </a:ln>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974B9070-6CE7-2988-15D6-7BCD628C78AA}"/>
                </a:ext>
              </a:extLst>
            </p:cNvPr>
            <p:cNvCxnSpPr>
              <a:cxnSpLocks noGrp="1" noRot="1" noMove="1" noResize="1" noEditPoints="1" noAdjustHandles="1" noChangeArrowheads="1" noChangeShapeType="1"/>
            </p:cNvCxnSpPr>
            <p:nvPr userDrawn="1"/>
          </p:nvCxnSpPr>
          <p:spPr>
            <a:xfrm>
              <a:off x="8939213"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grpSp>
      <p:grpSp>
        <p:nvGrpSpPr>
          <p:cNvPr id="213" name="Horizontal Markers Left">
            <a:extLst>
              <a:ext uri="{FF2B5EF4-FFF2-40B4-BE49-F238E27FC236}">
                <a16:creationId xmlns:a16="http://schemas.microsoft.com/office/drawing/2014/main" id="{2E8F5572-A6C5-0D61-4663-94740861ECFF}"/>
              </a:ext>
            </a:extLst>
          </p:cNvPr>
          <p:cNvGrpSpPr>
            <a:grpSpLocks noGrp="1" noUngrp="1" noRot="1" noMove="1" noResize="1"/>
          </p:cNvGrpSpPr>
          <p:nvPr userDrawn="1"/>
        </p:nvGrpSpPr>
        <p:grpSpPr>
          <a:xfrm>
            <a:off x="-118744" y="304484"/>
            <a:ext cx="91440" cy="5804216"/>
            <a:chOff x="-106044" y="304484"/>
            <a:chExt cx="91440" cy="5804216"/>
          </a:xfrm>
        </p:grpSpPr>
        <p:cxnSp>
          <p:nvCxnSpPr>
            <p:cNvPr id="205" name="Straight Connector 204">
              <a:extLst>
                <a:ext uri="{FF2B5EF4-FFF2-40B4-BE49-F238E27FC236}">
                  <a16:creationId xmlns:a16="http://schemas.microsoft.com/office/drawing/2014/main" id="{52085DA4-FA3C-5517-7394-7B8C7198E8EC}"/>
                </a:ext>
              </a:extLst>
            </p:cNvPr>
            <p:cNvCxnSpPr>
              <a:cxnSpLocks noGrp="1" noRot="1" noMove="1" noResize="1" noEditPoints="1" noAdjustHandles="1" noChangeArrowheads="1" noChangeShapeType="1"/>
            </p:cNvCxnSpPr>
            <p:nvPr userDrawn="1"/>
          </p:nvCxnSpPr>
          <p:spPr>
            <a:xfrm rot="5400000">
              <a:off x="-60324" y="258764"/>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207" name="Straight Connector 206">
              <a:extLst>
                <a:ext uri="{FF2B5EF4-FFF2-40B4-BE49-F238E27FC236}">
                  <a16:creationId xmlns:a16="http://schemas.microsoft.com/office/drawing/2014/main" id="{B73C6FFB-4043-5FA4-B1B9-8A2CD4468FD2}"/>
                </a:ext>
              </a:extLst>
            </p:cNvPr>
            <p:cNvCxnSpPr>
              <a:cxnSpLocks noGrp="1" noRot="1" noMove="1" noResize="1" noEditPoints="1" noAdjustHandles="1" noChangeArrowheads="1" noChangeShapeType="1"/>
            </p:cNvCxnSpPr>
            <p:nvPr userDrawn="1"/>
          </p:nvCxnSpPr>
          <p:spPr>
            <a:xfrm rot="5400000">
              <a:off x="-60324" y="6062980"/>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grpSp>
          <p:nvGrpSpPr>
            <p:cNvPr id="209" name="Group 208">
              <a:extLst>
                <a:ext uri="{FF2B5EF4-FFF2-40B4-BE49-F238E27FC236}">
                  <a16:creationId xmlns:a16="http://schemas.microsoft.com/office/drawing/2014/main" id="{DE7F5164-5687-39B8-50AA-9C06AE869BD5}"/>
                </a:ext>
              </a:extLst>
            </p:cNvPr>
            <p:cNvGrpSpPr>
              <a:grpSpLocks noGrp="1" noUngrp="1" noRot="1" noMove="1" noResize="1"/>
            </p:cNvGrpSpPr>
            <p:nvPr userDrawn="1"/>
          </p:nvGrpSpPr>
          <p:grpSpPr>
            <a:xfrm>
              <a:off x="-106044" y="1219200"/>
              <a:ext cx="91440" cy="419100"/>
              <a:chOff x="-106044" y="1219200"/>
              <a:chExt cx="91440" cy="419100"/>
            </a:xfrm>
          </p:grpSpPr>
          <p:cxnSp>
            <p:nvCxnSpPr>
              <p:cNvPr id="206" name="Straight Connector 205">
                <a:extLst>
                  <a:ext uri="{FF2B5EF4-FFF2-40B4-BE49-F238E27FC236}">
                    <a16:creationId xmlns:a16="http://schemas.microsoft.com/office/drawing/2014/main" id="{6D174423-67A1-6BA0-F32A-B87768D85638}"/>
                  </a:ext>
                </a:extLst>
              </p:cNvPr>
              <p:cNvCxnSpPr>
                <a:cxnSpLocks noGrp="1" noRot="1" noMove="1" noResize="1" noEditPoints="1" noAdjustHandles="1" noChangeArrowheads="1" noChangeShapeType="1"/>
              </p:cNvCxnSpPr>
              <p:nvPr userDrawn="1"/>
            </p:nvCxnSpPr>
            <p:spPr>
              <a:xfrm rot="5400000">
                <a:off x="-60324" y="1173480"/>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208" name="Straight Connector 207">
                <a:extLst>
                  <a:ext uri="{FF2B5EF4-FFF2-40B4-BE49-F238E27FC236}">
                    <a16:creationId xmlns:a16="http://schemas.microsoft.com/office/drawing/2014/main" id="{DC407528-7F4C-9C51-0701-8674D84860BF}"/>
                  </a:ext>
                </a:extLst>
              </p:cNvPr>
              <p:cNvCxnSpPr>
                <a:cxnSpLocks noGrp="1" noRot="1" noMove="1" noResize="1" noEditPoints="1" noAdjustHandles="1" noChangeArrowheads="1" noChangeShapeType="1"/>
              </p:cNvCxnSpPr>
              <p:nvPr userDrawn="1"/>
            </p:nvCxnSpPr>
            <p:spPr>
              <a:xfrm rot="5400000">
                <a:off x="-60324" y="1592580"/>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grpSp>
        <p:grpSp>
          <p:nvGrpSpPr>
            <p:cNvPr id="210" name="Group 209">
              <a:extLst>
                <a:ext uri="{FF2B5EF4-FFF2-40B4-BE49-F238E27FC236}">
                  <a16:creationId xmlns:a16="http://schemas.microsoft.com/office/drawing/2014/main" id="{744D8EC0-E0C8-6F33-8B33-9252682D5549}"/>
                </a:ext>
              </a:extLst>
            </p:cNvPr>
            <p:cNvGrpSpPr>
              <a:grpSpLocks noGrp="1" noUngrp="1" noRot="1" noMove="1" noResize="1"/>
            </p:cNvGrpSpPr>
            <p:nvPr userDrawn="1"/>
          </p:nvGrpSpPr>
          <p:grpSpPr>
            <a:xfrm>
              <a:off x="-106044" y="5676900"/>
              <a:ext cx="91440" cy="431800"/>
              <a:chOff x="-106044" y="1206500"/>
              <a:chExt cx="91440" cy="431800"/>
            </a:xfrm>
          </p:grpSpPr>
          <p:cxnSp>
            <p:nvCxnSpPr>
              <p:cNvPr id="211" name="Straight Connector 210">
                <a:extLst>
                  <a:ext uri="{FF2B5EF4-FFF2-40B4-BE49-F238E27FC236}">
                    <a16:creationId xmlns:a16="http://schemas.microsoft.com/office/drawing/2014/main" id="{EBDB6D67-47F1-2ACB-B15E-CF83680C2CC5}"/>
                  </a:ext>
                </a:extLst>
              </p:cNvPr>
              <p:cNvCxnSpPr>
                <a:cxnSpLocks noGrp="1" noRot="1" noMove="1" noResize="1" noEditPoints="1" noAdjustHandles="1" noChangeArrowheads="1" noChangeShapeType="1"/>
              </p:cNvCxnSpPr>
              <p:nvPr userDrawn="1"/>
            </p:nvCxnSpPr>
            <p:spPr>
              <a:xfrm rot="5400000">
                <a:off x="-60324" y="1160780"/>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212" name="Straight Connector 211">
                <a:extLst>
                  <a:ext uri="{FF2B5EF4-FFF2-40B4-BE49-F238E27FC236}">
                    <a16:creationId xmlns:a16="http://schemas.microsoft.com/office/drawing/2014/main" id="{A0172A1C-AD6A-BB6C-25B7-D91289B9E05E}"/>
                  </a:ext>
                </a:extLst>
              </p:cNvPr>
              <p:cNvCxnSpPr>
                <a:cxnSpLocks noGrp="1" noRot="1" noMove="1" noResize="1" noEditPoints="1" noAdjustHandles="1" noChangeArrowheads="1" noChangeShapeType="1"/>
              </p:cNvCxnSpPr>
              <p:nvPr userDrawn="1"/>
            </p:nvCxnSpPr>
            <p:spPr>
              <a:xfrm rot="5400000">
                <a:off x="-60324" y="1592580"/>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grpSp>
      </p:grpSp>
      <p:grpSp>
        <p:nvGrpSpPr>
          <p:cNvPr id="214" name="Horizontal Markers Right">
            <a:extLst>
              <a:ext uri="{FF2B5EF4-FFF2-40B4-BE49-F238E27FC236}">
                <a16:creationId xmlns:a16="http://schemas.microsoft.com/office/drawing/2014/main" id="{0E15D8C4-ABC7-762F-EBD9-715AC935C45D}"/>
              </a:ext>
            </a:extLst>
          </p:cNvPr>
          <p:cNvGrpSpPr>
            <a:grpSpLocks noGrp="1" noUngrp="1" noRot="1" noMove="1" noResize="1"/>
          </p:cNvGrpSpPr>
          <p:nvPr userDrawn="1"/>
        </p:nvGrpSpPr>
        <p:grpSpPr>
          <a:xfrm flipH="1">
            <a:off x="12222840" y="304484"/>
            <a:ext cx="91440" cy="5804216"/>
            <a:chOff x="-106044" y="304484"/>
            <a:chExt cx="91440" cy="5804216"/>
          </a:xfrm>
        </p:grpSpPr>
        <p:cxnSp>
          <p:nvCxnSpPr>
            <p:cNvPr id="215" name="Straight Connector 214">
              <a:extLst>
                <a:ext uri="{FF2B5EF4-FFF2-40B4-BE49-F238E27FC236}">
                  <a16:creationId xmlns:a16="http://schemas.microsoft.com/office/drawing/2014/main" id="{8337C811-4542-2EE7-A070-0A11F64823E5}"/>
                </a:ext>
              </a:extLst>
            </p:cNvPr>
            <p:cNvCxnSpPr>
              <a:cxnSpLocks noGrp="1" noRot="1" noMove="1" noResize="1" noEditPoints="1" noAdjustHandles="1" noChangeArrowheads="1" noChangeShapeType="1"/>
            </p:cNvCxnSpPr>
            <p:nvPr userDrawn="1"/>
          </p:nvCxnSpPr>
          <p:spPr>
            <a:xfrm rot="5400000">
              <a:off x="-60324" y="258764"/>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216" name="Straight Connector 215">
              <a:extLst>
                <a:ext uri="{FF2B5EF4-FFF2-40B4-BE49-F238E27FC236}">
                  <a16:creationId xmlns:a16="http://schemas.microsoft.com/office/drawing/2014/main" id="{14A20C2E-8ED8-B0B7-BD57-C12A3BBCA501}"/>
                </a:ext>
              </a:extLst>
            </p:cNvPr>
            <p:cNvCxnSpPr>
              <a:cxnSpLocks noGrp="1" noRot="1" noMove="1" noResize="1" noEditPoints="1" noAdjustHandles="1" noChangeArrowheads="1" noChangeShapeType="1"/>
            </p:cNvCxnSpPr>
            <p:nvPr userDrawn="1"/>
          </p:nvCxnSpPr>
          <p:spPr>
            <a:xfrm rot="5400000">
              <a:off x="-60324" y="6062980"/>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grpSp>
          <p:nvGrpSpPr>
            <p:cNvPr id="217" name="Group 216">
              <a:extLst>
                <a:ext uri="{FF2B5EF4-FFF2-40B4-BE49-F238E27FC236}">
                  <a16:creationId xmlns:a16="http://schemas.microsoft.com/office/drawing/2014/main" id="{64E99BCD-4B6B-8A77-3E7B-C8AE755D6FF5}"/>
                </a:ext>
              </a:extLst>
            </p:cNvPr>
            <p:cNvGrpSpPr>
              <a:grpSpLocks noGrp="1" noUngrp="1" noRot="1" noMove="1" noResize="1"/>
            </p:cNvGrpSpPr>
            <p:nvPr userDrawn="1"/>
          </p:nvGrpSpPr>
          <p:grpSpPr>
            <a:xfrm>
              <a:off x="-106044" y="1219200"/>
              <a:ext cx="91440" cy="419100"/>
              <a:chOff x="-106044" y="1219200"/>
              <a:chExt cx="91440" cy="419100"/>
            </a:xfrm>
          </p:grpSpPr>
          <p:cxnSp>
            <p:nvCxnSpPr>
              <p:cNvPr id="221" name="Straight Connector 220">
                <a:extLst>
                  <a:ext uri="{FF2B5EF4-FFF2-40B4-BE49-F238E27FC236}">
                    <a16:creationId xmlns:a16="http://schemas.microsoft.com/office/drawing/2014/main" id="{BDC21EB8-6195-9793-19F2-9F17FD159A22}"/>
                  </a:ext>
                </a:extLst>
              </p:cNvPr>
              <p:cNvCxnSpPr>
                <a:cxnSpLocks noGrp="1" noRot="1" noMove="1" noResize="1" noEditPoints="1" noAdjustHandles="1" noChangeArrowheads="1" noChangeShapeType="1"/>
              </p:cNvCxnSpPr>
              <p:nvPr userDrawn="1"/>
            </p:nvCxnSpPr>
            <p:spPr>
              <a:xfrm rot="5400000">
                <a:off x="-60324" y="1173480"/>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222" name="Straight Connector 221">
                <a:extLst>
                  <a:ext uri="{FF2B5EF4-FFF2-40B4-BE49-F238E27FC236}">
                    <a16:creationId xmlns:a16="http://schemas.microsoft.com/office/drawing/2014/main" id="{1BEA6F92-D18B-7DDF-A672-BD40DB39AD40}"/>
                  </a:ext>
                </a:extLst>
              </p:cNvPr>
              <p:cNvCxnSpPr>
                <a:cxnSpLocks noGrp="1" noRot="1" noMove="1" noResize="1" noEditPoints="1" noAdjustHandles="1" noChangeArrowheads="1" noChangeShapeType="1"/>
              </p:cNvCxnSpPr>
              <p:nvPr userDrawn="1"/>
            </p:nvCxnSpPr>
            <p:spPr>
              <a:xfrm rot="5400000">
                <a:off x="-60324" y="1592580"/>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grpSp>
        <p:grpSp>
          <p:nvGrpSpPr>
            <p:cNvPr id="218" name="Group 217">
              <a:extLst>
                <a:ext uri="{FF2B5EF4-FFF2-40B4-BE49-F238E27FC236}">
                  <a16:creationId xmlns:a16="http://schemas.microsoft.com/office/drawing/2014/main" id="{A9963F1F-494E-ED48-2599-10F3CF79B8EC}"/>
                </a:ext>
              </a:extLst>
            </p:cNvPr>
            <p:cNvGrpSpPr>
              <a:grpSpLocks noGrp="1" noUngrp="1" noRot="1" noMove="1" noResize="1"/>
            </p:cNvGrpSpPr>
            <p:nvPr userDrawn="1"/>
          </p:nvGrpSpPr>
          <p:grpSpPr>
            <a:xfrm>
              <a:off x="-106044" y="5676900"/>
              <a:ext cx="91440" cy="431800"/>
              <a:chOff x="-106044" y="1206500"/>
              <a:chExt cx="91440" cy="431800"/>
            </a:xfrm>
          </p:grpSpPr>
          <p:cxnSp>
            <p:nvCxnSpPr>
              <p:cNvPr id="219" name="Straight Connector 218">
                <a:extLst>
                  <a:ext uri="{FF2B5EF4-FFF2-40B4-BE49-F238E27FC236}">
                    <a16:creationId xmlns:a16="http://schemas.microsoft.com/office/drawing/2014/main" id="{FD80CC2F-018A-E7FC-E743-CCA5B83720FB}"/>
                  </a:ext>
                </a:extLst>
              </p:cNvPr>
              <p:cNvCxnSpPr>
                <a:cxnSpLocks noGrp="1" noRot="1" noMove="1" noResize="1" noEditPoints="1" noAdjustHandles="1" noChangeArrowheads="1" noChangeShapeType="1"/>
              </p:cNvCxnSpPr>
              <p:nvPr userDrawn="1"/>
            </p:nvCxnSpPr>
            <p:spPr>
              <a:xfrm rot="5400000">
                <a:off x="-60324" y="1160780"/>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220" name="Straight Connector 219">
                <a:extLst>
                  <a:ext uri="{FF2B5EF4-FFF2-40B4-BE49-F238E27FC236}">
                    <a16:creationId xmlns:a16="http://schemas.microsoft.com/office/drawing/2014/main" id="{3100CA45-B775-276A-5A43-FE5A99346451}"/>
                  </a:ext>
                </a:extLst>
              </p:cNvPr>
              <p:cNvCxnSpPr>
                <a:cxnSpLocks noGrp="1" noRot="1" noMove="1" noResize="1" noEditPoints="1" noAdjustHandles="1" noChangeArrowheads="1" noChangeShapeType="1"/>
              </p:cNvCxnSpPr>
              <p:nvPr userDrawn="1"/>
            </p:nvCxnSpPr>
            <p:spPr>
              <a:xfrm rot="5400000">
                <a:off x="-60324" y="1592580"/>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grpSp>
      </p:grpSp>
      <p:sp>
        <p:nvSpPr>
          <p:cNvPr id="6" name="Slide Number Placeholder">
            <a:extLst>
              <a:ext uri="{FF2B5EF4-FFF2-40B4-BE49-F238E27FC236}">
                <a16:creationId xmlns:a16="http://schemas.microsoft.com/office/drawing/2014/main" id="{A64E6BD6-E07D-2B19-17C8-0FC0C2471EFC}"/>
              </a:ext>
            </a:extLst>
          </p:cNvPr>
          <p:cNvSpPr>
            <a:spLocks noGrp="1" noRot="1" noMove="1" noResize="1" noEditPoints="1" noAdjustHandles="1" noChangeArrowheads="1" noChangeShapeType="1"/>
          </p:cNvSpPr>
          <p:nvPr>
            <p:ph type="sldNum" sz="quarter" idx="4"/>
          </p:nvPr>
        </p:nvSpPr>
        <p:spPr>
          <a:xfrm>
            <a:off x="11495577" y="6485399"/>
            <a:ext cx="404321" cy="282957"/>
          </a:xfrm>
          <a:prstGeom prst="rect">
            <a:avLst/>
          </a:prstGeom>
        </p:spPr>
        <p:txBody>
          <a:bodyPr vert="horz" lIns="0" tIns="0" rIns="0" bIns="0" rtlCol="0" anchor="ctr"/>
          <a:lstStyle>
            <a:lvl1pPr algn="r">
              <a:defRPr sz="1000">
                <a:solidFill>
                  <a:schemeClr val="bg1">
                    <a:lumMod val="50000"/>
                  </a:schemeClr>
                </a:solidFill>
              </a:defRPr>
            </a:lvl1pPr>
          </a:lstStyle>
          <a:p>
            <a:fld id="{3E04DF46-C0DC-4ADC-9A6F-918CC4703A43}" type="slidenum">
              <a:rPr lang="en-GB" smtClean="0"/>
              <a:pPr/>
              <a:t>‹#›</a:t>
            </a:fld>
            <a:endParaRPr lang="en-GB"/>
          </a:p>
        </p:txBody>
      </p:sp>
      <p:sp>
        <p:nvSpPr>
          <p:cNvPr id="7" name="Copyright Line">
            <a:extLst>
              <a:ext uri="{FF2B5EF4-FFF2-40B4-BE49-F238E27FC236}">
                <a16:creationId xmlns:a16="http://schemas.microsoft.com/office/drawing/2014/main" id="{FE2C65CF-8B27-677A-7002-0C3FC6DBB229}"/>
              </a:ext>
            </a:extLst>
          </p:cNvPr>
          <p:cNvSpPr txBox="1">
            <a:spLocks noGrp="1" noRot="1" noMove="1" noResize="1" noEditPoints="1" noAdjustHandles="1" noChangeArrowheads="1" noChangeShapeType="1"/>
          </p:cNvSpPr>
          <p:nvPr userDrawn="1"/>
        </p:nvSpPr>
        <p:spPr>
          <a:xfrm>
            <a:off x="9167809" y="6526850"/>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a:t>
            </a:r>
            <a:fld id="{92E70860-886D-4303-B2B5-BD1295E1FD39}" type="datetimeyyyy">
              <a:rPr lang="en-US" sz="700" smtClean="0">
                <a:solidFill>
                  <a:schemeClr val="tx1">
                    <a:lumMod val="40000"/>
                    <a:lumOff val="60000"/>
                  </a:schemeClr>
                </a:solidFill>
              </a:rPr>
              <a:t>2024</a:t>
            </a:fld>
            <a:r>
              <a:rPr lang="en-US" sz="700">
                <a:solidFill>
                  <a:schemeClr val="tx1">
                    <a:lumMod val="40000"/>
                    <a:lumOff val="60000"/>
                  </a:schemeClr>
                </a:solidFill>
              </a:rPr>
              <a:t> Nielsen Consumer LLC. All Rights Reserved.</a:t>
            </a:r>
          </a:p>
        </p:txBody>
      </p:sp>
      <p:sp>
        <p:nvSpPr>
          <p:cNvPr id="23" name="Confidential disclaimer">
            <a:extLst>
              <a:ext uri="{FF2B5EF4-FFF2-40B4-BE49-F238E27FC236}">
                <a16:creationId xmlns:a16="http://schemas.microsoft.com/office/drawing/2014/main" id="{78A1FF65-2683-767F-2325-D99D81EAF5F3}"/>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5" name="Footer Placeholder">
            <a:extLst>
              <a:ext uri="{FF2B5EF4-FFF2-40B4-BE49-F238E27FC236}">
                <a16:creationId xmlns:a16="http://schemas.microsoft.com/office/drawing/2014/main" id="{5F70E08D-819F-1B99-D7F7-BEB0CF6E8323}"/>
              </a:ext>
            </a:extLst>
          </p:cNvPr>
          <p:cNvSpPr>
            <a:spLocks noGrp="1" noRot="1" noMove="1" noResize="1" noEditPoints="1" noAdjustHandles="1" noChangeArrowheads="1" noChangeShapeType="1"/>
          </p:cNvSpPr>
          <p:nvPr>
            <p:ph type="ftr" sz="quarter" idx="3"/>
          </p:nvPr>
        </p:nvSpPr>
        <p:spPr>
          <a:xfrm>
            <a:off x="3251197" y="6485399"/>
            <a:ext cx="3716341" cy="282957"/>
          </a:xfrm>
          <a:prstGeom prst="rect">
            <a:avLst/>
          </a:prstGeom>
          <a:noFill/>
        </p:spPr>
        <p:txBody>
          <a:bodyPr vert="horz" lIns="0" tIns="0" rIns="0" bIns="0" rtlCol="0" anchor="ctr"/>
          <a:lstStyle>
            <a:lvl1pPr algn="l">
              <a:defRPr sz="1000">
                <a:solidFill>
                  <a:schemeClr val="bg1">
                    <a:lumMod val="50000"/>
                  </a:schemeClr>
                </a:solidFill>
              </a:defRPr>
            </a:lvl1pPr>
          </a:lstStyle>
          <a:p>
            <a:endParaRPr lang="en-GB"/>
          </a:p>
        </p:txBody>
      </p:sp>
      <p:sp>
        <p:nvSpPr>
          <p:cNvPr id="4" name="Date Placeholder">
            <a:extLst>
              <a:ext uri="{FF2B5EF4-FFF2-40B4-BE49-F238E27FC236}">
                <a16:creationId xmlns:a16="http://schemas.microsoft.com/office/drawing/2014/main" id="{7CB195BE-558A-E9D1-BD0E-FE21F1324E8F}"/>
              </a:ext>
            </a:extLst>
          </p:cNvPr>
          <p:cNvSpPr>
            <a:spLocks noGrp="1" noRot="1" noMove="1" noResize="1" noEditPoints="1" noAdjustHandles="1" noChangeArrowheads="1" noChangeShapeType="1"/>
          </p:cNvSpPr>
          <p:nvPr>
            <p:ph type="dt" sz="half" idx="2"/>
          </p:nvPr>
        </p:nvSpPr>
        <p:spPr>
          <a:xfrm>
            <a:off x="2265363" y="6485399"/>
            <a:ext cx="757238" cy="282957"/>
          </a:xfrm>
          <a:prstGeom prst="rect">
            <a:avLst/>
          </a:prstGeom>
        </p:spPr>
        <p:txBody>
          <a:bodyPr vert="horz" lIns="0" tIns="0" rIns="0" bIns="0" rtlCol="0" anchor="ctr"/>
          <a:lstStyle>
            <a:lvl1pPr algn="l">
              <a:defRPr sz="1000">
                <a:solidFill>
                  <a:schemeClr val="bg1">
                    <a:lumMod val="50000"/>
                  </a:schemeClr>
                </a:solidFill>
              </a:defRPr>
            </a:lvl1pPr>
          </a:lstStyle>
          <a:p>
            <a:fld id="{F42DF71F-30BE-44BA-A536-D8EF81D0364C}" type="datetime1">
              <a:rPr lang="en-GB" smtClean="0"/>
              <a:pPr/>
              <a:t>18/11/2024</a:t>
            </a:fld>
            <a:endParaRPr lang="en-GB"/>
          </a:p>
        </p:txBody>
      </p:sp>
      <p:cxnSp>
        <p:nvCxnSpPr>
          <p:cNvPr id="50" name="Base Rule">
            <a:extLst>
              <a:ext uri="{FF2B5EF4-FFF2-40B4-BE49-F238E27FC236}">
                <a16:creationId xmlns:a16="http://schemas.microsoft.com/office/drawing/2014/main" id="{8F7DBEB2-D3D4-C8B5-3434-A00B1C2AA7EE}"/>
              </a:ext>
            </a:extLst>
          </p:cNvPr>
          <p:cNvCxnSpPr>
            <a:cxnSpLocks noGrp="1" noRot="1" noMove="1" noResize="1" noEditPoints="1" noAdjustHandles="1" noChangeArrowheads="1" noChangeShapeType="1"/>
          </p:cNvCxnSpPr>
          <p:nvPr userDrawn="1"/>
        </p:nvCxnSpPr>
        <p:spPr>
          <a:xfrm>
            <a:off x="292100" y="6395755"/>
            <a:ext cx="116078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a:extLst>
              <a:ext uri="{FF2B5EF4-FFF2-40B4-BE49-F238E27FC236}">
                <a16:creationId xmlns:a16="http://schemas.microsoft.com/office/drawing/2014/main" id="{D708349F-2D5F-012D-30C6-BC9EF27CB848}"/>
              </a:ext>
            </a:extLst>
          </p:cNvPr>
          <p:cNvSpPr>
            <a:spLocks noGrp="1" noRot="1" noMove="1" noResize="1" noEditPoints="1" noAdjustHandles="1" noChangeArrowheads="1" noChangeShapeType="1"/>
          </p:cNvSpPr>
          <p:nvPr>
            <p:ph type="body" idx="1"/>
          </p:nvPr>
        </p:nvSpPr>
        <p:spPr>
          <a:xfrm>
            <a:off x="292100" y="1638300"/>
            <a:ext cx="11611336" cy="4038600"/>
          </a:xfrm>
          <a:prstGeom prst="rect">
            <a:avLst/>
          </a:prstGeom>
        </p:spPr>
        <p:txBody>
          <a:bodyPr vert="horz" lIns="0" tIns="0" rIns="0" bIns="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2" name="Title Placeholder">
            <a:extLst>
              <a:ext uri="{FF2B5EF4-FFF2-40B4-BE49-F238E27FC236}">
                <a16:creationId xmlns:a16="http://schemas.microsoft.com/office/drawing/2014/main" id="{2397E100-96BC-DBA8-0931-869A3CB0F64E}"/>
              </a:ext>
            </a:extLst>
          </p:cNvPr>
          <p:cNvSpPr>
            <a:spLocks noGrp="1" noRot="1" noMove="1" noResize="1" noEditPoints="1" noAdjustHandles="1" noChangeArrowheads="1" noChangeShapeType="1"/>
          </p:cNvSpPr>
          <p:nvPr>
            <p:ph type="title"/>
          </p:nvPr>
        </p:nvSpPr>
        <p:spPr>
          <a:xfrm>
            <a:off x="292100" y="304800"/>
            <a:ext cx="11613314" cy="265590"/>
          </a:xfrm>
          <a:prstGeom prst="rect">
            <a:avLst/>
          </a:prstGeom>
        </p:spPr>
        <p:txBody>
          <a:bodyPr vert="horz" lIns="0" tIns="0" rIns="0" bIns="0" rtlCol="0" anchor="t" anchorCtr="0">
            <a:noAutofit/>
          </a:bodyPr>
          <a:lstStyle/>
          <a:p>
            <a:r>
              <a:rPr lang="en-US"/>
              <a:t>Insert your slide title in Arial Bold 20pt</a:t>
            </a:r>
            <a:endParaRPr lang="en-GB"/>
          </a:p>
        </p:txBody>
      </p:sp>
      <p:pic>
        <p:nvPicPr>
          <p:cNvPr id="9" name="NIQ GFK Lockup" hidden="1">
            <a:extLst>
              <a:ext uri="{FF2B5EF4-FFF2-40B4-BE49-F238E27FC236}">
                <a16:creationId xmlns:a16="http://schemas.microsoft.com/office/drawing/2014/main" id="{820B2CC8-6A10-1A7D-AA80-20F852A3651A}"/>
              </a:ext>
            </a:extLst>
          </p:cNvPr>
          <p:cNvPicPr>
            <a:picLocks noGrp="1" noRot="1" noChangeAspect="1" noMove="1" noResize="1" noEditPoints="1" noAdjustHandles="1" noChangeArrowheads="1" noChangeShapeType="1" noCrop="1"/>
          </p:cNvPicPr>
          <p:nvPr userDrawn="1"/>
        </p:nvPicPr>
        <p:blipFill>
          <a:blip r:embed="rId58" cstate="print">
            <a:extLst>
              <a:ext uri="{28A0092B-C50C-407E-A947-70E740481C1C}">
                <a14:useLocalDpi xmlns:a14="http://schemas.microsoft.com/office/drawing/2010/main" val="0"/>
              </a:ext>
              <a:ext uri="{96DAC541-7B7A-43D3-8B79-37D633B846F1}">
                <asvg:svgBlip xmlns:asvg="http://schemas.microsoft.com/office/drawing/2016/SVG/main" r:embed="rId59"/>
              </a:ext>
            </a:extLst>
          </a:blip>
          <a:stretch>
            <a:fillRect/>
          </a:stretch>
        </p:blipFill>
        <p:spPr>
          <a:xfrm>
            <a:off x="302626" y="6462285"/>
            <a:ext cx="906224" cy="329184"/>
          </a:xfrm>
          <a:prstGeom prst="rect">
            <a:avLst/>
          </a:prstGeom>
        </p:spPr>
      </p:pic>
      <p:pic>
        <p:nvPicPr>
          <p:cNvPr id="22" name="NielsenIQ logo+wordmark" descr="A blue text on a black background&#10;&#10;Description automatically generated" hidden="1">
            <a:extLst>
              <a:ext uri="{FF2B5EF4-FFF2-40B4-BE49-F238E27FC236}">
                <a16:creationId xmlns:a16="http://schemas.microsoft.com/office/drawing/2014/main" id="{40901A86-02E1-3B2F-FACD-729B5AB8CC91}"/>
              </a:ext>
            </a:extLst>
          </p:cNvPr>
          <p:cNvPicPr>
            <a:picLocks noGrp="1" noRot="1" noChangeAspect="1" noMove="1" noResize="1" noEditPoints="1" noAdjustHandles="1" noChangeArrowheads="1" noChangeShapeType="1" noCrop="1"/>
          </p:cNvPicPr>
          <p:nvPr userDrawn="1"/>
        </p:nvPicPr>
        <p:blipFill>
          <a:blip r:embed="rId60" cstate="print">
            <a:extLst>
              <a:ext uri="{28A0092B-C50C-407E-A947-70E740481C1C}">
                <a14:useLocalDpi xmlns:a14="http://schemas.microsoft.com/office/drawing/2010/main" val="0"/>
              </a:ext>
            </a:extLst>
          </a:blip>
          <a:stretch>
            <a:fillRect/>
          </a:stretch>
        </p:blipFill>
        <p:spPr>
          <a:xfrm>
            <a:off x="290130" y="6495154"/>
            <a:ext cx="781433" cy="269593"/>
          </a:xfrm>
          <a:prstGeom prst="rect">
            <a:avLst/>
          </a:prstGeom>
        </p:spPr>
      </p:pic>
      <p:pic>
        <p:nvPicPr>
          <p:cNvPr id="11" name="NIQ Logo">
            <a:extLst>
              <a:ext uri="{FF2B5EF4-FFF2-40B4-BE49-F238E27FC236}">
                <a16:creationId xmlns:a16="http://schemas.microsoft.com/office/drawing/2014/main" id="{ACAE94BF-32EB-3237-6101-F4E7A582074F}"/>
              </a:ext>
            </a:extLst>
          </p:cNvPr>
          <p:cNvPicPr>
            <a:picLocks noGrp="1" noRot="1" noChangeAspect="1" noMove="1" noResize="1" noEditPoints="1" noAdjustHandles="1" noChangeArrowheads="1" noChangeShapeType="1" noCrop="1"/>
          </p:cNvPicPr>
          <p:nvPr userDrawn="1"/>
        </p:nvPicPr>
        <p:blipFill>
          <a:blip r:embed="rId61" cstate="print">
            <a:extLst>
              <a:ext uri="{28A0092B-C50C-407E-A947-70E740481C1C}">
                <a14:useLocalDpi xmlns:a14="http://schemas.microsoft.com/office/drawing/2010/main" val="0"/>
              </a:ext>
              <a:ext uri="{96DAC541-7B7A-43D3-8B79-37D633B846F1}">
                <asvg:svgBlip xmlns:asvg="http://schemas.microsoft.com/office/drawing/2016/SVG/main" r:embed="rId62"/>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1344167422"/>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 id="2147483753" r:id="rId23"/>
    <p:sldLayoutId id="2147483754" r:id="rId24"/>
    <p:sldLayoutId id="2147483755" r:id="rId25"/>
    <p:sldLayoutId id="2147483756" r:id="rId26"/>
    <p:sldLayoutId id="2147483757" r:id="rId27"/>
    <p:sldLayoutId id="2147483758" r:id="rId28"/>
    <p:sldLayoutId id="2147483759" r:id="rId29"/>
    <p:sldLayoutId id="2147483760" r:id="rId30"/>
    <p:sldLayoutId id="2147483761" r:id="rId31"/>
    <p:sldLayoutId id="2147483762" r:id="rId32"/>
    <p:sldLayoutId id="2147483763" r:id="rId33"/>
    <p:sldLayoutId id="2147483764" r:id="rId34"/>
    <p:sldLayoutId id="2147483765" r:id="rId35"/>
    <p:sldLayoutId id="2147483766" r:id="rId36"/>
    <p:sldLayoutId id="2147483767" r:id="rId37"/>
    <p:sldLayoutId id="2147483768" r:id="rId38"/>
    <p:sldLayoutId id="2147483769" r:id="rId39"/>
    <p:sldLayoutId id="2147483770" r:id="rId40"/>
    <p:sldLayoutId id="2147483771" r:id="rId41"/>
    <p:sldLayoutId id="2147483772" r:id="rId42"/>
    <p:sldLayoutId id="2147483773" r:id="rId43"/>
    <p:sldLayoutId id="2147483774" r:id="rId44"/>
    <p:sldLayoutId id="2147483775" r:id="rId45"/>
    <p:sldLayoutId id="2147483776" r:id="rId46"/>
    <p:sldLayoutId id="2147483777" r:id="rId47"/>
    <p:sldLayoutId id="2147483778" r:id="rId48"/>
    <p:sldLayoutId id="2147483779" r:id="rId49"/>
    <p:sldLayoutId id="2147483780" r:id="rId50"/>
    <p:sldLayoutId id="2147483782" r:id="rId51"/>
    <p:sldLayoutId id="2147483961" r:id="rId52"/>
    <p:sldLayoutId id="2147483962" r:id="rId53"/>
    <p:sldLayoutId id="2147483963" r:id="rId54"/>
    <p:sldLayoutId id="2147483964" r:id="rId55"/>
    <p:sldLayoutId id="2147483965" r:id="rId56"/>
  </p:sldLayoutIdLst>
  <p:hf hdr="0" ftr="0" dt="0"/>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171450" indent="-171450" algn="l" defTabSz="914400"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457200" indent="-171450" algn="l" defTabSz="914400" rtl="0" eaLnBrk="1" latinLnBrk="0" hangingPunct="1">
        <a:lnSpc>
          <a:spcPct val="100000"/>
        </a:lnSpc>
        <a:spcBef>
          <a:spcPts val="800"/>
        </a:spcBef>
        <a:buClr>
          <a:schemeClr val="tx1"/>
        </a:buClr>
        <a:buFont typeface="Arial" panose="020B0604020202020204" pitchFamily="34" charset="0"/>
        <a:buChar char="-"/>
        <a:defRPr sz="1400" kern="1200">
          <a:solidFill>
            <a:schemeClr val="tx1"/>
          </a:solidFill>
          <a:latin typeface="+mn-lt"/>
          <a:ea typeface="+mn-ea"/>
          <a:cs typeface="+mn-cs"/>
        </a:defRPr>
      </a:lvl2pPr>
      <a:lvl3pPr marL="742950" indent="-171450" algn="l" defTabSz="914400" rtl="0" eaLnBrk="1" latinLnBrk="0" hangingPunct="1">
        <a:lnSpc>
          <a:spcPct val="100000"/>
        </a:lnSpc>
        <a:spcBef>
          <a:spcPts val="700"/>
        </a:spcBef>
        <a:buFont typeface="Arial" panose="020B0604020202020204" pitchFamily="34" charset="0"/>
        <a:buChar char="•"/>
        <a:defRPr sz="1400" kern="1200">
          <a:solidFill>
            <a:schemeClr val="tx1"/>
          </a:solidFill>
          <a:latin typeface="+mn-lt"/>
          <a:ea typeface="+mn-ea"/>
          <a:cs typeface="+mn-cs"/>
        </a:defRPr>
      </a:lvl3pPr>
      <a:lvl4pPr marL="1085850" indent="-171450" algn="l" defTabSz="914400"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4pPr>
      <a:lvl5pPr marL="1371600" indent="-171450" algn="l" defTabSz="914400"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4A3A4"/>
          </p15:clr>
        </p15:guide>
        <p15:guide id="2" pos="7680">
          <p15:clr>
            <a:srgbClr val="A4A3A4"/>
          </p15:clr>
        </p15:guide>
        <p15:guide id="3" pos="184">
          <p15:clr>
            <a:srgbClr val="A4A3A4"/>
          </p15:clr>
        </p15:guide>
        <p15:guide id="4" pos="3840">
          <p15:clr>
            <a:srgbClr val="A4A3A4"/>
          </p15:clr>
        </p15:guide>
        <p15:guide id="5" pos="7496">
          <p15:clr>
            <a:srgbClr val="A4A3A4"/>
          </p15:clr>
        </p15:guide>
        <p15:guide id="6" orient="horz">
          <p15:clr>
            <a:srgbClr val="A4A3A4"/>
          </p15:clr>
        </p15:guide>
        <p15:guide id="7" orient="horz" pos="4320">
          <p15:clr>
            <a:srgbClr val="A4A3A4"/>
          </p15:clr>
        </p15:guide>
        <p15:guide id="8" orient="horz" pos="192">
          <p15:clr>
            <a:srgbClr val="A4A3A4"/>
          </p15:clr>
        </p15:guide>
        <p15:guide id="9" orient="horz" pos="3968">
          <p15:clr>
            <a:srgbClr val="A4A3A4"/>
          </p15:clr>
        </p15:guide>
        <p15:guide id="10" orient="horz" pos="768">
          <p15:clr>
            <a:srgbClr val="A4A3A4"/>
          </p15:clr>
        </p15:guide>
        <p15:guide id="11" orient="horz" pos="3848">
          <p15:clr>
            <a:srgbClr val="A4A3A4"/>
          </p15:clr>
        </p15:guide>
        <p15:guide id="12" orient="horz" pos="1032">
          <p15:clr>
            <a:srgbClr val="A4A3A4"/>
          </p15:clr>
        </p15:guide>
        <p15:guide id="13" orient="horz" pos="3576">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469737"/>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50857"/>
            <a:ext cx="11582400" cy="436541"/>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a:p>
        </p:txBody>
      </p:sp>
      <p:sp>
        <p:nvSpPr>
          <p:cNvPr id="13" name="TextBox 12">
            <a:extLst>
              <a:ext uri="{FF2B5EF4-FFF2-40B4-BE49-F238E27FC236}">
                <a16:creationId xmlns:a16="http://schemas.microsoft.com/office/drawing/2014/main" id="{E6F4DD64-3534-DEB8-AEE5-0372CCAEBF2E}"/>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E54681E9-32B0-5055-E5A7-6DDCD23B8EFC}"/>
              </a:ext>
            </a:extLst>
          </p:cNvPr>
          <p:cNvPicPr>
            <a:picLocks noChangeAspect="1"/>
          </p:cNvPicPr>
          <p:nvPr userDrawn="1"/>
        </p:nvPicPr>
        <p:blipFill>
          <a:blip r:embed="rId2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641152305"/>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 id="2147483806" r:id="rId17"/>
    <p:sldLayoutId id="2147483807" r:id="rId18"/>
    <p:sldLayoutId id="2147483808" r:id="rId19"/>
    <p:sldLayoutId id="2147483811" r:id="rId20"/>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3FFE313-6EBE-E467-A0F4-4E7E2930DA7E}"/>
              </a:ext>
            </a:extLst>
          </p:cNvPr>
          <p:cNvGraphicFramePr>
            <a:graphicFrameLocks noChangeAspect="1"/>
          </p:cNvGraphicFramePr>
          <p:nvPr userDrawn="1">
            <p:custDataLst>
              <p:tags r:id="rId47"/>
            </p:custDataLst>
            <p:extLst>
              <p:ext uri="{D42A27DB-BD31-4B8C-83A1-F6EECF244321}">
                <p14:modId xmlns:p14="http://schemas.microsoft.com/office/powerpoint/2010/main" val="2739000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371" imgH="371" progId="TCLayout.ActiveDocument.1">
                  <p:embed/>
                </p:oleObj>
              </mc:Choice>
              <mc:Fallback>
                <p:oleObj name="think-cell Slide" r:id="rId48" imgW="371" imgH="371" progId="TCLayout.ActiveDocument.1">
                  <p:embed/>
                  <p:pic>
                    <p:nvPicPr>
                      <p:cNvPr id="8" name="think-cell data - do not delete" hidden="1">
                        <a:extLst>
                          <a:ext uri="{FF2B5EF4-FFF2-40B4-BE49-F238E27FC236}">
                            <a16:creationId xmlns:a16="http://schemas.microsoft.com/office/drawing/2014/main" id="{C3FFE313-6EBE-E467-A0F4-4E7E2930DA7E}"/>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6140DCC3-C184-E296-80E1-52E3FDD9938B}"/>
              </a:ext>
            </a:extLst>
          </p:cNvPr>
          <p:cNvPicPr>
            <a:picLocks noChangeAspect="1"/>
          </p:cNvPicPr>
          <p:nvPr userDrawn="1"/>
        </p:nvPicPr>
        <p:blipFill>
          <a:blip r:embed="rId50"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4250711949"/>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 id="2147483838" r:id="rId25"/>
    <p:sldLayoutId id="2147483839" r:id="rId26"/>
    <p:sldLayoutId id="2147483840" r:id="rId27"/>
    <p:sldLayoutId id="2147483841" r:id="rId28"/>
    <p:sldLayoutId id="2147483842" r:id="rId29"/>
    <p:sldLayoutId id="2147483843" r:id="rId30"/>
    <p:sldLayoutId id="2147483844" r:id="rId31"/>
    <p:sldLayoutId id="2147483845" r:id="rId32"/>
    <p:sldLayoutId id="2147483846" r:id="rId33"/>
    <p:sldLayoutId id="2147483847" r:id="rId34"/>
    <p:sldLayoutId id="2147483848" r:id="rId35"/>
    <p:sldLayoutId id="2147483850" r:id="rId36"/>
    <p:sldLayoutId id="2147483851" r:id="rId37"/>
    <p:sldLayoutId id="2147483852" r:id="rId38"/>
    <p:sldLayoutId id="2147483853" r:id="rId39"/>
    <p:sldLayoutId id="2147483854" r:id="rId40"/>
    <p:sldLayoutId id="2147483855" r:id="rId41"/>
    <p:sldLayoutId id="2147483856" r:id="rId42"/>
    <p:sldLayoutId id="2147483857" r:id="rId43"/>
    <p:sldLayoutId id="2147483858" r:id="rId44"/>
    <p:sldLayoutId id="2147483859" r:id="rId45"/>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4 Nielsen Consumer LLC. All Rights Reserved.</a:t>
            </a:r>
          </a:p>
        </p:txBody>
      </p:sp>
      <p:pic>
        <p:nvPicPr>
          <p:cNvPr id="5" name="Picture 4">
            <a:extLst>
              <a:ext uri="{FF2B5EF4-FFF2-40B4-BE49-F238E27FC236}">
                <a16:creationId xmlns:a16="http://schemas.microsoft.com/office/drawing/2014/main" id="{6140DCC3-C184-E296-80E1-52E3FDD9938B}"/>
              </a:ext>
            </a:extLst>
          </p:cNvPr>
          <p:cNvPicPr>
            <a:picLocks noChangeAspect="1"/>
          </p:cNvPicPr>
          <p:nvPr userDrawn="1"/>
        </p:nvPicPr>
        <p:blipFill>
          <a:blip r:embed="rId37"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233678117"/>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7" r:id="rId15"/>
    <p:sldLayoutId id="2147483888" r:id="rId16"/>
    <p:sldLayoutId id="2147483889" r:id="rId17"/>
    <p:sldLayoutId id="2147483890" r:id="rId18"/>
    <p:sldLayoutId id="2147483891" r:id="rId19"/>
    <p:sldLayoutId id="2147483892" r:id="rId20"/>
    <p:sldLayoutId id="2147483893" r:id="rId21"/>
    <p:sldLayoutId id="2147483894" r:id="rId22"/>
    <p:sldLayoutId id="2147483895" r:id="rId23"/>
    <p:sldLayoutId id="2147483896" r:id="rId24"/>
    <p:sldLayoutId id="2147483897" r:id="rId25"/>
    <p:sldLayoutId id="2147483898" r:id="rId26"/>
    <p:sldLayoutId id="2147483899" r:id="rId27"/>
    <p:sldLayoutId id="2147483900" r:id="rId28"/>
    <p:sldLayoutId id="2147483901" r:id="rId29"/>
    <p:sldLayoutId id="2147483902" r:id="rId30"/>
    <p:sldLayoutId id="2147483903" r:id="rId31"/>
    <p:sldLayoutId id="2147483904" r:id="rId32"/>
    <p:sldLayoutId id="2147483905" r:id="rId33"/>
    <p:sldLayoutId id="2147483906" r:id="rId34"/>
    <p:sldLayoutId id="2147483907" r:id="rId35"/>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2" name="Column Markers Bottom">
            <a:extLst>
              <a:ext uri="{FF2B5EF4-FFF2-40B4-BE49-F238E27FC236}">
                <a16:creationId xmlns:a16="http://schemas.microsoft.com/office/drawing/2014/main" id="{E1D6B4B9-1099-AE79-D01E-0EAEC19E45AF}"/>
              </a:ext>
            </a:extLst>
          </p:cNvPr>
          <p:cNvGrpSpPr>
            <a:grpSpLocks noGrp="1" noUngrp="1" noRot="1" noMove="1" noResize="1"/>
          </p:cNvGrpSpPr>
          <p:nvPr userDrawn="1"/>
        </p:nvGrpSpPr>
        <p:grpSpPr>
          <a:xfrm>
            <a:off x="292100" y="6871945"/>
            <a:ext cx="11607801" cy="163023"/>
            <a:chOff x="292100" y="6871945"/>
            <a:chExt cx="11607801" cy="163023"/>
          </a:xfrm>
        </p:grpSpPr>
        <p:grpSp>
          <p:nvGrpSpPr>
            <p:cNvPr id="152" name="Group 151">
              <a:extLst>
                <a:ext uri="{FF2B5EF4-FFF2-40B4-BE49-F238E27FC236}">
                  <a16:creationId xmlns:a16="http://schemas.microsoft.com/office/drawing/2014/main" id="{BE110526-ADF0-FAFE-E6F6-7C0C9BCC4779}"/>
                </a:ext>
              </a:extLst>
            </p:cNvPr>
            <p:cNvGrpSpPr>
              <a:grpSpLocks noGrp="1" noUngrp="1" noRot="1" noMove="1" noResize="1"/>
            </p:cNvGrpSpPr>
            <p:nvPr userDrawn="1"/>
          </p:nvGrpSpPr>
          <p:grpSpPr>
            <a:xfrm rot="10800000">
              <a:off x="292100" y="6871945"/>
              <a:ext cx="11607801" cy="137160"/>
              <a:chOff x="292100" y="-165576"/>
              <a:chExt cx="11607801" cy="137160"/>
            </a:xfrm>
          </p:grpSpPr>
          <p:cxnSp>
            <p:nvCxnSpPr>
              <p:cNvPr id="153" name="Straight Connector 152">
                <a:extLst>
                  <a:ext uri="{FF2B5EF4-FFF2-40B4-BE49-F238E27FC236}">
                    <a16:creationId xmlns:a16="http://schemas.microsoft.com/office/drawing/2014/main" id="{80A4DF54-7035-6C14-2C30-2B436C500B8E}"/>
                  </a:ext>
                </a:extLst>
              </p:cNvPr>
              <p:cNvCxnSpPr>
                <a:cxnSpLocks noGrp="1" noRot="1" noMove="1" noResize="1" noEditPoints="1" noAdjustHandles="1" noChangeArrowheads="1" noChangeShapeType="1"/>
              </p:cNvCxnSpPr>
              <p:nvPr userDrawn="1"/>
            </p:nvCxnSpPr>
            <p:spPr>
              <a:xfrm>
                <a:off x="292100"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54" name="Straight Connector 153">
                <a:extLst>
                  <a:ext uri="{FF2B5EF4-FFF2-40B4-BE49-F238E27FC236}">
                    <a16:creationId xmlns:a16="http://schemas.microsoft.com/office/drawing/2014/main" id="{670D1442-8E01-B2E8-926B-7888C14EFD17}"/>
                  </a:ext>
                </a:extLst>
              </p:cNvPr>
              <p:cNvCxnSpPr>
                <a:cxnSpLocks noGrp="1" noRot="1" noMove="1" noResize="1" noEditPoints="1" noAdjustHandles="1" noChangeArrowheads="1" noChangeShapeType="1"/>
              </p:cNvCxnSpPr>
              <p:nvPr userDrawn="1"/>
            </p:nvCxnSpPr>
            <p:spPr>
              <a:xfrm>
                <a:off x="1049338"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55" name="Straight Connector 154">
                <a:extLst>
                  <a:ext uri="{FF2B5EF4-FFF2-40B4-BE49-F238E27FC236}">
                    <a16:creationId xmlns:a16="http://schemas.microsoft.com/office/drawing/2014/main" id="{90532B25-CA4D-3B6A-6E0F-1B2848BEE2A2}"/>
                  </a:ext>
                </a:extLst>
              </p:cNvPr>
              <p:cNvCxnSpPr>
                <a:cxnSpLocks noGrp="1" noRot="1" noMove="1" noResize="1" noEditPoints="1" noAdjustHandles="1" noChangeArrowheads="1" noChangeShapeType="1"/>
              </p:cNvCxnSpPr>
              <p:nvPr userDrawn="1"/>
            </p:nvCxnSpPr>
            <p:spPr>
              <a:xfrm>
                <a:off x="1277937"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56" name="Straight Connector 155">
                <a:extLst>
                  <a:ext uri="{FF2B5EF4-FFF2-40B4-BE49-F238E27FC236}">
                    <a16:creationId xmlns:a16="http://schemas.microsoft.com/office/drawing/2014/main" id="{F267E6E1-987D-98AF-DF0F-3B2926D01225}"/>
                  </a:ext>
                </a:extLst>
              </p:cNvPr>
              <p:cNvCxnSpPr>
                <a:cxnSpLocks noGrp="1" noRot="1" noMove="1" noResize="1" noEditPoints="1" noAdjustHandles="1" noChangeArrowheads="1" noChangeShapeType="1"/>
              </p:cNvCxnSpPr>
              <p:nvPr userDrawn="1"/>
            </p:nvCxnSpPr>
            <p:spPr>
              <a:xfrm>
                <a:off x="2035175"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57" name="Straight Connector 156">
                <a:extLst>
                  <a:ext uri="{FF2B5EF4-FFF2-40B4-BE49-F238E27FC236}">
                    <a16:creationId xmlns:a16="http://schemas.microsoft.com/office/drawing/2014/main" id="{D2A9C692-7128-365D-B823-06548244B596}"/>
                  </a:ext>
                </a:extLst>
              </p:cNvPr>
              <p:cNvCxnSpPr>
                <a:cxnSpLocks noGrp="1" noRot="1" noMove="1" noResize="1" noEditPoints="1" noAdjustHandles="1" noChangeArrowheads="1" noChangeShapeType="1"/>
              </p:cNvCxnSpPr>
              <p:nvPr userDrawn="1"/>
            </p:nvCxnSpPr>
            <p:spPr>
              <a:xfrm>
                <a:off x="2265363"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58" name="Straight Connector 157">
                <a:extLst>
                  <a:ext uri="{FF2B5EF4-FFF2-40B4-BE49-F238E27FC236}">
                    <a16:creationId xmlns:a16="http://schemas.microsoft.com/office/drawing/2014/main" id="{04F05B7A-E93D-CFB9-B6F9-1B2BF080916F}"/>
                  </a:ext>
                </a:extLst>
              </p:cNvPr>
              <p:cNvCxnSpPr>
                <a:cxnSpLocks noGrp="1" noRot="1" noMove="1" noResize="1" noEditPoints="1" noAdjustHandles="1" noChangeArrowheads="1" noChangeShapeType="1"/>
              </p:cNvCxnSpPr>
              <p:nvPr userDrawn="1"/>
            </p:nvCxnSpPr>
            <p:spPr>
              <a:xfrm>
                <a:off x="3022601"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cxnSp>
            <p:nvCxnSpPr>
              <p:cNvPr id="159" name="Straight Connector 158">
                <a:extLst>
                  <a:ext uri="{FF2B5EF4-FFF2-40B4-BE49-F238E27FC236}">
                    <a16:creationId xmlns:a16="http://schemas.microsoft.com/office/drawing/2014/main" id="{1B89BC66-0F9A-1EC3-7665-B83A788EEA93}"/>
                  </a:ext>
                </a:extLst>
              </p:cNvPr>
              <p:cNvCxnSpPr>
                <a:cxnSpLocks noGrp="1" noRot="1" noMove="1" noResize="1" noEditPoints="1" noAdjustHandles="1" noChangeArrowheads="1" noChangeShapeType="1"/>
              </p:cNvCxnSpPr>
              <p:nvPr userDrawn="1"/>
            </p:nvCxnSpPr>
            <p:spPr>
              <a:xfrm>
                <a:off x="3251200"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cxnSp>
            <p:nvCxnSpPr>
              <p:cNvPr id="160" name="Straight Connector 159">
                <a:extLst>
                  <a:ext uri="{FF2B5EF4-FFF2-40B4-BE49-F238E27FC236}">
                    <a16:creationId xmlns:a16="http://schemas.microsoft.com/office/drawing/2014/main" id="{5FA024A8-3261-24D4-053C-69B151F55125}"/>
                  </a:ext>
                </a:extLst>
              </p:cNvPr>
              <p:cNvCxnSpPr>
                <a:cxnSpLocks noGrp="1" noRot="1" noMove="1" noResize="1" noEditPoints="1" noAdjustHandles="1" noChangeArrowheads="1" noChangeShapeType="1"/>
              </p:cNvCxnSpPr>
              <p:nvPr userDrawn="1"/>
            </p:nvCxnSpPr>
            <p:spPr>
              <a:xfrm>
                <a:off x="4008438" y="-165576"/>
                <a:ext cx="0" cy="137160"/>
              </a:xfrm>
              <a:prstGeom prst="line">
                <a:avLst/>
              </a:prstGeom>
              <a:ln w="3175">
                <a:solidFill>
                  <a:srgbClr val="FFC000"/>
                </a:solidFill>
              </a:ln>
            </p:spPr>
            <p:style>
              <a:lnRef idx="2">
                <a:schemeClr val="accent1"/>
              </a:lnRef>
              <a:fillRef idx="0">
                <a:schemeClr val="accent1"/>
              </a:fillRef>
              <a:effectRef idx="1">
                <a:schemeClr val="accent1"/>
              </a:effectRef>
              <a:fontRef idx="minor">
                <a:schemeClr val="tx1"/>
              </a:fontRef>
            </p:style>
          </p:cxnSp>
          <p:cxnSp>
            <p:nvCxnSpPr>
              <p:cNvPr id="161" name="Straight Connector 160">
                <a:extLst>
                  <a:ext uri="{FF2B5EF4-FFF2-40B4-BE49-F238E27FC236}">
                    <a16:creationId xmlns:a16="http://schemas.microsoft.com/office/drawing/2014/main" id="{156CB882-2C70-5A74-3737-0DACE12E6AB6}"/>
                  </a:ext>
                </a:extLst>
              </p:cNvPr>
              <p:cNvCxnSpPr>
                <a:cxnSpLocks noGrp="1" noRot="1" noMove="1" noResize="1" noEditPoints="1" noAdjustHandles="1" noChangeArrowheads="1" noChangeShapeType="1"/>
              </p:cNvCxnSpPr>
              <p:nvPr userDrawn="1"/>
            </p:nvCxnSpPr>
            <p:spPr>
              <a:xfrm>
                <a:off x="4237037" y="-165576"/>
                <a:ext cx="0" cy="137160"/>
              </a:xfrm>
              <a:prstGeom prst="line">
                <a:avLst/>
              </a:prstGeom>
              <a:ln w="3175">
                <a:solidFill>
                  <a:srgbClr val="FFC000"/>
                </a:solidFill>
              </a:ln>
            </p:spPr>
            <p:style>
              <a:lnRef idx="2">
                <a:schemeClr val="accent1"/>
              </a:lnRef>
              <a:fillRef idx="0">
                <a:schemeClr val="accent1"/>
              </a:fillRef>
              <a:effectRef idx="1">
                <a:schemeClr val="accent1"/>
              </a:effectRef>
              <a:fontRef idx="minor">
                <a:schemeClr val="tx1"/>
              </a:fontRef>
            </p:style>
          </p:cxnSp>
          <p:cxnSp>
            <p:nvCxnSpPr>
              <p:cNvPr id="162" name="Straight Connector 161">
                <a:extLst>
                  <a:ext uri="{FF2B5EF4-FFF2-40B4-BE49-F238E27FC236}">
                    <a16:creationId xmlns:a16="http://schemas.microsoft.com/office/drawing/2014/main" id="{1B48B91C-853B-5024-8ACD-DDD17A239487}"/>
                  </a:ext>
                </a:extLst>
              </p:cNvPr>
              <p:cNvCxnSpPr>
                <a:cxnSpLocks noGrp="1" noRot="1" noMove="1" noResize="1" noEditPoints="1" noAdjustHandles="1" noChangeArrowheads="1" noChangeShapeType="1"/>
              </p:cNvCxnSpPr>
              <p:nvPr userDrawn="1"/>
            </p:nvCxnSpPr>
            <p:spPr>
              <a:xfrm>
                <a:off x="4994275"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63" name="Straight Connector 162">
                <a:extLst>
                  <a:ext uri="{FF2B5EF4-FFF2-40B4-BE49-F238E27FC236}">
                    <a16:creationId xmlns:a16="http://schemas.microsoft.com/office/drawing/2014/main" id="{2CE81E04-31BD-6D43-C55A-C91681E50947}"/>
                  </a:ext>
                </a:extLst>
              </p:cNvPr>
              <p:cNvCxnSpPr>
                <a:cxnSpLocks noGrp="1" noRot="1" noMove="1" noResize="1" noEditPoints="1" noAdjustHandles="1" noChangeArrowheads="1" noChangeShapeType="1"/>
              </p:cNvCxnSpPr>
              <p:nvPr userDrawn="1"/>
            </p:nvCxnSpPr>
            <p:spPr>
              <a:xfrm>
                <a:off x="5222874"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64" name="Straight Connector 163">
                <a:extLst>
                  <a:ext uri="{FF2B5EF4-FFF2-40B4-BE49-F238E27FC236}">
                    <a16:creationId xmlns:a16="http://schemas.microsoft.com/office/drawing/2014/main" id="{7F8CDAA3-FD28-C355-23BC-499395BE300E}"/>
                  </a:ext>
                </a:extLst>
              </p:cNvPr>
              <p:cNvCxnSpPr>
                <a:cxnSpLocks noGrp="1" noRot="1" noMove="1" noResize="1" noEditPoints="1" noAdjustHandles="1" noChangeArrowheads="1" noChangeShapeType="1"/>
              </p:cNvCxnSpPr>
              <p:nvPr userDrawn="1"/>
            </p:nvCxnSpPr>
            <p:spPr>
              <a:xfrm>
                <a:off x="5980112"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cxnSp>
            <p:nvCxnSpPr>
              <p:cNvPr id="165" name="Straight Connector 164">
                <a:extLst>
                  <a:ext uri="{FF2B5EF4-FFF2-40B4-BE49-F238E27FC236}">
                    <a16:creationId xmlns:a16="http://schemas.microsoft.com/office/drawing/2014/main" id="{3D8E9710-60CE-3DA0-7382-C73A94CB0D80}"/>
                  </a:ext>
                </a:extLst>
              </p:cNvPr>
              <p:cNvCxnSpPr>
                <a:cxnSpLocks noGrp="1" noRot="1" noMove="1" noResize="1" noEditPoints="1" noAdjustHandles="1" noChangeArrowheads="1" noChangeShapeType="1"/>
              </p:cNvCxnSpPr>
              <p:nvPr userDrawn="1"/>
            </p:nvCxnSpPr>
            <p:spPr>
              <a:xfrm>
                <a:off x="6210300"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cxnSp>
            <p:nvCxnSpPr>
              <p:cNvPr id="166" name="Straight Connector 165">
                <a:extLst>
                  <a:ext uri="{FF2B5EF4-FFF2-40B4-BE49-F238E27FC236}">
                    <a16:creationId xmlns:a16="http://schemas.microsoft.com/office/drawing/2014/main" id="{733C6AA6-13D5-5435-C02F-8F0070698D66}"/>
                  </a:ext>
                </a:extLst>
              </p:cNvPr>
              <p:cNvCxnSpPr>
                <a:cxnSpLocks noGrp="1" noRot="1" noMove="1" noResize="1" noEditPoints="1" noAdjustHandles="1" noChangeArrowheads="1" noChangeShapeType="1"/>
              </p:cNvCxnSpPr>
              <p:nvPr userDrawn="1"/>
            </p:nvCxnSpPr>
            <p:spPr>
              <a:xfrm>
                <a:off x="6967538"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67" name="Straight Connector 166">
                <a:extLst>
                  <a:ext uri="{FF2B5EF4-FFF2-40B4-BE49-F238E27FC236}">
                    <a16:creationId xmlns:a16="http://schemas.microsoft.com/office/drawing/2014/main" id="{B015AFE0-C364-2ADE-866F-ED48C44A349C}"/>
                  </a:ext>
                </a:extLst>
              </p:cNvPr>
              <p:cNvCxnSpPr>
                <a:cxnSpLocks noGrp="1" noRot="1" noMove="1" noResize="1" noEditPoints="1" noAdjustHandles="1" noChangeArrowheads="1" noChangeShapeType="1"/>
              </p:cNvCxnSpPr>
              <p:nvPr userDrawn="1"/>
            </p:nvCxnSpPr>
            <p:spPr>
              <a:xfrm>
                <a:off x="7196137"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68" name="Straight Connector 167">
                <a:extLst>
                  <a:ext uri="{FF2B5EF4-FFF2-40B4-BE49-F238E27FC236}">
                    <a16:creationId xmlns:a16="http://schemas.microsoft.com/office/drawing/2014/main" id="{11395D59-3589-CE2B-EE20-7EAAF4EE0DD5}"/>
                  </a:ext>
                </a:extLst>
              </p:cNvPr>
              <p:cNvCxnSpPr>
                <a:cxnSpLocks noGrp="1" noRot="1" noMove="1" noResize="1" noEditPoints="1" noAdjustHandles="1" noChangeArrowheads="1" noChangeShapeType="1"/>
              </p:cNvCxnSpPr>
              <p:nvPr userDrawn="1"/>
            </p:nvCxnSpPr>
            <p:spPr>
              <a:xfrm>
                <a:off x="7953375" y="-165576"/>
                <a:ext cx="0" cy="137160"/>
              </a:xfrm>
              <a:prstGeom prst="line">
                <a:avLst/>
              </a:prstGeom>
              <a:ln w="3175">
                <a:solidFill>
                  <a:srgbClr val="FFC000"/>
                </a:solidFill>
              </a:ln>
            </p:spPr>
            <p:style>
              <a:lnRef idx="2">
                <a:schemeClr val="accent1"/>
              </a:lnRef>
              <a:fillRef idx="0">
                <a:schemeClr val="accent1"/>
              </a:fillRef>
              <a:effectRef idx="1">
                <a:schemeClr val="accent1"/>
              </a:effectRef>
              <a:fontRef idx="minor">
                <a:schemeClr val="tx1"/>
              </a:fontRef>
            </p:style>
          </p:cxnSp>
          <p:cxnSp>
            <p:nvCxnSpPr>
              <p:cNvPr id="169" name="Straight Connector 168">
                <a:extLst>
                  <a:ext uri="{FF2B5EF4-FFF2-40B4-BE49-F238E27FC236}">
                    <a16:creationId xmlns:a16="http://schemas.microsoft.com/office/drawing/2014/main" id="{5DA54A0A-00B3-66C0-4D16-2A52CAD39782}"/>
                  </a:ext>
                </a:extLst>
              </p:cNvPr>
              <p:cNvCxnSpPr>
                <a:cxnSpLocks noGrp="1" noRot="1" noMove="1" noResize="1" noEditPoints="1" noAdjustHandles="1" noChangeArrowheads="1" noChangeShapeType="1"/>
              </p:cNvCxnSpPr>
              <p:nvPr userDrawn="1"/>
            </p:nvCxnSpPr>
            <p:spPr>
              <a:xfrm>
                <a:off x="9169400"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cxnSp>
            <p:nvCxnSpPr>
              <p:cNvPr id="170" name="Straight Connector 169">
                <a:extLst>
                  <a:ext uri="{FF2B5EF4-FFF2-40B4-BE49-F238E27FC236}">
                    <a16:creationId xmlns:a16="http://schemas.microsoft.com/office/drawing/2014/main" id="{AF52679F-E0D0-984E-0A9D-11E933F01859}"/>
                  </a:ext>
                </a:extLst>
              </p:cNvPr>
              <p:cNvCxnSpPr>
                <a:cxnSpLocks noGrp="1" noRot="1" noMove="1" noResize="1" noEditPoints="1" noAdjustHandles="1" noChangeArrowheads="1" noChangeShapeType="1"/>
              </p:cNvCxnSpPr>
              <p:nvPr userDrawn="1"/>
            </p:nvCxnSpPr>
            <p:spPr>
              <a:xfrm>
                <a:off x="9926638"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71" name="Straight Connector 170">
                <a:extLst>
                  <a:ext uri="{FF2B5EF4-FFF2-40B4-BE49-F238E27FC236}">
                    <a16:creationId xmlns:a16="http://schemas.microsoft.com/office/drawing/2014/main" id="{20C312C4-7307-2152-5E04-277863965440}"/>
                  </a:ext>
                </a:extLst>
              </p:cNvPr>
              <p:cNvCxnSpPr>
                <a:cxnSpLocks noGrp="1" noRot="1" noMove="1" noResize="1" noEditPoints="1" noAdjustHandles="1" noChangeArrowheads="1" noChangeShapeType="1"/>
              </p:cNvCxnSpPr>
              <p:nvPr userDrawn="1"/>
            </p:nvCxnSpPr>
            <p:spPr>
              <a:xfrm>
                <a:off x="10156826"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72" name="Straight Connector 171">
                <a:extLst>
                  <a:ext uri="{FF2B5EF4-FFF2-40B4-BE49-F238E27FC236}">
                    <a16:creationId xmlns:a16="http://schemas.microsoft.com/office/drawing/2014/main" id="{DD4E9147-05ED-7705-CC1F-72D71C0F6C79}"/>
                  </a:ext>
                </a:extLst>
              </p:cNvPr>
              <p:cNvCxnSpPr>
                <a:cxnSpLocks noGrp="1" noRot="1" noMove="1" noResize="1" noEditPoints="1" noAdjustHandles="1" noChangeArrowheads="1" noChangeShapeType="1"/>
              </p:cNvCxnSpPr>
              <p:nvPr userDrawn="1"/>
            </p:nvCxnSpPr>
            <p:spPr>
              <a:xfrm>
                <a:off x="10914064"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73" name="Straight Connector 172">
                <a:extLst>
                  <a:ext uri="{FF2B5EF4-FFF2-40B4-BE49-F238E27FC236}">
                    <a16:creationId xmlns:a16="http://schemas.microsoft.com/office/drawing/2014/main" id="{C20E3FFB-E227-153F-ABE1-FC87F5F732AA}"/>
                  </a:ext>
                </a:extLst>
              </p:cNvPr>
              <p:cNvCxnSpPr>
                <a:cxnSpLocks noGrp="1" noRot="1" noMove="1" noResize="1" noEditPoints="1" noAdjustHandles="1" noChangeArrowheads="1" noChangeShapeType="1"/>
              </p:cNvCxnSpPr>
              <p:nvPr userDrawn="1"/>
            </p:nvCxnSpPr>
            <p:spPr>
              <a:xfrm>
                <a:off x="11142663"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74" name="Straight Connector 173">
                <a:extLst>
                  <a:ext uri="{FF2B5EF4-FFF2-40B4-BE49-F238E27FC236}">
                    <a16:creationId xmlns:a16="http://schemas.microsoft.com/office/drawing/2014/main" id="{3F423C1A-2AC0-2B62-7F6A-AA998E137B0C}"/>
                  </a:ext>
                </a:extLst>
              </p:cNvPr>
              <p:cNvCxnSpPr>
                <a:cxnSpLocks noGrp="1" noRot="1" noMove="1" noResize="1" noEditPoints="1" noAdjustHandles="1" noChangeArrowheads="1" noChangeShapeType="1"/>
              </p:cNvCxnSpPr>
              <p:nvPr userDrawn="1"/>
            </p:nvCxnSpPr>
            <p:spPr>
              <a:xfrm>
                <a:off x="11899901"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75" name="Straight Connector 174">
                <a:extLst>
                  <a:ext uri="{FF2B5EF4-FFF2-40B4-BE49-F238E27FC236}">
                    <a16:creationId xmlns:a16="http://schemas.microsoft.com/office/drawing/2014/main" id="{E5B626B8-ACE5-10A8-AAA1-A34285F0A471}"/>
                  </a:ext>
                </a:extLst>
              </p:cNvPr>
              <p:cNvCxnSpPr>
                <a:cxnSpLocks noGrp="1" noRot="1" noMove="1" noResize="1" noEditPoints="1" noAdjustHandles="1" noChangeArrowheads="1" noChangeShapeType="1"/>
              </p:cNvCxnSpPr>
              <p:nvPr userDrawn="1"/>
            </p:nvCxnSpPr>
            <p:spPr>
              <a:xfrm>
                <a:off x="8181975" y="-165576"/>
                <a:ext cx="0" cy="137160"/>
              </a:xfrm>
              <a:prstGeom prst="line">
                <a:avLst/>
              </a:prstGeom>
              <a:ln w="3175">
                <a:solidFill>
                  <a:srgbClr val="FFC000"/>
                </a:solidFill>
              </a:ln>
            </p:spPr>
            <p:style>
              <a:lnRef idx="2">
                <a:schemeClr val="accent1"/>
              </a:lnRef>
              <a:fillRef idx="0">
                <a:schemeClr val="accent1"/>
              </a:fillRef>
              <a:effectRef idx="1">
                <a:schemeClr val="accent1"/>
              </a:effectRef>
              <a:fontRef idx="minor">
                <a:schemeClr val="tx1"/>
              </a:fontRef>
            </p:style>
          </p:cxnSp>
          <p:cxnSp>
            <p:nvCxnSpPr>
              <p:cNvPr id="176" name="Straight Connector 175">
                <a:extLst>
                  <a:ext uri="{FF2B5EF4-FFF2-40B4-BE49-F238E27FC236}">
                    <a16:creationId xmlns:a16="http://schemas.microsoft.com/office/drawing/2014/main" id="{B2923CDE-FDD7-7A51-817A-A07397D5F16B}"/>
                  </a:ext>
                </a:extLst>
              </p:cNvPr>
              <p:cNvCxnSpPr>
                <a:cxnSpLocks noGrp="1" noRot="1" noMove="1" noResize="1" noEditPoints="1" noAdjustHandles="1" noChangeArrowheads="1" noChangeShapeType="1"/>
              </p:cNvCxnSpPr>
              <p:nvPr userDrawn="1"/>
            </p:nvCxnSpPr>
            <p:spPr>
              <a:xfrm>
                <a:off x="8939213"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grpSp>
        <p:sp>
          <p:nvSpPr>
            <p:cNvPr id="177" name="TextBox 176">
              <a:extLst>
                <a:ext uri="{FF2B5EF4-FFF2-40B4-BE49-F238E27FC236}">
                  <a16:creationId xmlns:a16="http://schemas.microsoft.com/office/drawing/2014/main" id="{4B728ACB-14F7-C40A-473B-317C751CD181}"/>
                </a:ext>
              </a:extLst>
            </p:cNvPr>
            <p:cNvSpPr txBox="1">
              <a:spLocks noGrp="1" noRot="1" noMove="1" noResize="1" noEditPoints="1" noAdjustHandles="1" noChangeArrowheads="1" noChangeShapeType="1"/>
            </p:cNvSpPr>
            <p:nvPr userDrawn="1"/>
          </p:nvSpPr>
          <p:spPr>
            <a:xfrm>
              <a:off x="3086414" y="6878002"/>
              <a:ext cx="99386" cy="156966"/>
            </a:xfrm>
            <a:prstGeom prst="rect">
              <a:avLst/>
            </a:prstGeom>
            <a:noFill/>
          </p:spPr>
          <p:txBody>
            <a:bodyPr wrap="none" lIns="0" tIns="0" rIns="0" bIns="0" rtlCol="0">
              <a:spAutoFit/>
            </a:bodyPr>
            <a:lstStyle/>
            <a:p>
              <a:pPr algn="ctr">
                <a:lnSpc>
                  <a:spcPct val="85000"/>
                </a:lnSpc>
              </a:pPr>
              <a:r>
                <a:rPr lang="en-GB" sz="600">
                  <a:solidFill>
                    <a:srgbClr val="00B0F0"/>
                  </a:solidFill>
                </a:rPr>
                <a:t>4</a:t>
              </a:r>
              <a:br>
                <a:rPr lang="en-GB" sz="600">
                  <a:solidFill>
                    <a:srgbClr val="00B0F0"/>
                  </a:solidFill>
                </a:rPr>
              </a:br>
              <a:r>
                <a:rPr lang="en-GB" sz="600">
                  <a:solidFill>
                    <a:srgbClr val="00B0F0"/>
                  </a:solidFill>
                </a:rPr>
                <a:t>col</a:t>
              </a:r>
            </a:p>
          </p:txBody>
        </p:sp>
        <p:sp>
          <p:nvSpPr>
            <p:cNvPr id="178" name="TextBox 177">
              <a:extLst>
                <a:ext uri="{FF2B5EF4-FFF2-40B4-BE49-F238E27FC236}">
                  <a16:creationId xmlns:a16="http://schemas.microsoft.com/office/drawing/2014/main" id="{F7BA58E8-87C4-8336-7BF2-D4A38EFF668B}"/>
                </a:ext>
              </a:extLst>
            </p:cNvPr>
            <p:cNvSpPr txBox="1">
              <a:spLocks noGrp="1" noRot="1" noMove="1" noResize="1" noEditPoints="1" noAdjustHandles="1" noChangeArrowheads="1" noChangeShapeType="1"/>
            </p:cNvSpPr>
            <p:nvPr userDrawn="1"/>
          </p:nvSpPr>
          <p:spPr>
            <a:xfrm>
              <a:off x="9000792" y="6878002"/>
              <a:ext cx="99386" cy="156966"/>
            </a:xfrm>
            <a:prstGeom prst="rect">
              <a:avLst/>
            </a:prstGeom>
            <a:noFill/>
          </p:spPr>
          <p:txBody>
            <a:bodyPr wrap="none" lIns="0" tIns="0" rIns="0" bIns="0" rtlCol="0">
              <a:spAutoFit/>
            </a:bodyPr>
            <a:lstStyle/>
            <a:p>
              <a:pPr algn="ctr">
                <a:lnSpc>
                  <a:spcPct val="85000"/>
                </a:lnSpc>
              </a:pPr>
              <a:r>
                <a:rPr lang="en-GB" sz="600">
                  <a:solidFill>
                    <a:srgbClr val="00B0F0"/>
                  </a:solidFill>
                </a:rPr>
                <a:t>4</a:t>
              </a:r>
              <a:br>
                <a:rPr lang="en-GB" sz="600">
                  <a:solidFill>
                    <a:srgbClr val="00B0F0"/>
                  </a:solidFill>
                </a:rPr>
              </a:br>
              <a:r>
                <a:rPr lang="en-GB" sz="600">
                  <a:solidFill>
                    <a:srgbClr val="00B0F0"/>
                  </a:solidFill>
                </a:rPr>
                <a:t>col</a:t>
              </a:r>
            </a:p>
          </p:txBody>
        </p:sp>
        <p:sp>
          <p:nvSpPr>
            <p:cNvPr id="179" name="TextBox 178">
              <a:extLst>
                <a:ext uri="{FF2B5EF4-FFF2-40B4-BE49-F238E27FC236}">
                  <a16:creationId xmlns:a16="http://schemas.microsoft.com/office/drawing/2014/main" id="{18E780D4-D62C-31AE-986F-E3882F4C3C30}"/>
                </a:ext>
              </a:extLst>
            </p:cNvPr>
            <p:cNvSpPr txBox="1">
              <a:spLocks noGrp="1" noRot="1" noMove="1" noResize="1" noEditPoints="1" noAdjustHandles="1" noChangeArrowheads="1" noChangeShapeType="1"/>
            </p:cNvSpPr>
            <p:nvPr userDrawn="1"/>
          </p:nvSpPr>
          <p:spPr>
            <a:xfrm>
              <a:off x="6024488" y="6878002"/>
              <a:ext cx="149080" cy="156966"/>
            </a:xfrm>
            <a:prstGeom prst="rect">
              <a:avLst/>
            </a:prstGeom>
            <a:noFill/>
          </p:spPr>
          <p:txBody>
            <a:bodyPr wrap="none" lIns="0" tIns="0" rIns="0" bIns="0" rtlCol="0">
              <a:spAutoFit/>
            </a:bodyPr>
            <a:lstStyle/>
            <a:p>
              <a:pPr algn="ctr">
                <a:lnSpc>
                  <a:spcPct val="85000"/>
                </a:lnSpc>
              </a:pPr>
              <a:r>
                <a:rPr lang="en-GB" sz="600">
                  <a:solidFill>
                    <a:srgbClr val="00B0F0"/>
                  </a:solidFill>
                </a:rPr>
                <a:t>2 / 4</a:t>
              </a:r>
              <a:br>
                <a:rPr lang="en-GB" sz="600">
                  <a:solidFill>
                    <a:srgbClr val="00B0F0"/>
                  </a:solidFill>
                </a:rPr>
              </a:br>
              <a:r>
                <a:rPr lang="en-GB" sz="600">
                  <a:solidFill>
                    <a:srgbClr val="00B0F0"/>
                  </a:solidFill>
                </a:rPr>
                <a:t>col</a:t>
              </a:r>
            </a:p>
          </p:txBody>
        </p:sp>
        <p:sp>
          <p:nvSpPr>
            <p:cNvPr id="180" name="TextBox 179">
              <a:extLst>
                <a:ext uri="{FF2B5EF4-FFF2-40B4-BE49-F238E27FC236}">
                  <a16:creationId xmlns:a16="http://schemas.microsoft.com/office/drawing/2014/main" id="{A341B576-F973-FF3B-9D70-757A51DED63E}"/>
                </a:ext>
              </a:extLst>
            </p:cNvPr>
            <p:cNvSpPr txBox="1">
              <a:spLocks noGrp="1" noRot="1" noMove="1" noResize="1" noEditPoints="1" noAdjustHandles="1" noChangeArrowheads="1" noChangeShapeType="1"/>
            </p:cNvSpPr>
            <p:nvPr userDrawn="1"/>
          </p:nvSpPr>
          <p:spPr>
            <a:xfrm>
              <a:off x="4077661" y="6878002"/>
              <a:ext cx="99386" cy="156966"/>
            </a:xfrm>
            <a:prstGeom prst="rect">
              <a:avLst/>
            </a:prstGeom>
            <a:noFill/>
          </p:spPr>
          <p:txBody>
            <a:bodyPr wrap="none" lIns="0" tIns="0" rIns="0" bIns="0" rtlCol="0">
              <a:spAutoFit/>
            </a:bodyPr>
            <a:lstStyle/>
            <a:p>
              <a:pPr algn="ctr">
                <a:lnSpc>
                  <a:spcPct val="85000"/>
                </a:lnSpc>
              </a:pPr>
              <a:r>
                <a:rPr lang="en-GB" sz="600">
                  <a:solidFill>
                    <a:srgbClr val="FFC000"/>
                  </a:solidFill>
                </a:rPr>
                <a:t>3</a:t>
              </a:r>
              <a:br>
                <a:rPr lang="en-GB" sz="600">
                  <a:solidFill>
                    <a:srgbClr val="FFC000"/>
                  </a:solidFill>
                </a:rPr>
              </a:br>
              <a:r>
                <a:rPr lang="en-GB" sz="600">
                  <a:solidFill>
                    <a:srgbClr val="FFC000"/>
                  </a:solidFill>
                </a:rPr>
                <a:t>col</a:t>
              </a:r>
            </a:p>
          </p:txBody>
        </p:sp>
        <p:sp>
          <p:nvSpPr>
            <p:cNvPr id="181" name="TextBox 180">
              <a:extLst>
                <a:ext uri="{FF2B5EF4-FFF2-40B4-BE49-F238E27FC236}">
                  <a16:creationId xmlns:a16="http://schemas.microsoft.com/office/drawing/2014/main" id="{D94C725E-2F75-A1A8-2A47-9AE54AFFDF90}"/>
                </a:ext>
              </a:extLst>
            </p:cNvPr>
            <p:cNvSpPr txBox="1">
              <a:spLocks noGrp="1" noRot="1" noMove="1" noResize="1" noEditPoints="1" noAdjustHandles="1" noChangeArrowheads="1" noChangeShapeType="1"/>
            </p:cNvSpPr>
            <p:nvPr userDrawn="1"/>
          </p:nvSpPr>
          <p:spPr>
            <a:xfrm>
              <a:off x="8013366" y="6878002"/>
              <a:ext cx="99386" cy="156966"/>
            </a:xfrm>
            <a:prstGeom prst="rect">
              <a:avLst/>
            </a:prstGeom>
            <a:noFill/>
          </p:spPr>
          <p:txBody>
            <a:bodyPr wrap="none" lIns="0" tIns="0" rIns="0" bIns="0" rtlCol="0">
              <a:spAutoFit/>
            </a:bodyPr>
            <a:lstStyle/>
            <a:p>
              <a:pPr algn="ctr">
                <a:lnSpc>
                  <a:spcPct val="85000"/>
                </a:lnSpc>
              </a:pPr>
              <a:r>
                <a:rPr lang="en-GB" sz="600">
                  <a:solidFill>
                    <a:srgbClr val="FFC000"/>
                  </a:solidFill>
                </a:rPr>
                <a:t>3</a:t>
              </a:r>
              <a:br>
                <a:rPr lang="en-GB" sz="600">
                  <a:solidFill>
                    <a:srgbClr val="FFC000"/>
                  </a:solidFill>
                </a:rPr>
              </a:br>
              <a:r>
                <a:rPr lang="en-GB" sz="600">
                  <a:solidFill>
                    <a:srgbClr val="FFC000"/>
                  </a:solidFill>
                </a:rPr>
                <a:t>col</a:t>
              </a:r>
            </a:p>
          </p:txBody>
        </p:sp>
      </p:grpSp>
      <p:grpSp>
        <p:nvGrpSpPr>
          <p:cNvPr id="151" name="Column Markers Top">
            <a:extLst>
              <a:ext uri="{FF2B5EF4-FFF2-40B4-BE49-F238E27FC236}">
                <a16:creationId xmlns:a16="http://schemas.microsoft.com/office/drawing/2014/main" id="{D22D9BE6-0B65-1C47-03BF-D1AB953BE5D3}"/>
              </a:ext>
            </a:extLst>
          </p:cNvPr>
          <p:cNvGrpSpPr>
            <a:grpSpLocks noGrp="1" noUngrp="1" noRot="1" noMove="1" noResize="1"/>
          </p:cNvGrpSpPr>
          <p:nvPr userDrawn="1"/>
        </p:nvGrpSpPr>
        <p:grpSpPr>
          <a:xfrm>
            <a:off x="292100" y="-165576"/>
            <a:ext cx="11607801" cy="137160"/>
            <a:chOff x="292100" y="-165576"/>
            <a:chExt cx="11607801" cy="137160"/>
          </a:xfrm>
        </p:grpSpPr>
        <p:cxnSp>
          <p:nvCxnSpPr>
            <p:cNvPr id="108" name="Straight Connector 107">
              <a:extLst>
                <a:ext uri="{FF2B5EF4-FFF2-40B4-BE49-F238E27FC236}">
                  <a16:creationId xmlns:a16="http://schemas.microsoft.com/office/drawing/2014/main" id="{A1C2DAF0-B0C5-3814-F177-4D283ED86E18}"/>
                </a:ext>
              </a:extLst>
            </p:cNvPr>
            <p:cNvCxnSpPr>
              <a:cxnSpLocks noGrp="1" noRot="1" noMove="1" noResize="1" noEditPoints="1" noAdjustHandles="1" noChangeArrowheads="1" noChangeShapeType="1"/>
            </p:cNvCxnSpPr>
            <p:nvPr userDrawn="1"/>
          </p:nvCxnSpPr>
          <p:spPr>
            <a:xfrm>
              <a:off x="292100"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760C7E0C-2513-2BF9-58C7-7ED275705160}"/>
                </a:ext>
              </a:extLst>
            </p:cNvPr>
            <p:cNvCxnSpPr>
              <a:cxnSpLocks noGrp="1" noRot="1" noMove="1" noResize="1" noEditPoints="1" noAdjustHandles="1" noChangeArrowheads="1" noChangeShapeType="1"/>
            </p:cNvCxnSpPr>
            <p:nvPr userDrawn="1"/>
          </p:nvCxnSpPr>
          <p:spPr>
            <a:xfrm>
              <a:off x="1049338"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DA8C53B7-FA46-2487-2FDF-B14532D4DC6F}"/>
                </a:ext>
              </a:extLst>
            </p:cNvPr>
            <p:cNvCxnSpPr>
              <a:cxnSpLocks noGrp="1" noRot="1" noMove="1" noResize="1" noEditPoints="1" noAdjustHandles="1" noChangeArrowheads="1" noChangeShapeType="1"/>
            </p:cNvCxnSpPr>
            <p:nvPr userDrawn="1"/>
          </p:nvCxnSpPr>
          <p:spPr>
            <a:xfrm>
              <a:off x="1277937"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32117F78-F20D-7784-AFAB-33B9E45C00F5}"/>
                </a:ext>
              </a:extLst>
            </p:cNvPr>
            <p:cNvCxnSpPr>
              <a:cxnSpLocks noGrp="1" noRot="1" noMove="1" noResize="1" noEditPoints="1" noAdjustHandles="1" noChangeArrowheads="1" noChangeShapeType="1"/>
            </p:cNvCxnSpPr>
            <p:nvPr userDrawn="1"/>
          </p:nvCxnSpPr>
          <p:spPr>
            <a:xfrm>
              <a:off x="2035175"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538C8718-4726-16BF-EE37-79212A3DCD73}"/>
                </a:ext>
              </a:extLst>
            </p:cNvPr>
            <p:cNvCxnSpPr>
              <a:cxnSpLocks noGrp="1" noRot="1" noMove="1" noResize="1" noEditPoints="1" noAdjustHandles="1" noChangeArrowheads="1" noChangeShapeType="1"/>
            </p:cNvCxnSpPr>
            <p:nvPr userDrawn="1"/>
          </p:nvCxnSpPr>
          <p:spPr>
            <a:xfrm>
              <a:off x="2265363"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CDE7C7E9-FC71-BAE6-B8D3-3ABEBABB121B}"/>
                </a:ext>
              </a:extLst>
            </p:cNvPr>
            <p:cNvCxnSpPr>
              <a:cxnSpLocks noGrp="1" noRot="1" noMove="1" noResize="1" noEditPoints="1" noAdjustHandles="1" noChangeArrowheads="1" noChangeShapeType="1"/>
            </p:cNvCxnSpPr>
            <p:nvPr userDrawn="1"/>
          </p:nvCxnSpPr>
          <p:spPr>
            <a:xfrm>
              <a:off x="3022601"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6A00B385-516E-8D52-13A9-8C3600BF4FC3}"/>
                </a:ext>
              </a:extLst>
            </p:cNvPr>
            <p:cNvCxnSpPr>
              <a:cxnSpLocks noGrp="1" noRot="1" noMove="1" noResize="1" noEditPoints="1" noAdjustHandles="1" noChangeArrowheads="1" noChangeShapeType="1"/>
            </p:cNvCxnSpPr>
            <p:nvPr userDrawn="1"/>
          </p:nvCxnSpPr>
          <p:spPr>
            <a:xfrm>
              <a:off x="3251200"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97BEECB8-6E26-BD06-398F-0B566BF9BBDD}"/>
                </a:ext>
              </a:extLst>
            </p:cNvPr>
            <p:cNvCxnSpPr>
              <a:cxnSpLocks noGrp="1" noRot="1" noMove="1" noResize="1" noEditPoints="1" noAdjustHandles="1" noChangeArrowheads="1" noChangeShapeType="1"/>
            </p:cNvCxnSpPr>
            <p:nvPr userDrawn="1"/>
          </p:nvCxnSpPr>
          <p:spPr>
            <a:xfrm>
              <a:off x="4008438" y="-165576"/>
              <a:ext cx="0" cy="137160"/>
            </a:xfrm>
            <a:prstGeom prst="line">
              <a:avLst/>
            </a:prstGeom>
            <a:ln w="3175">
              <a:solidFill>
                <a:srgbClr val="FFC000"/>
              </a:solidFill>
            </a:ln>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2CEE70E6-06A0-448E-5213-9F480BBB2168}"/>
                </a:ext>
              </a:extLst>
            </p:cNvPr>
            <p:cNvCxnSpPr>
              <a:cxnSpLocks noGrp="1" noRot="1" noMove="1" noResize="1" noEditPoints="1" noAdjustHandles="1" noChangeArrowheads="1" noChangeShapeType="1"/>
            </p:cNvCxnSpPr>
            <p:nvPr userDrawn="1"/>
          </p:nvCxnSpPr>
          <p:spPr>
            <a:xfrm>
              <a:off x="4237037" y="-165576"/>
              <a:ext cx="0" cy="137160"/>
            </a:xfrm>
            <a:prstGeom prst="line">
              <a:avLst/>
            </a:prstGeom>
            <a:ln w="3175">
              <a:solidFill>
                <a:srgbClr val="FFC000"/>
              </a:solidFill>
            </a:ln>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D99AAB26-4D5A-211F-CD30-4DF8B9DB561D}"/>
                </a:ext>
              </a:extLst>
            </p:cNvPr>
            <p:cNvCxnSpPr>
              <a:cxnSpLocks noGrp="1" noRot="1" noMove="1" noResize="1" noEditPoints="1" noAdjustHandles="1" noChangeArrowheads="1" noChangeShapeType="1"/>
            </p:cNvCxnSpPr>
            <p:nvPr userDrawn="1"/>
          </p:nvCxnSpPr>
          <p:spPr>
            <a:xfrm>
              <a:off x="4994275"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C2193421-A7B5-60F1-885A-86D1AAD4C1A6}"/>
                </a:ext>
              </a:extLst>
            </p:cNvPr>
            <p:cNvCxnSpPr>
              <a:cxnSpLocks noGrp="1" noRot="1" noMove="1" noResize="1" noEditPoints="1" noAdjustHandles="1" noChangeArrowheads="1" noChangeShapeType="1"/>
            </p:cNvCxnSpPr>
            <p:nvPr userDrawn="1"/>
          </p:nvCxnSpPr>
          <p:spPr>
            <a:xfrm>
              <a:off x="5222874"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78" name="Straight Connector 77">
              <a:extLst>
                <a:ext uri="{FF2B5EF4-FFF2-40B4-BE49-F238E27FC236}">
                  <a16:creationId xmlns:a16="http://schemas.microsoft.com/office/drawing/2014/main" id="{AB5A5379-3BC9-60DA-11B7-BCC88BF63626}"/>
                </a:ext>
              </a:extLst>
            </p:cNvPr>
            <p:cNvCxnSpPr>
              <a:cxnSpLocks noGrp="1" noRot="1" noMove="1" noResize="1" noEditPoints="1" noAdjustHandles="1" noChangeArrowheads="1" noChangeShapeType="1"/>
            </p:cNvCxnSpPr>
            <p:nvPr userDrawn="1"/>
          </p:nvCxnSpPr>
          <p:spPr>
            <a:xfrm>
              <a:off x="5980112"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387343BE-0ACB-44CE-03AA-B3F4290A4B61}"/>
                </a:ext>
              </a:extLst>
            </p:cNvPr>
            <p:cNvCxnSpPr>
              <a:cxnSpLocks noGrp="1" noRot="1" noMove="1" noResize="1" noEditPoints="1" noAdjustHandles="1" noChangeArrowheads="1" noChangeShapeType="1"/>
            </p:cNvCxnSpPr>
            <p:nvPr userDrawn="1"/>
          </p:nvCxnSpPr>
          <p:spPr>
            <a:xfrm>
              <a:off x="6210300"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F30D142D-B1E9-9CBF-97EF-00A42B7BC5FE}"/>
                </a:ext>
              </a:extLst>
            </p:cNvPr>
            <p:cNvCxnSpPr>
              <a:cxnSpLocks noGrp="1" noRot="1" noMove="1" noResize="1" noEditPoints="1" noAdjustHandles="1" noChangeArrowheads="1" noChangeShapeType="1"/>
            </p:cNvCxnSpPr>
            <p:nvPr userDrawn="1"/>
          </p:nvCxnSpPr>
          <p:spPr>
            <a:xfrm>
              <a:off x="6967538"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732EA936-B37E-FA24-83D8-1DEE414B5F82}"/>
                </a:ext>
              </a:extLst>
            </p:cNvPr>
            <p:cNvCxnSpPr>
              <a:cxnSpLocks noGrp="1" noRot="1" noMove="1" noResize="1" noEditPoints="1" noAdjustHandles="1" noChangeArrowheads="1" noChangeShapeType="1"/>
            </p:cNvCxnSpPr>
            <p:nvPr userDrawn="1"/>
          </p:nvCxnSpPr>
          <p:spPr>
            <a:xfrm>
              <a:off x="7196137"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3BE1C96A-624D-767C-6715-0D9623297663}"/>
                </a:ext>
              </a:extLst>
            </p:cNvPr>
            <p:cNvCxnSpPr>
              <a:cxnSpLocks noGrp="1" noRot="1" noMove="1" noResize="1" noEditPoints="1" noAdjustHandles="1" noChangeArrowheads="1" noChangeShapeType="1"/>
            </p:cNvCxnSpPr>
            <p:nvPr userDrawn="1"/>
          </p:nvCxnSpPr>
          <p:spPr>
            <a:xfrm>
              <a:off x="7953375" y="-165576"/>
              <a:ext cx="0" cy="137160"/>
            </a:xfrm>
            <a:prstGeom prst="line">
              <a:avLst/>
            </a:prstGeom>
            <a:ln w="3175">
              <a:solidFill>
                <a:srgbClr val="FFC000"/>
              </a:solidFill>
            </a:ln>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DBF0FBA6-1F05-149A-AD58-63F474363036}"/>
                </a:ext>
              </a:extLst>
            </p:cNvPr>
            <p:cNvCxnSpPr>
              <a:cxnSpLocks noGrp="1" noRot="1" noMove="1" noResize="1" noEditPoints="1" noAdjustHandles="1" noChangeArrowheads="1" noChangeShapeType="1"/>
            </p:cNvCxnSpPr>
            <p:nvPr userDrawn="1"/>
          </p:nvCxnSpPr>
          <p:spPr>
            <a:xfrm>
              <a:off x="9169400"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56C9AC2C-8889-C695-8160-7D43B07CBEBB}"/>
                </a:ext>
              </a:extLst>
            </p:cNvPr>
            <p:cNvCxnSpPr>
              <a:cxnSpLocks noGrp="1" noRot="1" noMove="1" noResize="1" noEditPoints="1" noAdjustHandles="1" noChangeArrowheads="1" noChangeShapeType="1"/>
            </p:cNvCxnSpPr>
            <p:nvPr userDrawn="1"/>
          </p:nvCxnSpPr>
          <p:spPr>
            <a:xfrm>
              <a:off x="9926638"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A3521B7C-5C33-9A4C-FBD4-E8303128C409}"/>
                </a:ext>
              </a:extLst>
            </p:cNvPr>
            <p:cNvCxnSpPr>
              <a:cxnSpLocks noGrp="1" noRot="1" noMove="1" noResize="1" noEditPoints="1" noAdjustHandles="1" noChangeArrowheads="1" noChangeShapeType="1"/>
            </p:cNvCxnSpPr>
            <p:nvPr userDrawn="1"/>
          </p:nvCxnSpPr>
          <p:spPr>
            <a:xfrm>
              <a:off x="10156826"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31597926-2F92-C2A6-EC39-92172371F51E}"/>
                </a:ext>
              </a:extLst>
            </p:cNvPr>
            <p:cNvCxnSpPr>
              <a:cxnSpLocks noGrp="1" noRot="1" noMove="1" noResize="1" noEditPoints="1" noAdjustHandles="1" noChangeArrowheads="1" noChangeShapeType="1"/>
            </p:cNvCxnSpPr>
            <p:nvPr userDrawn="1"/>
          </p:nvCxnSpPr>
          <p:spPr>
            <a:xfrm>
              <a:off x="10914064"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1FE0C9B9-B779-6459-B1D3-0E89CB20C7A8}"/>
                </a:ext>
              </a:extLst>
            </p:cNvPr>
            <p:cNvCxnSpPr>
              <a:cxnSpLocks noGrp="1" noRot="1" noMove="1" noResize="1" noEditPoints="1" noAdjustHandles="1" noChangeArrowheads="1" noChangeShapeType="1"/>
            </p:cNvCxnSpPr>
            <p:nvPr userDrawn="1"/>
          </p:nvCxnSpPr>
          <p:spPr>
            <a:xfrm>
              <a:off x="11142663"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D7A92DD3-EDC2-277F-7A79-16F1FC1A8DD1}"/>
                </a:ext>
              </a:extLst>
            </p:cNvPr>
            <p:cNvCxnSpPr>
              <a:cxnSpLocks noGrp="1" noRot="1" noMove="1" noResize="1" noEditPoints="1" noAdjustHandles="1" noChangeArrowheads="1" noChangeShapeType="1"/>
            </p:cNvCxnSpPr>
            <p:nvPr userDrawn="1"/>
          </p:nvCxnSpPr>
          <p:spPr>
            <a:xfrm>
              <a:off x="11899901" y="-119856"/>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259978F6-C812-F2EB-2011-738453334C4C}"/>
                </a:ext>
              </a:extLst>
            </p:cNvPr>
            <p:cNvCxnSpPr>
              <a:cxnSpLocks noGrp="1" noRot="1" noMove="1" noResize="1" noEditPoints="1" noAdjustHandles="1" noChangeArrowheads="1" noChangeShapeType="1"/>
            </p:cNvCxnSpPr>
            <p:nvPr userDrawn="1"/>
          </p:nvCxnSpPr>
          <p:spPr>
            <a:xfrm>
              <a:off x="8181975" y="-165576"/>
              <a:ext cx="0" cy="137160"/>
            </a:xfrm>
            <a:prstGeom prst="line">
              <a:avLst/>
            </a:prstGeom>
            <a:ln w="3175">
              <a:solidFill>
                <a:srgbClr val="FFC000"/>
              </a:solidFill>
            </a:ln>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974B9070-6CE7-2988-15D6-7BCD628C78AA}"/>
                </a:ext>
              </a:extLst>
            </p:cNvPr>
            <p:cNvCxnSpPr>
              <a:cxnSpLocks noGrp="1" noRot="1" noMove="1" noResize="1" noEditPoints="1" noAdjustHandles="1" noChangeArrowheads="1" noChangeShapeType="1"/>
            </p:cNvCxnSpPr>
            <p:nvPr userDrawn="1"/>
          </p:nvCxnSpPr>
          <p:spPr>
            <a:xfrm>
              <a:off x="8939213" y="-165576"/>
              <a:ext cx="0" cy="137160"/>
            </a:xfrm>
            <a:prstGeom prst="line">
              <a:avLst/>
            </a:prstGeom>
            <a:ln w="3175">
              <a:solidFill>
                <a:srgbClr val="00B0F0"/>
              </a:solidFill>
            </a:ln>
          </p:spPr>
          <p:style>
            <a:lnRef idx="2">
              <a:schemeClr val="accent1"/>
            </a:lnRef>
            <a:fillRef idx="0">
              <a:schemeClr val="accent1"/>
            </a:fillRef>
            <a:effectRef idx="1">
              <a:schemeClr val="accent1"/>
            </a:effectRef>
            <a:fontRef idx="minor">
              <a:schemeClr val="tx1"/>
            </a:fontRef>
          </p:style>
        </p:cxnSp>
      </p:grpSp>
      <p:grpSp>
        <p:nvGrpSpPr>
          <p:cNvPr id="213" name="Horizontal Markers Left">
            <a:extLst>
              <a:ext uri="{FF2B5EF4-FFF2-40B4-BE49-F238E27FC236}">
                <a16:creationId xmlns:a16="http://schemas.microsoft.com/office/drawing/2014/main" id="{2E8F5572-A6C5-0D61-4663-94740861ECFF}"/>
              </a:ext>
            </a:extLst>
          </p:cNvPr>
          <p:cNvGrpSpPr>
            <a:grpSpLocks noGrp="1" noUngrp="1" noRot="1" noMove="1" noResize="1"/>
          </p:cNvGrpSpPr>
          <p:nvPr userDrawn="1"/>
        </p:nvGrpSpPr>
        <p:grpSpPr>
          <a:xfrm>
            <a:off x="-118744" y="304484"/>
            <a:ext cx="91440" cy="5804216"/>
            <a:chOff x="-106044" y="304484"/>
            <a:chExt cx="91440" cy="5804216"/>
          </a:xfrm>
        </p:grpSpPr>
        <p:cxnSp>
          <p:nvCxnSpPr>
            <p:cNvPr id="205" name="Straight Connector 204">
              <a:extLst>
                <a:ext uri="{FF2B5EF4-FFF2-40B4-BE49-F238E27FC236}">
                  <a16:creationId xmlns:a16="http://schemas.microsoft.com/office/drawing/2014/main" id="{52085DA4-FA3C-5517-7394-7B8C7198E8EC}"/>
                </a:ext>
              </a:extLst>
            </p:cNvPr>
            <p:cNvCxnSpPr>
              <a:cxnSpLocks noGrp="1" noRot="1" noMove="1" noResize="1" noEditPoints="1" noAdjustHandles="1" noChangeArrowheads="1" noChangeShapeType="1"/>
            </p:cNvCxnSpPr>
            <p:nvPr userDrawn="1"/>
          </p:nvCxnSpPr>
          <p:spPr>
            <a:xfrm rot="5400000">
              <a:off x="-60324" y="258764"/>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207" name="Straight Connector 206">
              <a:extLst>
                <a:ext uri="{FF2B5EF4-FFF2-40B4-BE49-F238E27FC236}">
                  <a16:creationId xmlns:a16="http://schemas.microsoft.com/office/drawing/2014/main" id="{B73C6FFB-4043-5FA4-B1B9-8A2CD4468FD2}"/>
                </a:ext>
              </a:extLst>
            </p:cNvPr>
            <p:cNvCxnSpPr>
              <a:cxnSpLocks noGrp="1" noRot="1" noMove="1" noResize="1" noEditPoints="1" noAdjustHandles="1" noChangeArrowheads="1" noChangeShapeType="1"/>
            </p:cNvCxnSpPr>
            <p:nvPr userDrawn="1"/>
          </p:nvCxnSpPr>
          <p:spPr>
            <a:xfrm rot="5400000">
              <a:off x="-60324" y="6062980"/>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grpSp>
          <p:nvGrpSpPr>
            <p:cNvPr id="209" name="Group 208">
              <a:extLst>
                <a:ext uri="{FF2B5EF4-FFF2-40B4-BE49-F238E27FC236}">
                  <a16:creationId xmlns:a16="http://schemas.microsoft.com/office/drawing/2014/main" id="{DE7F5164-5687-39B8-50AA-9C06AE869BD5}"/>
                </a:ext>
              </a:extLst>
            </p:cNvPr>
            <p:cNvGrpSpPr>
              <a:grpSpLocks noGrp="1" noUngrp="1" noRot="1" noMove="1" noResize="1"/>
            </p:cNvGrpSpPr>
            <p:nvPr userDrawn="1"/>
          </p:nvGrpSpPr>
          <p:grpSpPr>
            <a:xfrm>
              <a:off x="-106044" y="1219200"/>
              <a:ext cx="91440" cy="419100"/>
              <a:chOff x="-106044" y="1219200"/>
              <a:chExt cx="91440" cy="419100"/>
            </a:xfrm>
          </p:grpSpPr>
          <p:cxnSp>
            <p:nvCxnSpPr>
              <p:cNvPr id="206" name="Straight Connector 205">
                <a:extLst>
                  <a:ext uri="{FF2B5EF4-FFF2-40B4-BE49-F238E27FC236}">
                    <a16:creationId xmlns:a16="http://schemas.microsoft.com/office/drawing/2014/main" id="{6D174423-67A1-6BA0-F32A-B87768D85638}"/>
                  </a:ext>
                </a:extLst>
              </p:cNvPr>
              <p:cNvCxnSpPr>
                <a:cxnSpLocks noGrp="1" noRot="1" noMove="1" noResize="1" noEditPoints="1" noAdjustHandles="1" noChangeArrowheads="1" noChangeShapeType="1"/>
              </p:cNvCxnSpPr>
              <p:nvPr userDrawn="1"/>
            </p:nvCxnSpPr>
            <p:spPr>
              <a:xfrm rot="5400000">
                <a:off x="-60324" y="1173480"/>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208" name="Straight Connector 207">
                <a:extLst>
                  <a:ext uri="{FF2B5EF4-FFF2-40B4-BE49-F238E27FC236}">
                    <a16:creationId xmlns:a16="http://schemas.microsoft.com/office/drawing/2014/main" id="{DC407528-7F4C-9C51-0701-8674D84860BF}"/>
                  </a:ext>
                </a:extLst>
              </p:cNvPr>
              <p:cNvCxnSpPr>
                <a:cxnSpLocks noGrp="1" noRot="1" noMove="1" noResize="1" noEditPoints="1" noAdjustHandles="1" noChangeArrowheads="1" noChangeShapeType="1"/>
              </p:cNvCxnSpPr>
              <p:nvPr userDrawn="1"/>
            </p:nvCxnSpPr>
            <p:spPr>
              <a:xfrm rot="5400000">
                <a:off x="-60324" y="1592580"/>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grpSp>
        <p:grpSp>
          <p:nvGrpSpPr>
            <p:cNvPr id="210" name="Group 209">
              <a:extLst>
                <a:ext uri="{FF2B5EF4-FFF2-40B4-BE49-F238E27FC236}">
                  <a16:creationId xmlns:a16="http://schemas.microsoft.com/office/drawing/2014/main" id="{744D8EC0-E0C8-6F33-8B33-9252682D5549}"/>
                </a:ext>
              </a:extLst>
            </p:cNvPr>
            <p:cNvGrpSpPr>
              <a:grpSpLocks noGrp="1" noUngrp="1" noRot="1" noMove="1" noResize="1"/>
            </p:cNvGrpSpPr>
            <p:nvPr userDrawn="1"/>
          </p:nvGrpSpPr>
          <p:grpSpPr>
            <a:xfrm>
              <a:off x="-106044" y="5676900"/>
              <a:ext cx="91440" cy="431800"/>
              <a:chOff x="-106044" y="1206500"/>
              <a:chExt cx="91440" cy="431800"/>
            </a:xfrm>
          </p:grpSpPr>
          <p:cxnSp>
            <p:nvCxnSpPr>
              <p:cNvPr id="211" name="Straight Connector 210">
                <a:extLst>
                  <a:ext uri="{FF2B5EF4-FFF2-40B4-BE49-F238E27FC236}">
                    <a16:creationId xmlns:a16="http://schemas.microsoft.com/office/drawing/2014/main" id="{EBDB6D67-47F1-2ACB-B15E-CF83680C2CC5}"/>
                  </a:ext>
                </a:extLst>
              </p:cNvPr>
              <p:cNvCxnSpPr>
                <a:cxnSpLocks noGrp="1" noRot="1" noMove="1" noResize="1" noEditPoints="1" noAdjustHandles="1" noChangeArrowheads="1" noChangeShapeType="1"/>
              </p:cNvCxnSpPr>
              <p:nvPr userDrawn="1"/>
            </p:nvCxnSpPr>
            <p:spPr>
              <a:xfrm rot="5400000">
                <a:off x="-60324" y="1160780"/>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212" name="Straight Connector 211">
                <a:extLst>
                  <a:ext uri="{FF2B5EF4-FFF2-40B4-BE49-F238E27FC236}">
                    <a16:creationId xmlns:a16="http://schemas.microsoft.com/office/drawing/2014/main" id="{A0172A1C-AD6A-BB6C-25B7-D91289B9E05E}"/>
                  </a:ext>
                </a:extLst>
              </p:cNvPr>
              <p:cNvCxnSpPr>
                <a:cxnSpLocks noGrp="1" noRot="1" noMove="1" noResize="1" noEditPoints="1" noAdjustHandles="1" noChangeArrowheads="1" noChangeShapeType="1"/>
              </p:cNvCxnSpPr>
              <p:nvPr userDrawn="1"/>
            </p:nvCxnSpPr>
            <p:spPr>
              <a:xfrm rot="5400000">
                <a:off x="-60324" y="1592580"/>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grpSp>
      </p:grpSp>
      <p:grpSp>
        <p:nvGrpSpPr>
          <p:cNvPr id="214" name="Horizontal Markers Right">
            <a:extLst>
              <a:ext uri="{FF2B5EF4-FFF2-40B4-BE49-F238E27FC236}">
                <a16:creationId xmlns:a16="http://schemas.microsoft.com/office/drawing/2014/main" id="{0E15D8C4-ABC7-762F-EBD9-715AC935C45D}"/>
              </a:ext>
            </a:extLst>
          </p:cNvPr>
          <p:cNvGrpSpPr>
            <a:grpSpLocks noGrp="1" noUngrp="1" noRot="1" noMove="1" noResize="1"/>
          </p:cNvGrpSpPr>
          <p:nvPr userDrawn="1"/>
        </p:nvGrpSpPr>
        <p:grpSpPr>
          <a:xfrm flipH="1">
            <a:off x="12222840" y="304484"/>
            <a:ext cx="91440" cy="5804216"/>
            <a:chOff x="-106044" y="304484"/>
            <a:chExt cx="91440" cy="5804216"/>
          </a:xfrm>
        </p:grpSpPr>
        <p:cxnSp>
          <p:nvCxnSpPr>
            <p:cNvPr id="215" name="Straight Connector 214">
              <a:extLst>
                <a:ext uri="{FF2B5EF4-FFF2-40B4-BE49-F238E27FC236}">
                  <a16:creationId xmlns:a16="http://schemas.microsoft.com/office/drawing/2014/main" id="{8337C811-4542-2EE7-A070-0A11F64823E5}"/>
                </a:ext>
              </a:extLst>
            </p:cNvPr>
            <p:cNvCxnSpPr>
              <a:cxnSpLocks noGrp="1" noRot="1" noMove="1" noResize="1" noEditPoints="1" noAdjustHandles="1" noChangeArrowheads="1" noChangeShapeType="1"/>
            </p:cNvCxnSpPr>
            <p:nvPr userDrawn="1"/>
          </p:nvCxnSpPr>
          <p:spPr>
            <a:xfrm rot="5400000">
              <a:off x="-60324" y="258764"/>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216" name="Straight Connector 215">
              <a:extLst>
                <a:ext uri="{FF2B5EF4-FFF2-40B4-BE49-F238E27FC236}">
                  <a16:creationId xmlns:a16="http://schemas.microsoft.com/office/drawing/2014/main" id="{14A20C2E-8ED8-B0B7-BD57-C12A3BBCA501}"/>
                </a:ext>
              </a:extLst>
            </p:cNvPr>
            <p:cNvCxnSpPr>
              <a:cxnSpLocks noGrp="1" noRot="1" noMove="1" noResize="1" noEditPoints="1" noAdjustHandles="1" noChangeArrowheads="1" noChangeShapeType="1"/>
            </p:cNvCxnSpPr>
            <p:nvPr userDrawn="1"/>
          </p:nvCxnSpPr>
          <p:spPr>
            <a:xfrm rot="5400000">
              <a:off x="-60324" y="6062980"/>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grpSp>
          <p:nvGrpSpPr>
            <p:cNvPr id="217" name="Group 216">
              <a:extLst>
                <a:ext uri="{FF2B5EF4-FFF2-40B4-BE49-F238E27FC236}">
                  <a16:creationId xmlns:a16="http://schemas.microsoft.com/office/drawing/2014/main" id="{64E99BCD-4B6B-8A77-3E7B-C8AE755D6FF5}"/>
                </a:ext>
              </a:extLst>
            </p:cNvPr>
            <p:cNvGrpSpPr>
              <a:grpSpLocks noGrp="1" noUngrp="1" noRot="1" noMove="1" noResize="1"/>
            </p:cNvGrpSpPr>
            <p:nvPr userDrawn="1"/>
          </p:nvGrpSpPr>
          <p:grpSpPr>
            <a:xfrm>
              <a:off x="-106044" y="1219200"/>
              <a:ext cx="91440" cy="419100"/>
              <a:chOff x="-106044" y="1219200"/>
              <a:chExt cx="91440" cy="419100"/>
            </a:xfrm>
          </p:grpSpPr>
          <p:cxnSp>
            <p:nvCxnSpPr>
              <p:cNvPr id="221" name="Straight Connector 220">
                <a:extLst>
                  <a:ext uri="{FF2B5EF4-FFF2-40B4-BE49-F238E27FC236}">
                    <a16:creationId xmlns:a16="http://schemas.microsoft.com/office/drawing/2014/main" id="{BDC21EB8-6195-9793-19F2-9F17FD159A22}"/>
                  </a:ext>
                </a:extLst>
              </p:cNvPr>
              <p:cNvCxnSpPr>
                <a:cxnSpLocks noGrp="1" noRot="1" noMove="1" noResize="1" noEditPoints="1" noAdjustHandles="1" noChangeArrowheads="1" noChangeShapeType="1"/>
              </p:cNvCxnSpPr>
              <p:nvPr userDrawn="1"/>
            </p:nvCxnSpPr>
            <p:spPr>
              <a:xfrm rot="5400000">
                <a:off x="-60324" y="1173480"/>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222" name="Straight Connector 221">
                <a:extLst>
                  <a:ext uri="{FF2B5EF4-FFF2-40B4-BE49-F238E27FC236}">
                    <a16:creationId xmlns:a16="http://schemas.microsoft.com/office/drawing/2014/main" id="{1BEA6F92-D18B-7DDF-A672-BD40DB39AD40}"/>
                  </a:ext>
                </a:extLst>
              </p:cNvPr>
              <p:cNvCxnSpPr>
                <a:cxnSpLocks noGrp="1" noRot="1" noMove="1" noResize="1" noEditPoints="1" noAdjustHandles="1" noChangeArrowheads="1" noChangeShapeType="1"/>
              </p:cNvCxnSpPr>
              <p:nvPr userDrawn="1"/>
            </p:nvCxnSpPr>
            <p:spPr>
              <a:xfrm rot="5400000">
                <a:off x="-60324" y="1592580"/>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grpSp>
        <p:grpSp>
          <p:nvGrpSpPr>
            <p:cNvPr id="218" name="Group 217">
              <a:extLst>
                <a:ext uri="{FF2B5EF4-FFF2-40B4-BE49-F238E27FC236}">
                  <a16:creationId xmlns:a16="http://schemas.microsoft.com/office/drawing/2014/main" id="{A9963F1F-494E-ED48-2599-10F3CF79B8EC}"/>
                </a:ext>
              </a:extLst>
            </p:cNvPr>
            <p:cNvGrpSpPr>
              <a:grpSpLocks noGrp="1" noUngrp="1" noRot="1" noMove="1" noResize="1"/>
            </p:cNvGrpSpPr>
            <p:nvPr userDrawn="1"/>
          </p:nvGrpSpPr>
          <p:grpSpPr>
            <a:xfrm>
              <a:off x="-106044" y="5676900"/>
              <a:ext cx="91440" cy="431800"/>
              <a:chOff x="-106044" y="1206500"/>
              <a:chExt cx="91440" cy="431800"/>
            </a:xfrm>
          </p:grpSpPr>
          <p:cxnSp>
            <p:nvCxnSpPr>
              <p:cNvPr id="219" name="Straight Connector 218">
                <a:extLst>
                  <a:ext uri="{FF2B5EF4-FFF2-40B4-BE49-F238E27FC236}">
                    <a16:creationId xmlns:a16="http://schemas.microsoft.com/office/drawing/2014/main" id="{FD80CC2F-018A-E7FC-E743-CCA5B83720FB}"/>
                  </a:ext>
                </a:extLst>
              </p:cNvPr>
              <p:cNvCxnSpPr>
                <a:cxnSpLocks noGrp="1" noRot="1" noMove="1" noResize="1" noEditPoints="1" noAdjustHandles="1" noChangeArrowheads="1" noChangeShapeType="1"/>
              </p:cNvCxnSpPr>
              <p:nvPr userDrawn="1"/>
            </p:nvCxnSpPr>
            <p:spPr>
              <a:xfrm rot="5400000">
                <a:off x="-60324" y="1160780"/>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cxnSp>
            <p:nvCxnSpPr>
              <p:cNvPr id="220" name="Straight Connector 219">
                <a:extLst>
                  <a:ext uri="{FF2B5EF4-FFF2-40B4-BE49-F238E27FC236}">
                    <a16:creationId xmlns:a16="http://schemas.microsoft.com/office/drawing/2014/main" id="{3100CA45-B775-276A-5A43-FE5A99346451}"/>
                  </a:ext>
                </a:extLst>
              </p:cNvPr>
              <p:cNvCxnSpPr>
                <a:cxnSpLocks noGrp="1" noRot="1" noMove="1" noResize="1" noEditPoints="1" noAdjustHandles="1" noChangeArrowheads="1" noChangeShapeType="1"/>
              </p:cNvCxnSpPr>
              <p:nvPr userDrawn="1"/>
            </p:nvCxnSpPr>
            <p:spPr>
              <a:xfrm rot="5400000">
                <a:off x="-60324" y="1592580"/>
                <a:ext cx="0" cy="91440"/>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grpSp>
      </p:grpSp>
      <p:sp>
        <p:nvSpPr>
          <p:cNvPr id="6" name="Slide Number Placeholder">
            <a:extLst>
              <a:ext uri="{FF2B5EF4-FFF2-40B4-BE49-F238E27FC236}">
                <a16:creationId xmlns:a16="http://schemas.microsoft.com/office/drawing/2014/main" id="{A64E6BD6-E07D-2B19-17C8-0FC0C2471EFC}"/>
              </a:ext>
            </a:extLst>
          </p:cNvPr>
          <p:cNvSpPr>
            <a:spLocks noGrp="1" noRot="1" noMove="1" noResize="1" noEditPoints="1" noAdjustHandles="1" noChangeArrowheads="1" noChangeShapeType="1"/>
          </p:cNvSpPr>
          <p:nvPr>
            <p:ph type="sldNum" sz="quarter" idx="4"/>
          </p:nvPr>
        </p:nvSpPr>
        <p:spPr>
          <a:xfrm>
            <a:off x="11495577" y="6485399"/>
            <a:ext cx="404321" cy="282957"/>
          </a:xfrm>
          <a:prstGeom prst="rect">
            <a:avLst/>
          </a:prstGeom>
        </p:spPr>
        <p:txBody>
          <a:bodyPr vert="horz" lIns="0" tIns="0" rIns="0" bIns="0" rtlCol="0" anchor="ctr"/>
          <a:lstStyle>
            <a:lvl1pPr algn="r">
              <a:defRPr sz="1000">
                <a:solidFill>
                  <a:schemeClr val="bg1">
                    <a:lumMod val="50000"/>
                  </a:schemeClr>
                </a:solidFill>
              </a:defRPr>
            </a:lvl1pPr>
          </a:lstStyle>
          <a:p>
            <a:fld id="{3E04DF46-C0DC-4ADC-9A6F-918CC4703A43}" type="slidenum">
              <a:rPr lang="en-GB" smtClean="0"/>
              <a:pPr/>
              <a:t>‹#›</a:t>
            </a:fld>
            <a:endParaRPr lang="en-GB"/>
          </a:p>
        </p:txBody>
      </p:sp>
      <p:sp>
        <p:nvSpPr>
          <p:cNvPr id="7" name="Copyright Line">
            <a:extLst>
              <a:ext uri="{FF2B5EF4-FFF2-40B4-BE49-F238E27FC236}">
                <a16:creationId xmlns:a16="http://schemas.microsoft.com/office/drawing/2014/main" id="{FE2C65CF-8B27-677A-7002-0C3FC6DBB229}"/>
              </a:ext>
            </a:extLst>
          </p:cNvPr>
          <p:cNvSpPr txBox="1">
            <a:spLocks noGrp="1" noRot="1" noMove="1" noResize="1" noEditPoints="1" noAdjustHandles="1" noChangeArrowheads="1" noChangeShapeType="1"/>
          </p:cNvSpPr>
          <p:nvPr userDrawn="1"/>
        </p:nvSpPr>
        <p:spPr>
          <a:xfrm>
            <a:off x="9167809" y="6526850"/>
            <a:ext cx="2268453"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a:t>
            </a:r>
            <a:fld id="{92E70860-886D-4303-B2B5-BD1295E1FD39}" type="datetimeyyyy">
              <a:rPr lang="en-US" sz="700" smtClean="0">
                <a:solidFill>
                  <a:schemeClr val="tx1">
                    <a:lumMod val="40000"/>
                    <a:lumOff val="60000"/>
                  </a:schemeClr>
                </a:solidFill>
              </a:rPr>
              <a:t>2024</a:t>
            </a:fld>
            <a:r>
              <a:rPr lang="en-US" sz="700">
                <a:solidFill>
                  <a:schemeClr val="tx1">
                    <a:lumMod val="40000"/>
                    <a:lumOff val="60000"/>
                  </a:schemeClr>
                </a:solidFill>
              </a:rPr>
              <a:t> Nielsen Consumer LLC. All Rights Reserved.</a:t>
            </a:r>
          </a:p>
        </p:txBody>
      </p:sp>
      <p:sp>
        <p:nvSpPr>
          <p:cNvPr id="23" name="Confidential disclaimer">
            <a:extLst>
              <a:ext uri="{FF2B5EF4-FFF2-40B4-BE49-F238E27FC236}">
                <a16:creationId xmlns:a16="http://schemas.microsoft.com/office/drawing/2014/main" id="{78A1FF65-2683-767F-2325-D99D81EAF5F3}"/>
              </a:ext>
            </a:extLst>
          </p:cNvPr>
          <p:cNvSpPr txBox="1">
            <a:spLocks noGrp="1" noRot="1" noMove="1" noResize="1" noEditPoints="1" noAdjustHandles="1" noChangeArrowheads="1" noChangeShapeType="1"/>
          </p:cNvSpPr>
          <p:nvPr userDrawn="1"/>
        </p:nvSpPr>
        <p:spPr>
          <a:xfrm>
            <a:off x="7837949" y="6573016"/>
            <a:ext cx="1101264" cy="107722"/>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1">
                    <a:lumMod val="40000"/>
                    <a:lumOff val="60000"/>
                  </a:schemeClr>
                </a:solidFill>
                <a:latin typeface="+mn-lt"/>
                <a:ea typeface="+mn-ea"/>
                <a:cs typeface="+mn-cs"/>
              </a:rPr>
              <a:t>Confidential and proprietary</a:t>
            </a:r>
          </a:p>
        </p:txBody>
      </p:sp>
      <p:sp>
        <p:nvSpPr>
          <p:cNvPr id="5" name="Footer Placeholder">
            <a:extLst>
              <a:ext uri="{FF2B5EF4-FFF2-40B4-BE49-F238E27FC236}">
                <a16:creationId xmlns:a16="http://schemas.microsoft.com/office/drawing/2014/main" id="{5F70E08D-819F-1B99-D7F7-BEB0CF6E8323}"/>
              </a:ext>
            </a:extLst>
          </p:cNvPr>
          <p:cNvSpPr>
            <a:spLocks noGrp="1" noRot="1" noMove="1" noResize="1" noEditPoints="1" noAdjustHandles="1" noChangeArrowheads="1" noChangeShapeType="1"/>
          </p:cNvSpPr>
          <p:nvPr>
            <p:ph type="ftr" sz="quarter" idx="3"/>
          </p:nvPr>
        </p:nvSpPr>
        <p:spPr>
          <a:xfrm>
            <a:off x="3251197" y="6485399"/>
            <a:ext cx="3716341" cy="282957"/>
          </a:xfrm>
          <a:prstGeom prst="rect">
            <a:avLst/>
          </a:prstGeom>
          <a:noFill/>
        </p:spPr>
        <p:txBody>
          <a:bodyPr vert="horz" lIns="0" tIns="0" rIns="0" bIns="0" rtlCol="0" anchor="ctr"/>
          <a:lstStyle>
            <a:lvl1pPr algn="l">
              <a:defRPr sz="1000">
                <a:solidFill>
                  <a:schemeClr val="bg1">
                    <a:lumMod val="50000"/>
                  </a:schemeClr>
                </a:solidFill>
              </a:defRPr>
            </a:lvl1pPr>
          </a:lstStyle>
          <a:p>
            <a:endParaRPr lang="en-GB"/>
          </a:p>
        </p:txBody>
      </p:sp>
      <p:sp>
        <p:nvSpPr>
          <p:cNvPr id="4" name="Date Placeholder">
            <a:extLst>
              <a:ext uri="{FF2B5EF4-FFF2-40B4-BE49-F238E27FC236}">
                <a16:creationId xmlns:a16="http://schemas.microsoft.com/office/drawing/2014/main" id="{7CB195BE-558A-E9D1-BD0E-FE21F1324E8F}"/>
              </a:ext>
            </a:extLst>
          </p:cNvPr>
          <p:cNvSpPr>
            <a:spLocks noGrp="1" noRot="1" noMove="1" noResize="1" noEditPoints="1" noAdjustHandles="1" noChangeArrowheads="1" noChangeShapeType="1"/>
          </p:cNvSpPr>
          <p:nvPr>
            <p:ph type="dt" sz="half" idx="2"/>
          </p:nvPr>
        </p:nvSpPr>
        <p:spPr>
          <a:xfrm>
            <a:off x="2265363" y="6485399"/>
            <a:ext cx="757238" cy="282957"/>
          </a:xfrm>
          <a:prstGeom prst="rect">
            <a:avLst/>
          </a:prstGeom>
        </p:spPr>
        <p:txBody>
          <a:bodyPr vert="horz" lIns="0" tIns="0" rIns="0" bIns="0" rtlCol="0" anchor="ctr"/>
          <a:lstStyle>
            <a:lvl1pPr algn="l">
              <a:defRPr sz="1000">
                <a:solidFill>
                  <a:schemeClr val="bg1">
                    <a:lumMod val="50000"/>
                  </a:schemeClr>
                </a:solidFill>
              </a:defRPr>
            </a:lvl1pPr>
          </a:lstStyle>
          <a:p>
            <a:fld id="{F42DF71F-30BE-44BA-A536-D8EF81D0364C}" type="datetime1">
              <a:rPr lang="en-GB" smtClean="0"/>
              <a:pPr/>
              <a:t>18/11/2024</a:t>
            </a:fld>
            <a:endParaRPr lang="en-GB"/>
          </a:p>
        </p:txBody>
      </p:sp>
      <p:cxnSp>
        <p:nvCxnSpPr>
          <p:cNvPr id="50" name="Base Rule">
            <a:extLst>
              <a:ext uri="{FF2B5EF4-FFF2-40B4-BE49-F238E27FC236}">
                <a16:creationId xmlns:a16="http://schemas.microsoft.com/office/drawing/2014/main" id="{8F7DBEB2-D3D4-C8B5-3434-A00B1C2AA7EE}"/>
              </a:ext>
            </a:extLst>
          </p:cNvPr>
          <p:cNvCxnSpPr>
            <a:cxnSpLocks noGrp="1" noRot="1" noMove="1" noResize="1" noEditPoints="1" noAdjustHandles="1" noChangeArrowheads="1" noChangeShapeType="1"/>
          </p:cNvCxnSpPr>
          <p:nvPr userDrawn="1"/>
        </p:nvCxnSpPr>
        <p:spPr>
          <a:xfrm>
            <a:off x="292100" y="6395755"/>
            <a:ext cx="116078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a:extLst>
              <a:ext uri="{FF2B5EF4-FFF2-40B4-BE49-F238E27FC236}">
                <a16:creationId xmlns:a16="http://schemas.microsoft.com/office/drawing/2014/main" id="{D708349F-2D5F-012D-30C6-BC9EF27CB848}"/>
              </a:ext>
            </a:extLst>
          </p:cNvPr>
          <p:cNvSpPr>
            <a:spLocks noGrp="1" noRot="1" noMove="1" noResize="1" noEditPoints="1" noAdjustHandles="1" noChangeArrowheads="1" noChangeShapeType="1"/>
          </p:cNvSpPr>
          <p:nvPr>
            <p:ph type="body" idx="1"/>
          </p:nvPr>
        </p:nvSpPr>
        <p:spPr>
          <a:xfrm>
            <a:off x="292100" y="1638300"/>
            <a:ext cx="11611336" cy="4038600"/>
          </a:xfrm>
          <a:prstGeom prst="rect">
            <a:avLst/>
          </a:prstGeom>
        </p:spPr>
        <p:txBody>
          <a:bodyPr vert="horz" lIns="0" tIns="0" rIns="0" bIns="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2" name="Title Placeholder">
            <a:extLst>
              <a:ext uri="{FF2B5EF4-FFF2-40B4-BE49-F238E27FC236}">
                <a16:creationId xmlns:a16="http://schemas.microsoft.com/office/drawing/2014/main" id="{2397E100-96BC-DBA8-0931-869A3CB0F64E}"/>
              </a:ext>
            </a:extLst>
          </p:cNvPr>
          <p:cNvSpPr>
            <a:spLocks noGrp="1" noRot="1" noMove="1" noResize="1" noEditPoints="1" noAdjustHandles="1" noChangeArrowheads="1" noChangeShapeType="1"/>
          </p:cNvSpPr>
          <p:nvPr>
            <p:ph type="title"/>
          </p:nvPr>
        </p:nvSpPr>
        <p:spPr>
          <a:xfrm>
            <a:off x="292100" y="304800"/>
            <a:ext cx="11613314" cy="265590"/>
          </a:xfrm>
          <a:prstGeom prst="rect">
            <a:avLst/>
          </a:prstGeom>
        </p:spPr>
        <p:txBody>
          <a:bodyPr vert="horz" lIns="0" tIns="0" rIns="0" bIns="0" rtlCol="0" anchor="t" anchorCtr="0">
            <a:noAutofit/>
          </a:bodyPr>
          <a:lstStyle/>
          <a:p>
            <a:r>
              <a:rPr lang="en-US"/>
              <a:t>Insert your slide title in Arial Bold 20pt</a:t>
            </a:r>
            <a:endParaRPr lang="en-GB"/>
          </a:p>
        </p:txBody>
      </p:sp>
      <p:pic>
        <p:nvPicPr>
          <p:cNvPr id="9" name="NIQ GFK Lockup" hidden="1">
            <a:extLst>
              <a:ext uri="{FF2B5EF4-FFF2-40B4-BE49-F238E27FC236}">
                <a16:creationId xmlns:a16="http://schemas.microsoft.com/office/drawing/2014/main" id="{820B2CC8-6A10-1A7D-AA80-20F852A3651A}"/>
              </a:ext>
            </a:extLst>
          </p:cNvPr>
          <p:cNvPicPr>
            <a:picLocks noGrp="1" noRot="1" noChangeAspect="1" noMove="1" noResize="1" noEditPoints="1" noAdjustHandles="1" noChangeArrowheads="1" noChangeShapeType="1" noCrop="1"/>
          </p:cNvPicPr>
          <p:nvPr userDrawn="1"/>
        </p:nvPicPr>
        <p:blipFill>
          <a:blip r:embed="rId55" cstate="print">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302626" y="6462285"/>
            <a:ext cx="906224" cy="329184"/>
          </a:xfrm>
          <a:prstGeom prst="rect">
            <a:avLst/>
          </a:prstGeom>
        </p:spPr>
      </p:pic>
      <p:pic>
        <p:nvPicPr>
          <p:cNvPr id="22" name="NielsenIQ logo+wordmark" descr="A blue text on a black background&#10;&#10;Description automatically generated" hidden="1">
            <a:extLst>
              <a:ext uri="{FF2B5EF4-FFF2-40B4-BE49-F238E27FC236}">
                <a16:creationId xmlns:a16="http://schemas.microsoft.com/office/drawing/2014/main" id="{40901A86-02E1-3B2F-FACD-729B5AB8CC91}"/>
              </a:ext>
            </a:extLst>
          </p:cNvPr>
          <p:cNvPicPr>
            <a:picLocks noGrp="1" noRot="1" noChangeAspect="1" noMove="1" noResize="1" noEditPoints="1" noAdjustHandles="1" noChangeArrowheads="1" noChangeShapeType="1" noCrop="1"/>
          </p:cNvPicPr>
          <p:nvPr userDrawn="1"/>
        </p:nvPicPr>
        <p:blipFill>
          <a:blip r:embed="rId57" cstate="print">
            <a:extLst>
              <a:ext uri="{28A0092B-C50C-407E-A947-70E740481C1C}">
                <a14:useLocalDpi xmlns:a14="http://schemas.microsoft.com/office/drawing/2010/main" val="0"/>
              </a:ext>
            </a:extLst>
          </a:blip>
          <a:stretch>
            <a:fillRect/>
          </a:stretch>
        </p:blipFill>
        <p:spPr>
          <a:xfrm>
            <a:off x="290130" y="6495154"/>
            <a:ext cx="781433" cy="269593"/>
          </a:xfrm>
          <a:prstGeom prst="rect">
            <a:avLst/>
          </a:prstGeom>
        </p:spPr>
      </p:pic>
      <p:pic>
        <p:nvPicPr>
          <p:cNvPr id="11" name="NIQ Logo">
            <a:extLst>
              <a:ext uri="{FF2B5EF4-FFF2-40B4-BE49-F238E27FC236}">
                <a16:creationId xmlns:a16="http://schemas.microsoft.com/office/drawing/2014/main" id="{ACAE94BF-32EB-3237-6101-F4E7A582074F}"/>
              </a:ext>
            </a:extLst>
          </p:cNvPr>
          <p:cNvPicPr>
            <a:picLocks noGrp="1" noRot="1" noChangeAspect="1" noMove="1" noResize="1" noEditPoints="1" noAdjustHandles="1" noChangeArrowheads="1" noChangeShapeType="1" noCrop="1"/>
          </p:cNvPicPr>
          <p:nvPr userDrawn="1"/>
        </p:nvPicPr>
        <p:blipFill>
          <a:blip r:embed="rId58" cstate="print">
            <a:extLst>
              <a:ext uri="{28A0092B-C50C-407E-A947-70E740481C1C}">
                <a14:useLocalDpi xmlns:a14="http://schemas.microsoft.com/office/drawing/2010/main" val="0"/>
              </a:ext>
              <a:ext uri="{96DAC541-7B7A-43D3-8B79-37D633B846F1}">
                <asvg:svgBlip xmlns:asvg="http://schemas.microsoft.com/office/drawing/2016/SVG/main" r:embed="rId59"/>
              </a:ext>
            </a:extLst>
          </a:blip>
          <a:stretch>
            <a:fillRect/>
          </a:stretch>
        </p:blipFill>
        <p:spPr>
          <a:xfrm>
            <a:off x="292100" y="6495101"/>
            <a:ext cx="645459" cy="274320"/>
          </a:xfrm>
          <a:prstGeom prst="rect">
            <a:avLst/>
          </a:prstGeom>
        </p:spPr>
      </p:pic>
    </p:spTree>
    <p:extLst>
      <p:ext uri="{BB962C8B-B14F-4D97-AF65-F5344CB8AC3E}">
        <p14:creationId xmlns:p14="http://schemas.microsoft.com/office/powerpoint/2010/main" val="431089414"/>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 id="2147483927" r:id="rId19"/>
    <p:sldLayoutId id="2147483928" r:id="rId20"/>
    <p:sldLayoutId id="2147483929" r:id="rId21"/>
    <p:sldLayoutId id="2147483930" r:id="rId22"/>
    <p:sldLayoutId id="2147483931" r:id="rId23"/>
    <p:sldLayoutId id="2147483932" r:id="rId24"/>
    <p:sldLayoutId id="2147483933" r:id="rId25"/>
    <p:sldLayoutId id="2147483934" r:id="rId26"/>
    <p:sldLayoutId id="2147483935" r:id="rId27"/>
    <p:sldLayoutId id="2147483936" r:id="rId28"/>
    <p:sldLayoutId id="2147483937" r:id="rId29"/>
    <p:sldLayoutId id="2147483938" r:id="rId30"/>
    <p:sldLayoutId id="2147483939" r:id="rId31"/>
    <p:sldLayoutId id="2147483940" r:id="rId32"/>
    <p:sldLayoutId id="2147483941" r:id="rId33"/>
    <p:sldLayoutId id="2147483942" r:id="rId34"/>
    <p:sldLayoutId id="2147483943" r:id="rId35"/>
    <p:sldLayoutId id="2147483944" r:id="rId36"/>
    <p:sldLayoutId id="2147483945" r:id="rId37"/>
    <p:sldLayoutId id="2147483946" r:id="rId38"/>
    <p:sldLayoutId id="2147483947" r:id="rId39"/>
    <p:sldLayoutId id="2147483948" r:id="rId40"/>
    <p:sldLayoutId id="2147483949" r:id="rId41"/>
    <p:sldLayoutId id="2147483950" r:id="rId42"/>
    <p:sldLayoutId id="2147483951" r:id="rId43"/>
    <p:sldLayoutId id="2147483952" r:id="rId44"/>
    <p:sldLayoutId id="2147483953" r:id="rId45"/>
    <p:sldLayoutId id="2147483954" r:id="rId46"/>
    <p:sldLayoutId id="2147483955" r:id="rId47"/>
    <p:sldLayoutId id="2147483956" r:id="rId48"/>
    <p:sldLayoutId id="2147483957" r:id="rId49"/>
    <p:sldLayoutId id="2147483958" r:id="rId50"/>
    <p:sldLayoutId id="2147483959" r:id="rId51"/>
    <p:sldLayoutId id="2147483960" r:id="rId52"/>
    <p:sldLayoutId id="2147483966" r:id="rId53"/>
  </p:sldLayoutIdLst>
  <p:hf hdr="0" ftr="0" dt="0"/>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171450" indent="-171450" algn="l" defTabSz="914400"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457200" indent="-171450" algn="l" defTabSz="914400" rtl="0" eaLnBrk="1" latinLnBrk="0" hangingPunct="1">
        <a:lnSpc>
          <a:spcPct val="100000"/>
        </a:lnSpc>
        <a:spcBef>
          <a:spcPts val="800"/>
        </a:spcBef>
        <a:buClr>
          <a:schemeClr val="tx1"/>
        </a:buClr>
        <a:buFont typeface="Arial" panose="020B0604020202020204" pitchFamily="34" charset="0"/>
        <a:buChar char="-"/>
        <a:defRPr sz="1400" kern="1200">
          <a:solidFill>
            <a:schemeClr val="tx1"/>
          </a:solidFill>
          <a:latin typeface="+mn-lt"/>
          <a:ea typeface="+mn-ea"/>
          <a:cs typeface="+mn-cs"/>
        </a:defRPr>
      </a:lvl2pPr>
      <a:lvl3pPr marL="742950" indent="-171450" algn="l" defTabSz="914400" rtl="0" eaLnBrk="1" latinLnBrk="0" hangingPunct="1">
        <a:lnSpc>
          <a:spcPct val="100000"/>
        </a:lnSpc>
        <a:spcBef>
          <a:spcPts val="700"/>
        </a:spcBef>
        <a:buFont typeface="Arial" panose="020B0604020202020204" pitchFamily="34" charset="0"/>
        <a:buChar char="•"/>
        <a:defRPr sz="1400" kern="1200">
          <a:solidFill>
            <a:schemeClr val="tx1"/>
          </a:solidFill>
          <a:latin typeface="+mn-lt"/>
          <a:ea typeface="+mn-ea"/>
          <a:cs typeface="+mn-cs"/>
        </a:defRPr>
      </a:lvl3pPr>
      <a:lvl4pPr marL="1085850" indent="-171450" algn="l" defTabSz="914400"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4pPr>
      <a:lvl5pPr marL="1371600" indent="-171450" algn="l" defTabSz="914400"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4A3A4"/>
          </p15:clr>
        </p15:guide>
        <p15:guide id="2" pos="7680">
          <p15:clr>
            <a:srgbClr val="A4A3A4"/>
          </p15:clr>
        </p15:guide>
        <p15:guide id="3" pos="184">
          <p15:clr>
            <a:srgbClr val="A4A3A4"/>
          </p15:clr>
        </p15:guide>
        <p15:guide id="4" pos="3840">
          <p15:clr>
            <a:srgbClr val="A4A3A4"/>
          </p15:clr>
        </p15:guide>
        <p15:guide id="5" pos="7496">
          <p15:clr>
            <a:srgbClr val="A4A3A4"/>
          </p15:clr>
        </p15:guide>
        <p15:guide id="6" orient="horz">
          <p15:clr>
            <a:srgbClr val="A4A3A4"/>
          </p15:clr>
        </p15:guide>
        <p15:guide id="7" orient="horz" pos="4320">
          <p15:clr>
            <a:srgbClr val="A4A3A4"/>
          </p15:clr>
        </p15:guide>
        <p15:guide id="8" orient="horz" pos="192">
          <p15:clr>
            <a:srgbClr val="A4A3A4"/>
          </p15:clr>
        </p15:guide>
        <p15:guide id="9" orient="horz" pos="3968">
          <p15:clr>
            <a:srgbClr val="A4A3A4"/>
          </p15:clr>
        </p15:guide>
        <p15:guide id="10" orient="horz" pos="768">
          <p15:clr>
            <a:srgbClr val="A4A3A4"/>
          </p15:clr>
        </p15:guide>
        <p15:guide id="11" orient="horz" pos="3848">
          <p15:clr>
            <a:srgbClr val="A4A3A4"/>
          </p15:clr>
        </p15:guide>
        <p15:guide id="12" orient="horz" pos="1032">
          <p15:clr>
            <a:srgbClr val="A4A3A4"/>
          </p15:clr>
        </p15:guide>
        <p15:guide id="13" orient="horz" pos="3576">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9" y="175952"/>
            <a:ext cx="11582400" cy="436541"/>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9" y="1825625"/>
            <a:ext cx="11597639" cy="3836139"/>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5" y="6435204"/>
            <a:ext cx="901875"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userDrawn="1"/>
        </p:nvSpPr>
        <p:spPr>
          <a:xfrm>
            <a:off x="8835026" y="6517928"/>
            <a:ext cx="2601239"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AE21BCDA-5B29-0CC9-C418-273BF99F1111}"/>
              </a:ext>
            </a:extLst>
          </p:cNvPr>
          <p:cNvPicPr>
            <a:picLocks noChangeAspect="1"/>
          </p:cNvPicPr>
          <p:nvPr userDrawn="1"/>
        </p:nvPicPr>
        <p:blipFill>
          <a:blip r:embed="rId38"/>
          <a:srcRect/>
          <a:stretch/>
        </p:blipFill>
        <p:spPr>
          <a:xfrm>
            <a:off x="288558" y="6505614"/>
            <a:ext cx="1372075" cy="249129"/>
          </a:xfrm>
          <a:prstGeom prst="rect">
            <a:avLst/>
          </a:prstGeom>
        </p:spPr>
      </p:pic>
    </p:spTree>
    <p:extLst>
      <p:ext uri="{BB962C8B-B14F-4D97-AF65-F5344CB8AC3E}">
        <p14:creationId xmlns:p14="http://schemas.microsoft.com/office/powerpoint/2010/main" val="323941116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9" r:id="rId36"/>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3.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customXml" Target="../ink/ink24.xml"/><Relationship Id="rId18" Type="http://schemas.openxmlformats.org/officeDocument/2006/relationships/image" Target="../media/image78.png"/><Relationship Id="rId26" Type="http://schemas.openxmlformats.org/officeDocument/2006/relationships/image" Target="../media/image82.png"/><Relationship Id="rId3" Type="http://schemas.openxmlformats.org/officeDocument/2006/relationships/image" Target="../media/image62.png"/><Relationship Id="rId21" Type="http://schemas.openxmlformats.org/officeDocument/2006/relationships/customXml" Target="../ink/ink28.xml"/><Relationship Id="rId7" Type="http://schemas.openxmlformats.org/officeDocument/2006/relationships/image" Target="../media/image72.jpeg"/><Relationship Id="rId12" Type="http://schemas.openxmlformats.org/officeDocument/2006/relationships/image" Target="../media/image75.png"/><Relationship Id="rId17" Type="http://schemas.openxmlformats.org/officeDocument/2006/relationships/customXml" Target="../ink/ink26.xml"/><Relationship Id="rId25" Type="http://schemas.openxmlformats.org/officeDocument/2006/relationships/customXml" Target="../ink/ink30.xml"/><Relationship Id="rId2" Type="http://schemas.openxmlformats.org/officeDocument/2006/relationships/image" Target="../media/image61.png"/><Relationship Id="rId16" Type="http://schemas.openxmlformats.org/officeDocument/2006/relationships/image" Target="../media/image77.png"/><Relationship Id="rId20" Type="http://schemas.openxmlformats.org/officeDocument/2006/relationships/image" Target="../media/image79.png"/><Relationship Id="rId29" Type="http://schemas.openxmlformats.org/officeDocument/2006/relationships/customXml" Target="../ink/ink32.xml"/><Relationship Id="rId1" Type="http://schemas.openxmlformats.org/officeDocument/2006/relationships/slideLayout" Target="../slideLayouts/slideLayout15.xml"/><Relationship Id="rId6" Type="http://schemas.openxmlformats.org/officeDocument/2006/relationships/image" Target="../media/image65.svg"/><Relationship Id="rId11" Type="http://schemas.openxmlformats.org/officeDocument/2006/relationships/customXml" Target="../ink/ink23.xml"/><Relationship Id="rId24" Type="http://schemas.openxmlformats.org/officeDocument/2006/relationships/image" Target="../media/image81.png"/><Relationship Id="rId5" Type="http://schemas.openxmlformats.org/officeDocument/2006/relationships/image" Target="../media/image64.png"/><Relationship Id="rId15" Type="http://schemas.openxmlformats.org/officeDocument/2006/relationships/customXml" Target="../ink/ink25.xml"/><Relationship Id="rId23" Type="http://schemas.openxmlformats.org/officeDocument/2006/relationships/customXml" Target="../ink/ink29.xml"/><Relationship Id="rId28" Type="http://schemas.openxmlformats.org/officeDocument/2006/relationships/image" Target="../media/image83.png"/><Relationship Id="rId10" Type="http://schemas.openxmlformats.org/officeDocument/2006/relationships/image" Target="../media/image74.png"/><Relationship Id="rId19" Type="http://schemas.openxmlformats.org/officeDocument/2006/relationships/customXml" Target="../ink/ink27.xml"/><Relationship Id="rId4" Type="http://schemas.openxmlformats.org/officeDocument/2006/relationships/image" Target="../media/image63.png"/><Relationship Id="rId9" Type="http://schemas.openxmlformats.org/officeDocument/2006/relationships/customXml" Target="../ink/ink22.xml"/><Relationship Id="rId14" Type="http://schemas.openxmlformats.org/officeDocument/2006/relationships/image" Target="../media/image76.png"/><Relationship Id="rId22" Type="http://schemas.openxmlformats.org/officeDocument/2006/relationships/image" Target="../media/image80.png"/><Relationship Id="rId27" Type="http://schemas.openxmlformats.org/officeDocument/2006/relationships/customXml" Target="../ink/ink31.xml"/><Relationship Id="rId30" Type="http://schemas.openxmlformats.org/officeDocument/2006/relationships/image" Target="../media/image84.png"/></Relationships>
</file>

<file path=ppt/slides/_rels/slide14.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2.png"/><Relationship Id="rId3" Type="http://schemas.openxmlformats.org/officeDocument/2006/relationships/image" Target="../media/image61.png"/><Relationship Id="rId7" Type="http://schemas.openxmlformats.org/officeDocument/2006/relationships/image" Target="../media/image87.png"/><Relationship Id="rId12" Type="http://schemas.openxmlformats.org/officeDocument/2006/relationships/customXml" Target="../ink/ink33.xml"/><Relationship Id="rId17" Type="http://schemas.openxmlformats.org/officeDocument/2006/relationships/image" Target="../media/image94.png"/><Relationship Id="rId2" Type="http://schemas.openxmlformats.org/officeDocument/2006/relationships/image" Target="../media/image85.png"/><Relationship Id="rId16" Type="http://schemas.openxmlformats.org/officeDocument/2006/relationships/customXml" Target="../ink/ink35.xml"/><Relationship Id="rId1" Type="http://schemas.openxmlformats.org/officeDocument/2006/relationships/slideLayout" Target="../slideLayouts/slideLayout15.xml"/><Relationship Id="rId6" Type="http://schemas.openxmlformats.org/officeDocument/2006/relationships/image" Target="../media/image86.png"/><Relationship Id="rId11" Type="http://schemas.openxmlformats.org/officeDocument/2006/relationships/image" Target="../media/image91.png"/><Relationship Id="rId5" Type="http://schemas.openxmlformats.org/officeDocument/2006/relationships/image" Target="../media/image63.png"/><Relationship Id="rId15" Type="http://schemas.openxmlformats.org/officeDocument/2006/relationships/image" Target="../media/image93.png"/><Relationship Id="rId10" Type="http://schemas.openxmlformats.org/officeDocument/2006/relationships/image" Target="../media/image90.png"/><Relationship Id="rId4" Type="http://schemas.openxmlformats.org/officeDocument/2006/relationships/image" Target="../media/image62.png"/><Relationship Id="rId9" Type="http://schemas.openxmlformats.org/officeDocument/2006/relationships/image" Target="../media/image89.png"/><Relationship Id="rId14" Type="http://schemas.openxmlformats.org/officeDocument/2006/relationships/customXml" Target="../ink/ink34.xml"/></Relationships>
</file>

<file path=ppt/slides/_rels/slide15.xml.rels><?xml version="1.0" encoding="UTF-8" standalone="yes"?>
<Relationships xmlns="http://schemas.openxmlformats.org/package/2006/relationships"><Relationship Id="rId8" Type="http://schemas.openxmlformats.org/officeDocument/2006/relationships/customXml" Target="../ink/ink36.xml"/><Relationship Id="rId13" Type="http://schemas.openxmlformats.org/officeDocument/2006/relationships/image" Target="../media/image98.png"/><Relationship Id="rId18" Type="http://schemas.openxmlformats.org/officeDocument/2006/relationships/customXml" Target="../ink/ink41.xml"/><Relationship Id="rId3" Type="http://schemas.openxmlformats.org/officeDocument/2006/relationships/image" Target="../media/image62.png"/><Relationship Id="rId21" Type="http://schemas.openxmlformats.org/officeDocument/2006/relationships/image" Target="../media/image102.png"/><Relationship Id="rId7" Type="http://schemas.openxmlformats.org/officeDocument/2006/relationships/image" Target="../media/image92.jpeg"/><Relationship Id="rId12" Type="http://schemas.openxmlformats.org/officeDocument/2006/relationships/customXml" Target="../ink/ink38.xml"/><Relationship Id="rId17" Type="http://schemas.openxmlformats.org/officeDocument/2006/relationships/image" Target="../media/image100.png"/><Relationship Id="rId2" Type="http://schemas.openxmlformats.org/officeDocument/2006/relationships/image" Target="../media/image61.png"/><Relationship Id="rId16" Type="http://schemas.openxmlformats.org/officeDocument/2006/relationships/customXml" Target="../ink/ink40.xml"/><Relationship Id="rId20" Type="http://schemas.openxmlformats.org/officeDocument/2006/relationships/customXml" Target="../ink/ink42.xml"/><Relationship Id="rId1" Type="http://schemas.openxmlformats.org/officeDocument/2006/relationships/slideLayout" Target="../slideLayouts/slideLayout15.xml"/><Relationship Id="rId6" Type="http://schemas.openxmlformats.org/officeDocument/2006/relationships/image" Target="../media/image65.svg"/><Relationship Id="rId11" Type="http://schemas.openxmlformats.org/officeDocument/2006/relationships/image" Target="../media/image97.png"/><Relationship Id="rId5" Type="http://schemas.openxmlformats.org/officeDocument/2006/relationships/image" Target="../media/image64.png"/><Relationship Id="rId15" Type="http://schemas.openxmlformats.org/officeDocument/2006/relationships/image" Target="../media/image99.png"/><Relationship Id="rId10" Type="http://schemas.openxmlformats.org/officeDocument/2006/relationships/customXml" Target="../ink/ink37.xml"/><Relationship Id="rId19" Type="http://schemas.openxmlformats.org/officeDocument/2006/relationships/image" Target="../media/image101.png"/><Relationship Id="rId4" Type="http://schemas.openxmlformats.org/officeDocument/2006/relationships/image" Target="../media/image63.png"/><Relationship Id="rId9" Type="http://schemas.openxmlformats.org/officeDocument/2006/relationships/image" Target="../media/image96.png"/><Relationship Id="rId14" Type="http://schemas.openxmlformats.org/officeDocument/2006/relationships/customXml" Target="../ink/ink39.xml"/></Relationships>
</file>

<file path=ppt/slides/_rels/slide16.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96.svg"/><Relationship Id="rId7" Type="http://schemas.openxmlformats.org/officeDocument/2006/relationships/image" Target="../media/image106.svg"/><Relationship Id="rId2" Type="http://schemas.openxmlformats.org/officeDocument/2006/relationships/image" Target="../media/image95.png"/><Relationship Id="rId1" Type="http://schemas.openxmlformats.org/officeDocument/2006/relationships/slideLayout" Target="../slideLayouts/slideLayout15.xml"/><Relationship Id="rId6" Type="http://schemas.openxmlformats.org/officeDocument/2006/relationships/image" Target="../media/image105.png"/><Relationship Id="rId5" Type="http://schemas.openxmlformats.org/officeDocument/2006/relationships/image" Target="../media/image104.svg"/><Relationship Id="rId4" Type="http://schemas.openxmlformats.org/officeDocument/2006/relationships/image" Target="../media/image103.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73.png"/><Relationship Id="rId7" Type="http://schemas.openxmlformats.org/officeDocument/2006/relationships/diagramColors" Target="../diagrams/colors1.xml"/><Relationship Id="rId2" Type="http://schemas.openxmlformats.org/officeDocument/2006/relationships/image" Target="../media/image72.jpeg"/><Relationship Id="rId1" Type="http://schemas.openxmlformats.org/officeDocument/2006/relationships/slideLayout" Target="../slideLayouts/slideLayout175.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9.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diagramLayout" Target="../diagrams/layout2.xml"/><Relationship Id="rId7" Type="http://schemas.openxmlformats.org/officeDocument/2006/relationships/image" Target="../media/image89.png"/><Relationship Id="rId2" Type="http://schemas.openxmlformats.org/officeDocument/2006/relationships/diagramData" Target="../diagrams/data2.xml"/><Relationship Id="rId1" Type="http://schemas.openxmlformats.org/officeDocument/2006/relationships/slideLayout" Target="../slideLayouts/slideLayout17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 Id="rId9" Type="http://schemas.openxmlformats.org/officeDocument/2006/relationships/image" Target="../media/image91.png"/></Relationships>
</file>

<file path=ppt/slides/_rels/slide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74.xml"/><Relationship Id="rId4" Type="http://schemas.openxmlformats.org/officeDocument/2006/relationships/image" Target="../media/image60.svg"/></Relationships>
</file>

<file path=ppt/slides/_rels/slide20.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diagramLayout" Target="../diagrams/layout3.xml"/><Relationship Id="rId7" Type="http://schemas.openxmlformats.org/officeDocument/2006/relationships/image" Target="../media/image89.png"/><Relationship Id="rId2" Type="http://schemas.openxmlformats.org/officeDocument/2006/relationships/diagramData" Target="../diagrams/data3.xml"/><Relationship Id="rId1" Type="http://schemas.openxmlformats.org/officeDocument/2006/relationships/slideLayout" Target="../slideLayouts/slideLayout17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 Id="rId9" Type="http://schemas.openxmlformats.org/officeDocument/2006/relationships/image" Target="../media/image91.png"/></Relationships>
</file>

<file path=ppt/slides/_rels/slide21.xml.rels><?xml version="1.0" encoding="UTF-8" standalone="yes"?>
<Relationships xmlns="http://schemas.openxmlformats.org/package/2006/relationships"><Relationship Id="rId8" Type="http://schemas.openxmlformats.org/officeDocument/2006/relationships/image" Target="../media/image92.jpeg"/><Relationship Id="rId3" Type="http://schemas.openxmlformats.org/officeDocument/2006/relationships/diagramLayout" Target="../diagrams/layout4.xml"/><Relationship Id="rId7" Type="http://schemas.openxmlformats.org/officeDocument/2006/relationships/image" Target="../media/image108.png"/><Relationship Id="rId2" Type="http://schemas.openxmlformats.org/officeDocument/2006/relationships/diagramData" Target="../diagrams/data4.xml"/><Relationship Id="rId1" Type="http://schemas.openxmlformats.org/officeDocument/2006/relationships/slideLayout" Target="../slideLayouts/slideLayout17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75.xml"/></Relationships>
</file>

<file path=ppt/slides/_rels/slide2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image" Target="../media/image72.jpeg"/><Relationship Id="rId5" Type="http://schemas.openxmlformats.org/officeDocument/2006/relationships/image" Target="../media/image92.jpeg"/><Relationship Id="rId4" Type="http://schemas.openxmlformats.org/officeDocument/2006/relationships/image" Target="../media/image91.png"/></Relationships>
</file>

<file path=ppt/slides/_rels/slide24.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09.png"/><Relationship Id="rId7" Type="http://schemas.openxmlformats.org/officeDocument/2006/relationships/image" Target="../media/image113.png"/><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image" Target="../media/image112.png"/><Relationship Id="rId5" Type="http://schemas.openxmlformats.org/officeDocument/2006/relationships/image" Target="../media/image111.png"/><Relationship Id="rId10" Type="http://schemas.openxmlformats.org/officeDocument/2006/relationships/image" Target="../media/image116.png"/><Relationship Id="rId4" Type="http://schemas.openxmlformats.org/officeDocument/2006/relationships/image" Target="../media/image110.png"/><Relationship Id="rId9" Type="http://schemas.openxmlformats.org/officeDocument/2006/relationships/image" Target="../media/image115.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8" Type="http://schemas.openxmlformats.org/officeDocument/2006/relationships/image" Target="../media/image120.png"/><Relationship Id="rId3" Type="http://schemas.microsoft.com/office/2007/relationships/hdphoto" Target="../media/hdphoto1.wdp"/><Relationship Id="rId7" Type="http://schemas.microsoft.com/office/2007/relationships/hdphoto" Target="../media/hdphoto3.wdp"/><Relationship Id="rId12" Type="http://schemas.openxmlformats.org/officeDocument/2006/relationships/image" Target="../media/image108.png"/><Relationship Id="rId2" Type="http://schemas.openxmlformats.org/officeDocument/2006/relationships/image" Target="../media/image117.png"/><Relationship Id="rId1" Type="http://schemas.openxmlformats.org/officeDocument/2006/relationships/slideLayout" Target="../slideLayouts/slideLayout175.xml"/><Relationship Id="rId6" Type="http://schemas.openxmlformats.org/officeDocument/2006/relationships/image" Target="../media/image119.png"/><Relationship Id="rId11" Type="http://schemas.openxmlformats.org/officeDocument/2006/relationships/image" Target="../media/image92.jpeg"/><Relationship Id="rId5" Type="http://schemas.microsoft.com/office/2007/relationships/hdphoto" Target="../media/hdphoto2.wdp"/><Relationship Id="rId10" Type="http://schemas.openxmlformats.org/officeDocument/2006/relationships/image" Target="../media/image121.png"/><Relationship Id="rId4" Type="http://schemas.openxmlformats.org/officeDocument/2006/relationships/image" Target="../media/image118.png"/><Relationship Id="rId9" Type="http://schemas.microsoft.com/office/2007/relationships/hdphoto" Target="../media/hdphoto4.wdp"/></Relationships>
</file>

<file path=ppt/slides/_rels/slide27.xml.rels><?xml version="1.0" encoding="UTF-8" standalone="yes"?>
<Relationships xmlns="http://schemas.openxmlformats.org/package/2006/relationships"><Relationship Id="rId8" Type="http://schemas.openxmlformats.org/officeDocument/2006/relationships/image" Target="../media/image125.png"/><Relationship Id="rId3" Type="http://schemas.microsoft.com/office/2007/relationships/hdphoto" Target="../media/hdphoto5.wdp"/><Relationship Id="rId7" Type="http://schemas.microsoft.com/office/2007/relationships/hdphoto" Target="../media/hdphoto7.wdp"/><Relationship Id="rId2" Type="http://schemas.openxmlformats.org/officeDocument/2006/relationships/image" Target="../media/image122.png"/><Relationship Id="rId1" Type="http://schemas.openxmlformats.org/officeDocument/2006/relationships/slideLayout" Target="../slideLayouts/slideLayout175.xml"/><Relationship Id="rId6" Type="http://schemas.openxmlformats.org/officeDocument/2006/relationships/image" Target="../media/image124.png"/><Relationship Id="rId5" Type="http://schemas.microsoft.com/office/2007/relationships/hdphoto" Target="../media/hdphoto6.wdp"/><Relationship Id="rId10" Type="http://schemas.openxmlformats.org/officeDocument/2006/relationships/image" Target="../media/image121.png"/><Relationship Id="rId4" Type="http://schemas.openxmlformats.org/officeDocument/2006/relationships/image" Target="../media/image123.png"/><Relationship Id="rId9" Type="http://schemas.microsoft.com/office/2007/relationships/hdphoto" Target="../media/hdphoto8.wdp"/></Relationships>
</file>

<file path=ppt/slides/_rels/slide28.xml.rels><?xml version="1.0" encoding="UTF-8" standalone="yes"?>
<Relationships xmlns="http://schemas.openxmlformats.org/package/2006/relationships"><Relationship Id="rId8" Type="http://schemas.openxmlformats.org/officeDocument/2006/relationships/image" Target="../media/image125.png"/><Relationship Id="rId3" Type="http://schemas.microsoft.com/office/2007/relationships/hdphoto" Target="../media/hdphoto5.wdp"/><Relationship Id="rId7" Type="http://schemas.microsoft.com/office/2007/relationships/hdphoto" Target="../media/hdphoto7.wdp"/><Relationship Id="rId2" Type="http://schemas.openxmlformats.org/officeDocument/2006/relationships/image" Target="../media/image122.png"/><Relationship Id="rId1" Type="http://schemas.openxmlformats.org/officeDocument/2006/relationships/slideLayout" Target="../slideLayouts/slideLayout175.xml"/><Relationship Id="rId6" Type="http://schemas.openxmlformats.org/officeDocument/2006/relationships/image" Target="../media/image124.png"/><Relationship Id="rId5" Type="http://schemas.microsoft.com/office/2007/relationships/hdphoto" Target="../media/hdphoto6.wdp"/><Relationship Id="rId10" Type="http://schemas.openxmlformats.org/officeDocument/2006/relationships/image" Target="../media/image121.png"/><Relationship Id="rId4" Type="http://schemas.openxmlformats.org/officeDocument/2006/relationships/image" Target="../media/image123.png"/><Relationship Id="rId9" Type="http://schemas.microsoft.com/office/2007/relationships/hdphoto" Target="../media/hdphoto8.wdp"/></Relationships>
</file>

<file path=ppt/slides/_rels/slide2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75.xml"/><Relationship Id="rId4" Type="http://schemas.openxmlformats.org/officeDocument/2006/relationships/image" Target="../media/image91.png"/></Relationships>
</file>

<file path=ppt/slides/_rels/slide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74.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63.png"/></Relationships>
</file>

<file path=ppt/slides/_rels/slide30.xml.rels><?xml version="1.0" encoding="UTF-8" standalone="yes"?>
<Relationships xmlns="http://schemas.openxmlformats.org/package/2006/relationships"><Relationship Id="rId8" Type="http://schemas.openxmlformats.org/officeDocument/2006/relationships/image" Target="../media/image125.png"/><Relationship Id="rId3" Type="http://schemas.microsoft.com/office/2007/relationships/hdphoto" Target="../media/hdphoto5.wdp"/><Relationship Id="rId7" Type="http://schemas.microsoft.com/office/2007/relationships/hdphoto" Target="../media/hdphoto7.wdp"/><Relationship Id="rId2" Type="http://schemas.openxmlformats.org/officeDocument/2006/relationships/image" Target="../media/image122.png"/><Relationship Id="rId1" Type="http://schemas.openxmlformats.org/officeDocument/2006/relationships/slideLayout" Target="../slideLayouts/slideLayout175.xml"/><Relationship Id="rId6" Type="http://schemas.openxmlformats.org/officeDocument/2006/relationships/image" Target="../media/image124.png"/><Relationship Id="rId5" Type="http://schemas.microsoft.com/office/2007/relationships/hdphoto" Target="../media/hdphoto6.wdp"/><Relationship Id="rId10" Type="http://schemas.openxmlformats.org/officeDocument/2006/relationships/image" Target="../media/image121.png"/><Relationship Id="rId4" Type="http://schemas.openxmlformats.org/officeDocument/2006/relationships/image" Target="../media/image123.png"/><Relationship Id="rId9" Type="http://schemas.microsoft.com/office/2007/relationships/hdphoto" Target="../media/hdphoto8.wdp"/></Relationships>
</file>

<file path=ppt/slides/_rels/slide31.xml.rels><?xml version="1.0" encoding="UTF-8" standalone="yes"?>
<Relationships xmlns="http://schemas.openxmlformats.org/package/2006/relationships"><Relationship Id="rId8" Type="http://schemas.openxmlformats.org/officeDocument/2006/relationships/image" Target="../media/image120.png"/><Relationship Id="rId3" Type="http://schemas.microsoft.com/office/2007/relationships/hdphoto" Target="../media/hdphoto1.wdp"/><Relationship Id="rId7" Type="http://schemas.microsoft.com/office/2007/relationships/hdphoto" Target="../media/hdphoto3.wdp"/><Relationship Id="rId12" Type="http://schemas.openxmlformats.org/officeDocument/2006/relationships/image" Target="../media/image73.png"/><Relationship Id="rId2" Type="http://schemas.openxmlformats.org/officeDocument/2006/relationships/image" Target="../media/image117.png"/><Relationship Id="rId1" Type="http://schemas.openxmlformats.org/officeDocument/2006/relationships/slideLayout" Target="../slideLayouts/slideLayout175.xml"/><Relationship Id="rId6" Type="http://schemas.openxmlformats.org/officeDocument/2006/relationships/image" Target="../media/image119.png"/><Relationship Id="rId11" Type="http://schemas.openxmlformats.org/officeDocument/2006/relationships/image" Target="../media/image72.jpeg"/><Relationship Id="rId5" Type="http://schemas.microsoft.com/office/2007/relationships/hdphoto" Target="../media/hdphoto2.wdp"/><Relationship Id="rId10" Type="http://schemas.openxmlformats.org/officeDocument/2006/relationships/image" Target="../media/image121.png"/><Relationship Id="rId4" Type="http://schemas.openxmlformats.org/officeDocument/2006/relationships/image" Target="../media/image118.png"/><Relationship Id="rId9" Type="http://schemas.microsoft.com/office/2007/relationships/hdphoto" Target="../media/hdphoto4.wdp"/></Relationships>
</file>

<file path=ppt/slides/_rels/slide32.xml.rels><?xml version="1.0" encoding="UTF-8" standalone="yes"?>
<Relationships xmlns="http://schemas.openxmlformats.org/package/2006/relationships"><Relationship Id="rId8" Type="http://schemas.openxmlformats.org/officeDocument/2006/relationships/image" Target="../media/image120.png"/><Relationship Id="rId3" Type="http://schemas.microsoft.com/office/2007/relationships/hdphoto" Target="../media/hdphoto1.wdp"/><Relationship Id="rId7" Type="http://schemas.microsoft.com/office/2007/relationships/hdphoto" Target="../media/hdphoto3.wdp"/><Relationship Id="rId12" Type="http://schemas.openxmlformats.org/officeDocument/2006/relationships/image" Target="../media/image73.png"/><Relationship Id="rId2" Type="http://schemas.openxmlformats.org/officeDocument/2006/relationships/image" Target="../media/image117.png"/><Relationship Id="rId1" Type="http://schemas.openxmlformats.org/officeDocument/2006/relationships/slideLayout" Target="../slideLayouts/slideLayout175.xml"/><Relationship Id="rId6" Type="http://schemas.openxmlformats.org/officeDocument/2006/relationships/image" Target="../media/image119.png"/><Relationship Id="rId11" Type="http://schemas.openxmlformats.org/officeDocument/2006/relationships/image" Target="../media/image72.jpeg"/><Relationship Id="rId5" Type="http://schemas.microsoft.com/office/2007/relationships/hdphoto" Target="../media/hdphoto2.wdp"/><Relationship Id="rId10" Type="http://schemas.openxmlformats.org/officeDocument/2006/relationships/image" Target="../media/image121.png"/><Relationship Id="rId4" Type="http://schemas.openxmlformats.org/officeDocument/2006/relationships/image" Target="../media/image118.png"/><Relationship Id="rId9" Type="http://schemas.microsoft.com/office/2007/relationships/hdphoto" Target="../media/hdphoto4.wdp"/></Relationships>
</file>

<file path=ppt/slides/_rels/slide33.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126.png"/><Relationship Id="rId1" Type="http://schemas.openxmlformats.org/officeDocument/2006/relationships/slideLayout" Target="../slideLayouts/slideLayout175.xml"/></Relationships>
</file>

<file path=ppt/slides/_rels/slide34.xml.rels><?xml version="1.0" encoding="UTF-8" standalone="yes"?>
<Relationships xmlns="http://schemas.openxmlformats.org/package/2006/relationships"><Relationship Id="rId8" Type="http://schemas.openxmlformats.org/officeDocument/2006/relationships/image" Target="../media/image125.png"/><Relationship Id="rId3" Type="http://schemas.microsoft.com/office/2007/relationships/hdphoto" Target="../media/hdphoto5.wdp"/><Relationship Id="rId7" Type="http://schemas.microsoft.com/office/2007/relationships/hdphoto" Target="../media/hdphoto7.wdp"/><Relationship Id="rId2" Type="http://schemas.openxmlformats.org/officeDocument/2006/relationships/image" Target="../media/image122.png"/><Relationship Id="rId1" Type="http://schemas.openxmlformats.org/officeDocument/2006/relationships/slideLayout" Target="../slideLayouts/slideLayout175.xml"/><Relationship Id="rId6" Type="http://schemas.openxmlformats.org/officeDocument/2006/relationships/image" Target="../media/image124.png"/><Relationship Id="rId5" Type="http://schemas.microsoft.com/office/2007/relationships/hdphoto" Target="../media/hdphoto6.wdp"/><Relationship Id="rId10" Type="http://schemas.openxmlformats.org/officeDocument/2006/relationships/image" Target="../media/image121.png"/><Relationship Id="rId4" Type="http://schemas.openxmlformats.org/officeDocument/2006/relationships/image" Target="../media/image123.png"/><Relationship Id="rId9" Type="http://schemas.microsoft.com/office/2007/relationships/hdphoto" Target="../media/hdphoto8.wdp"/></Relationships>
</file>

<file path=ppt/slides/_rels/slide3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27.png"/><Relationship Id="rId1" Type="http://schemas.openxmlformats.org/officeDocument/2006/relationships/slideLayout" Target="../slideLayouts/slideLayout175.xml"/></Relationships>
</file>

<file path=ppt/slides/_rels/slide36.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174.xml"/></Relationships>
</file>

<file path=ppt/slides/_rels/slide4.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image" Target="../media/image66.png"/><Relationship Id="rId1" Type="http://schemas.openxmlformats.org/officeDocument/2006/relationships/slideLayout" Target="../slideLayouts/slideLayout174.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5.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customXml" Target="../ink/ink3.xml"/><Relationship Id="rId18" Type="http://schemas.openxmlformats.org/officeDocument/2006/relationships/image" Target="../media/image78.png"/><Relationship Id="rId26" Type="http://schemas.openxmlformats.org/officeDocument/2006/relationships/image" Target="../media/image82.png"/><Relationship Id="rId3" Type="http://schemas.openxmlformats.org/officeDocument/2006/relationships/image" Target="../media/image62.png"/><Relationship Id="rId21" Type="http://schemas.openxmlformats.org/officeDocument/2006/relationships/customXml" Target="../ink/ink7.xml"/><Relationship Id="rId7" Type="http://schemas.openxmlformats.org/officeDocument/2006/relationships/image" Target="../media/image72.jpeg"/><Relationship Id="rId12" Type="http://schemas.openxmlformats.org/officeDocument/2006/relationships/image" Target="../media/image75.png"/><Relationship Id="rId17" Type="http://schemas.openxmlformats.org/officeDocument/2006/relationships/customXml" Target="../ink/ink5.xml"/><Relationship Id="rId25" Type="http://schemas.openxmlformats.org/officeDocument/2006/relationships/customXml" Target="../ink/ink9.xml"/><Relationship Id="rId2" Type="http://schemas.openxmlformats.org/officeDocument/2006/relationships/image" Target="../media/image61.png"/><Relationship Id="rId16" Type="http://schemas.openxmlformats.org/officeDocument/2006/relationships/image" Target="../media/image77.png"/><Relationship Id="rId20" Type="http://schemas.openxmlformats.org/officeDocument/2006/relationships/image" Target="../media/image79.png"/><Relationship Id="rId29" Type="http://schemas.openxmlformats.org/officeDocument/2006/relationships/customXml" Target="../ink/ink11.xml"/><Relationship Id="rId1" Type="http://schemas.openxmlformats.org/officeDocument/2006/relationships/slideLayout" Target="../slideLayouts/slideLayout174.xml"/><Relationship Id="rId6" Type="http://schemas.openxmlformats.org/officeDocument/2006/relationships/image" Target="../media/image65.svg"/><Relationship Id="rId11" Type="http://schemas.openxmlformats.org/officeDocument/2006/relationships/customXml" Target="../ink/ink2.xml"/><Relationship Id="rId24" Type="http://schemas.openxmlformats.org/officeDocument/2006/relationships/image" Target="../media/image81.png"/><Relationship Id="rId5" Type="http://schemas.openxmlformats.org/officeDocument/2006/relationships/image" Target="../media/image64.png"/><Relationship Id="rId15" Type="http://schemas.openxmlformats.org/officeDocument/2006/relationships/customXml" Target="../ink/ink4.xml"/><Relationship Id="rId23" Type="http://schemas.openxmlformats.org/officeDocument/2006/relationships/customXml" Target="../ink/ink8.xml"/><Relationship Id="rId28" Type="http://schemas.openxmlformats.org/officeDocument/2006/relationships/image" Target="../media/image83.png"/><Relationship Id="rId10" Type="http://schemas.openxmlformats.org/officeDocument/2006/relationships/image" Target="../media/image74.png"/><Relationship Id="rId19" Type="http://schemas.openxmlformats.org/officeDocument/2006/relationships/customXml" Target="../ink/ink6.xml"/><Relationship Id="rId4" Type="http://schemas.openxmlformats.org/officeDocument/2006/relationships/image" Target="../media/image63.png"/><Relationship Id="rId9" Type="http://schemas.openxmlformats.org/officeDocument/2006/relationships/customXml" Target="../ink/ink1.xml"/><Relationship Id="rId14" Type="http://schemas.openxmlformats.org/officeDocument/2006/relationships/image" Target="../media/image76.png"/><Relationship Id="rId22" Type="http://schemas.openxmlformats.org/officeDocument/2006/relationships/image" Target="../media/image80.png"/><Relationship Id="rId27" Type="http://schemas.openxmlformats.org/officeDocument/2006/relationships/customXml" Target="../ink/ink10.xml"/><Relationship Id="rId30" Type="http://schemas.openxmlformats.org/officeDocument/2006/relationships/image" Target="../media/image84.png"/></Relationships>
</file>

<file path=ppt/slides/_rels/slide6.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2.png"/><Relationship Id="rId3" Type="http://schemas.openxmlformats.org/officeDocument/2006/relationships/image" Target="../media/image61.png"/><Relationship Id="rId7" Type="http://schemas.openxmlformats.org/officeDocument/2006/relationships/image" Target="../media/image87.png"/><Relationship Id="rId12" Type="http://schemas.openxmlformats.org/officeDocument/2006/relationships/customXml" Target="../ink/ink12.xml"/><Relationship Id="rId17" Type="http://schemas.openxmlformats.org/officeDocument/2006/relationships/image" Target="../media/image94.png"/><Relationship Id="rId2" Type="http://schemas.openxmlformats.org/officeDocument/2006/relationships/image" Target="../media/image85.png"/><Relationship Id="rId16" Type="http://schemas.openxmlformats.org/officeDocument/2006/relationships/customXml" Target="../ink/ink14.xml"/><Relationship Id="rId1" Type="http://schemas.openxmlformats.org/officeDocument/2006/relationships/slideLayout" Target="../slideLayouts/slideLayout174.xml"/><Relationship Id="rId6" Type="http://schemas.openxmlformats.org/officeDocument/2006/relationships/image" Target="../media/image86.png"/><Relationship Id="rId11" Type="http://schemas.openxmlformats.org/officeDocument/2006/relationships/image" Target="../media/image91.png"/><Relationship Id="rId5" Type="http://schemas.openxmlformats.org/officeDocument/2006/relationships/image" Target="../media/image63.png"/><Relationship Id="rId15" Type="http://schemas.openxmlformats.org/officeDocument/2006/relationships/image" Target="../media/image93.png"/><Relationship Id="rId10" Type="http://schemas.openxmlformats.org/officeDocument/2006/relationships/image" Target="../media/image90.png"/><Relationship Id="rId4" Type="http://schemas.openxmlformats.org/officeDocument/2006/relationships/image" Target="../media/image62.png"/><Relationship Id="rId9" Type="http://schemas.openxmlformats.org/officeDocument/2006/relationships/image" Target="../media/image89.png"/><Relationship Id="rId14" Type="http://schemas.openxmlformats.org/officeDocument/2006/relationships/customXml" Target="../ink/ink13.xml"/></Relationships>
</file>

<file path=ppt/slides/_rels/slide7.xml.rels><?xml version="1.0" encoding="UTF-8" standalone="yes"?>
<Relationships xmlns="http://schemas.openxmlformats.org/package/2006/relationships"><Relationship Id="rId8" Type="http://schemas.openxmlformats.org/officeDocument/2006/relationships/customXml" Target="../ink/ink15.xml"/><Relationship Id="rId13" Type="http://schemas.openxmlformats.org/officeDocument/2006/relationships/image" Target="../media/image98.png"/><Relationship Id="rId18" Type="http://schemas.openxmlformats.org/officeDocument/2006/relationships/customXml" Target="../ink/ink20.xml"/><Relationship Id="rId3" Type="http://schemas.openxmlformats.org/officeDocument/2006/relationships/image" Target="../media/image62.png"/><Relationship Id="rId21" Type="http://schemas.openxmlformats.org/officeDocument/2006/relationships/image" Target="../media/image102.png"/><Relationship Id="rId7" Type="http://schemas.openxmlformats.org/officeDocument/2006/relationships/image" Target="../media/image92.jpeg"/><Relationship Id="rId12" Type="http://schemas.openxmlformats.org/officeDocument/2006/relationships/customXml" Target="../ink/ink17.xml"/><Relationship Id="rId17" Type="http://schemas.openxmlformats.org/officeDocument/2006/relationships/image" Target="../media/image100.png"/><Relationship Id="rId2" Type="http://schemas.openxmlformats.org/officeDocument/2006/relationships/image" Target="../media/image61.png"/><Relationship Id="rId16" Type="http://schemas.openxmlformats.org/officeDocument/2006/relationships/customXml" Target="../ink/ink19.xml"/><Relationship Id="rId20" Type="http://schemas.openxmlformats.org/officeDocument/2006/relationships/customXml" Target="../ink/ink21.xml"/><Relationship Id="rId1" Type="http://schemas.openxmlformats.org/officeDocument/2006/relationships/slideLayout" Target="../slideLayouts/slideLayout174.xml"/><Relationship Id="rId6" Type="http://schemas.openxmlformats.org/officeDocument/2006/relationships/image" Target="../media/image65.svg"/><Relationship Id="rId11" Type="http://schemas.openxmlformats.org/officeDocument/2006/relationships/image" Target="../media/image97.png"/><Relationship Id="rId5" Type="http://schemas.openxmlformats.org/officeDocument/2006/relationships/image" Target="../media/image64.png"/><Relationship Id="rId15" Type="http://schemas.openxmlformats.org/officeDocument/2006/relationships/image" Target="../media/image99.png"/><Relationship Id="rId10" Type="http://schemas.openxmlformats.org/officeDocument/2006/relationships/customXml" Target="../ink/ink16.xml"/><Relationship Id="rId19" Type="http://schemas.openxmlformats.org/officeDocument/2006/relationships/image" Target="../media/image101.png"/><Relationship Id="rId4" Type="http://schemas.openxmlformats.org/officeDocument/2006/relationships/image" Target="../media/image63.png"/><Relationship Id="rId9" Type="http://schemas.openxmlformats.org/officeDocument/2006/relationships/image" Target="../media/image96.png"/><Relationship Id="rId14" Type="http://schemas.openxmlformats.org/officeDocument/2006/relationships/customXml" Target="../ink/ink18.xml"/></Relationships>
</file>

<file path=ppt/slides/_rels/slide8.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96.svg"/><Relationship Id="rId7" Type="http://schemas.openxmlformats.org/officeDocument/2006/relationships/image" Target="../media/image106.svg"/><Relationship Id="rId2" Type="http://schemas.openxmlformats.org/officeDocument/2006/relationships/image" Target="../media/image95.png"/><Relationship Id="rId1" Type="http://schemas.openxmlformats.org/officeDocument/2006/relationships/slideLayout" Target="../slideLayouts/slideLayout174.xml"/><Relationship Id="rId6" Type="http://schemas.openxmlformats.org/officeDocument/2006/relationships/image" Target="../media/image105.png"/><Relationship Id="rId5" Type="http://schemas.openxmlformats.org/officeDocument/2006/relationships/image" Target="../media/image104.svg"/><Relationship Id="rId4" Type="http://schemas.openxmlformats.org/officeDocument/2006/relationships/image" Target="../media/image10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F64CD996-2A65-D798-2818-A9ABFF1A1FA3}"/>
              </a:ext>
            </a:extLst>
          </p:cNvPr>
          <p:cNvSpPr txBox="1"/>
          <p:nvPr/>
        </p:nvSpPr>
        <p:spPr>
          <a:xfrm>
            <a:off x="914400" y="436303"/>
            <a:ext cx="5961249" cy="923330"/>
          </a:xfrm>
          <a:prstGeom prst="rect">
            <a:avLst/>
          </a:prstGeom>
          <a:noFill/>
        </p:spPr>
        <p:txBody>
          <a:bodyPr wrap="square" lIns="0" tIns="0" rIns="0" bIns="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3600" b="1">
                <a:solidFill>
                  <a:schemeClr val="bg1"/>
                </a:solidFill>
                <a:latin typeface="Arial"/>
                <a:ea typeface="MS PGothic"/>
                <a:cs typeface="Arial"/>
              </a:rPr>
              <a:t>Azure Adventure</a:t>
            </a:r>
            <a:r>
              <a:rPr lang="en-US" sz="3600" b="1">
                <a:solidFill>
                  <a:srgbClr val="242424"/>
                </a:solidFill>
                <a:ea typeface="+mn-lt"/>
                <a:cs typeface="+mn-lt"/>
              </a:rPr>
              <a:t> </a:t>
            </a:r>
            <a:r>
              <a:rPr lang="en-US" sz="3600" b="1">
                <a:solidFill>
                  <a:schemeClr val="bg1"/>
                </a:solidFill>
                <a:latin typeface="Arial"/>
                <a:ea typeface="MS PGothic"/>
                <a:cs typeface="Arial"/>
              </a:rPr>
              <a:t>Day - </a:t>
            </a:r>
            <a:r>
              <a:rPr lang="en-US" sz="2400" b="1" i="1">
                <a:solidFill>
                  <a:schemeClr val="bg1"/>
                </a:solidFill>
                <a:latin typeface="Georgia"/>
                <a:ea typeface="MS PGothic"/>
                <a:cs typeface="Arial"/>
              </a:rPr>
              <a:t>October 2024</a:t>
            </a:r>
            <a:endParaRPr lang="en-US">
              <a:solidFill>
                <a:schemeClr val="bg1"/>
              </a:solidFill>
            </a:endParaRPr>
          </a:p>
        </p:txBody>
      </p:sp>
      <p:sp>
        <p:nvSpPr>
          <p:cNvPr id="2" name="Text Placeholder 7">
            <a:extLst>
              <a:ext uri="{FF2B5EF4-FFF2-40B4-BE49-F238E27FC236}">
                <a16:creationId xmlns:a16="http://schemas.microsoft.com/office/drawing/2014/main" id="{6765687C-1ACE-F3F5-898F-F7A413E81792}"/>
              </a:ext>
            </a:extLst>
          </p:cNvPr>
          <p:cNvSpPr>
            <a:spLocks noGrp="1"/>
          </p:cNvSpPr>
          <p:nvPr/>
        </p:nvSpPr>
        <p:spPr>
          <a:xfrm>
            <a:off x="285750" y="1716226"/>
            <a:ext cx="3854956" cy="3670943"/>
          </a:xfrm>
          <a:prstGeom prst="ellipse">
            <a:avLst/>
          </a:prstGeom>
          <a:solidFill>
            <a:schemeClr val="bg1"/>
          </a:solidFill>
        </p:spPr>
        <p:txBody>
          <a:bodyPr vert="horz" lIns="0" tIns="0" rIns="0" bIns="0" rtlCol="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3600" b="1">
                <a:solidFill>
                  <a:schemeClr val="tx2"/>
                </a:solidFill>
                <a:ea typeface="+mn-lt"/>
                <a:cs typeface="+mn-lt"/>
              </a:rPr>
              <a:t>Title &amp; Introduction</a:t>
            </a:r>
            <a:endParaRPr lang="en-US" sz="3600">
              <a:solidFill>
                <a:schemeClr val="tx2"/>
              </a:solidFill>
              <a:ea typeface="+mn-lt"/>
              <a:cs typeface="+mn-lt"/>
            </a:endParaRPr>
          </a:p>
          <a:p>
            <a:endParaRPr lang="en-US" sz="2400">
              <a:solidFill>
                <a:schemeClr val="tx2"/>
              </a:solidFill>
              <a:cs typeface="Arial"/>
            </a:endParaRPr>
          </a:p>
        </p:txBody>
      </p:sp>
      <p:sp>
        <p:nvSpPr>
          <p:cNvPr id="9" name="Rounded Rectangle 15">
            <a:extLst>
              <a:ext uri="{FF2B5EF4-FFF2-40B4-BE49-F238E27FC236}">
                <a16:creationId xmlns:a16="http://schemas.microsoft.com/office/drawing/2014/main" id="{06D04AA6-278F-EA55-FD6B-1BCD77AD6B10}"/>
              </a:ext>
            </a:extLst>
          </p:cNvPr>
          <p:cNvSpPr/>
          <p:nvPr/>
        </p:nvSpPr>
        <p:spPr>
          <a:xfrm>
            <a:off x="5006293" y="1357570"/>
            <a:ext cx="6695185" cy="4144849"/>
          </a:xfrm>
          <a:prstGeom prst="roundRect">
            <a:avLst>
              <a:gd name="adj" fmla="val 5564"/>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4290" tIns="68580" rIns="34290" bIns="45720"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Clr>
                <a:schemeClr val="tx1"/>
              </a:buClr>
            </a:pPr>
            <a:r>
              <a:rPr lang="en-US" sz="2000" b="1">
                <a:solidFill>
                  <a:srgbClr val="060A45"/>
                </a:solidFill>
                <a:cs typeface="Arial"/>
              </a:rPr>
              <a:t>Team Name: </a:t>
            </a:r>
            <a:r>
              <a:rPr lang="en-US" sz="2000">
                <a:solidFill>
                  <a:srgbClr val="060A45"/>
                </a:solidFill>
                <a:cs typeface="Arial"/>
              </a:rPr>
              <a:t>VS AUTO</a:t>
            </a:r>
            <a:endParaRPr lang="en-US"/>
          </a:p>
          <a:p>
            <a:pPr marL="285750" indent="-285750">
              <a:buClr>
                <a:schemeClr val="tx1"/>
              </a:buClr>
              <a:buFont typeface="Arial" panose="020B0604020202020204" pitchFamily="34" charset="0"/>
              <a:buChar char="•"/>
            </a:pPr>
            <a:endParaRPr lang="en-US" sz="2000">
              <a:cs typeface="Arial"/>
            </a:endParaRPr>
          </a:p>
          <a:p>
            <a:pPr>
              <a:buClr>
                <a:schemeClr val="tx1"/>
              </a:buClr>
            </a:pPr>
            <a:r>
              <a:rPr lang="en-US" sz="2000" b="1">
                <a:solidFill>
                  <a:srgbClr val="060A45"/>
                </a:solidFill>
                <a:cs typeface="Arial"/>
              </a:rPr>
              <a:t>Title: </a:t>
            </a:r>
            <a:r>
              <a:rPr lang="en-US" sz="2000">
                <a:cs typeface="Arial"/>
              </a:rPr>
              <a:t>Intelligent Monitoring &amp; Proactive Troubleshooting</a:t>
            </a:r>
          </a:p>
          <a:p>
            <a:pPr>
              <a:buClr>
                <a:schemeClr val="tx1"/>
              </a:buClr>
            </a:pPr>
            <a:endParaRPr lang="en-US" sz="2000">
              <a:cs typeface="Arial"/>
            </a:endParaRPr>
          </a:p>
          <a:p>
            <a:pPr>
              <a:buClr>
                <a:schemeClr val="tx1"/>
              </a:buClr>
            </a:pPr>
            <a:r>
              <a:rPr lang="en-US" sz="2000" b="1">
                <a:solidFill>
                  <a:srgbClr val="060A45"/>
                </a:solidFill>
                <a:cs typeface="Arial"/>
              </a:rPr>
              <a:t>Business Units</a:t>
            </a:r>
            <a:r>
              <a:rPr lang="en-US" sz="2000" b="1">
                <a:cs typeface="Arial"/>
              </a:rPr>
              <a:t>:</a:t>
            </a:r>
            <a:r>
              <a:rPr lang="en-US" sz="2000">
                <a:cs typeface="Arial"/>
              </a:rPr>
              <a:t> Global </a:t>
            </a:r>
            <a:r>
              <a:rPr lang="en-US" sz="2000" err="1">
                <a:cs typeface="Arial"/>
              </a:rPr>
              <a:t>Engg</a:t>
            </a:r>
            <a:r>
              <a:rPr lang="en-US" sz="2000">
                <a:cs typeface="Arial"/>
              </a:rPr>
              <a:t> </a:t>
            </a:r>
          </a:p>
          <a:p>
            <a:pPr marL="285750" indent="-285750">
              <a:buClr>
                <a:schemeClr val="tx1"/>
              </a:buClr>
              <a:buFont typeface="Arial" panose="020B0604020202020204" pitchFamily="34" charset="0"/>
              <a:buChar char="•"/>
            </a:pPr>
            <a:endParaRPr lang="en-US" sz="2000">
              <a:cs typeface="Arial"/>
            </a:endParaRPr>
          </a:p>
          <a:p>
            <a:pPr>
              <a:buClr>
                <a:schemeClr val="tx1"/>
              </a:buClr>
            </a:pPr>
            <a:r>
              <a:rPr lang="en-US" sz="2000" b="1">
                <a:solidFill>
                  <a:srgbClr val="060A45"/>
                </a:solidFill>
                <a:cs typeface="Arial"/>
              </a:rPr>
              <a:t>Team: </a:t>
            </a:r>
            <a:endParaRPr lang="en-US" sz="2000">
              <a:solidFill>
                <a:srgbClr val="060A45"/>
              </a:solidFill>
              <a:cs typeface="Arial" panose="020B0604020202020204"/>
            </a:endParaRPr>
          </a:p>
          <a:p>
            <a:pPr>
              <a:buClr>
                <a:schemeClr val="tx1"/>
              </a:buClr>
            </a:pPr>
            <a:r>
              <a:rPr lang="en-US" sz="2000" b="1" err="1">
                <a:solidFill>
                  <a:srgbClr val="060A45"/>
                </a:solidFill>
                <a:cs typeface="Arial"/>
              </a:rPr>
              <a:t>Vigneshwararaj</a:t>
            </a:r>
            <a:r>
              <a:rPr lang="en-US" sz="2000" b="1">
                <a:solidFill>
                  <a:srgbClr val="060A45"/>
                </a:solidFill>
                <a:cs typeface="Arial"/>
              </a:rPr>
              <a:t> </a:t>
            </a:r>
            <a:r>
              <a:rPr lang="en-US" sz="2000" b="1" err="1">
                <a:solidFill>
                  <a:srgbClr val="060A45"/>
                </a:solidFill>
                <a:cs typeface="Arial"/>
              </a:rPr>
              <a:t>Sathianarayanan</a:t>
            </a:r>
            <a:r>
              <a:rPr lang="en-US" sz="2000" b="1">
                <a:solidFill>
                  <a:srgbClr val="060A45"/>
                </a:solidFill>
                <a:cs typeface="Arial"/>
              </a:rPr>
              <a:t> </a:t>
            </a:r>
            <a:endParaRPr lang="en-US" sz="1800">
              <a:solidFill>
                <a:srgbClr val="000000"/>
              </a:solidFill>
              <a:cs typeface="Arial"/>
            </a:endParaRPr>
          </a:p>
          <a:p>
            <a:r>
              <a:rPr lang="en-US" sz="2000" b="1">
                <a:solidFill>
                  <a:srgbClr val="060A45"/>
                </a:solidFill>
                <a:cs typeface="Arial"/>
              </a:rPr>
              <a:t>Sachin Kadav</a:t>
            </a:r>
            <a:endParaRPr lang="en-US" sz="1800">
              <a:solidFill>
                <a:srgbClr val="060A45"/>
              </a:solidFill>
              <a:cs typeface="Arial"/>
            </a:endParaRPr>
          </a:p>
        </p:txBody>
      </p:sp>
    </p:spTree>
    <p:extLst>
      <p:ext uri="{BB962C8B-B14F-4D97-AF65-F5344CB8AC3E}">
        <p14:creationId xmlns:p14="http://schemas.microsoft.com/office/powerpoint/2010/main" val="31325844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45475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57967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748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01E76F1F-250A-088D-7ACC-9178E1B02C22}"/>
              </a:ext>
              <a:ext uri="{C183D7F6-B498-43B3-948B-1728B52AA6E4}">
                <adec:decorative xmlns:adec="http://schemas.microsoft.com/office/drawing/2017/decorative" val="1"/>
              </a:ext>
            </a:extLst>
          </p:cNvPr>
          <p:cNvCxnSpPr>
            <a:cxnSpLocks/>
          </p:cNvCxnSpPr>
          <p:nvPr/>
        </p:nvCxnSpPr>
        <p:spPr>
          <a:xfrm>
            <a:off x="488191" y="1014410"/>
            <a:ext cx="10761492"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sp>
        <p:nvSpPr>
          <p:cNvPr id="490" name="TextBox 489">
            <a:extLst>
              <a:ext uri="{FF2B5EF4-FFF2-40B4-BE49-F238E27FC236}">
                <a16:creationId xmlns:a16="http://schemas.microsoft.com/office/drawing/2014/main" id="{E62D3F79-CF65-530E-B249-C5A246299A14}"/>
              </a:ext>
            </a:extLst>
          </p:cNvPr>
          <p:cNvSpPr txBox="1"/>
          <p:nvPr/>
        </p:nvSpPr>
        <p:spPr>
          <a:xfrm>
            <a:off x="487179" y="405535"/>
            <a:ext cx="9843542" cy="492443"/>
          </a:xfrm>
          <a:prstGeom prst="rect">
            <a:avLst/>
          </a:prstGeom>
          <a:noFill/>
        </p:spPr>
        <p:txBody>
          <a:bodyPr wrap="square" lIns="91440" tIns="45720" rIns="91440" bIns="45720" anchor="t">
            <a:spAutoFit/>
          </a:bodyPr>
          <a:lstStyle/>
          <a:p>
            <a:r>
              <a:rPr lang="en-US" sz="2600" b="1" dirty="0">
                <a:solidFill>
                  <a:schemeClr val="tx1">
                    <a:lumMod val="75000"/>
                    <a:lumOff val="25000"/>
                  </a:schemeClr>
                </a:solidFill>
                <a:latin typeface="Montserrat"/>
              </a:rPr>
              <a:t>Automated Root Cause Detection </a:t>
            </a:r>
            <a:endParaRPr lang="en-US" sz="2600" b="1" dirty="0">
              <a:solidFill>
                <a:schemeClr val="tx1">
                  <a:lumMod val="75000"/>
                  <a:lumOff val="25000"/>
                </a:schemeClr>
              </a:solidFill>
              <a:highlight>
                <a:srgbClr val="FFFF00"/>
              </a:highlight>
              <a:latin typeface="Montserrat"/>
            </a:endParaRPr>
          </a:p>
        </p:txBody>
      </p:sp>
      <p:pic>
        <p:nvPicPr>
          <p:cNvPr id="40" name="Picture 39" descr="A blue circle with a white arrow in center&#10;&#10;Description automatically generated">
            <a:extLst>
              <a:ext uri="{FF2B5EF4-FFF2-40B4-BE49-F238E27FC236}">
                <a16:creationId xmlns:a16="http://schemas.microsoft.com/office/drawing/2014/main" id="{1F99372E-8370-BCF5-CE58-F8ACD2A1AA46}"/>
              </a:ext>
            </a:extLst>
          </p:cNvPr>
          <p:cNvPicPr>
            <a:picLocks noChangeAspect="1"/>
          </p:cNvPicPr>
          <p:nvPr/>
        </p:nvPicPr>
        <p:blipFill>
          <a:blip r:embed="rId2"/>
          <a:stretch>
            <a:fillRect/>
          </a:stretch>
        </p:blipFill>
        <p:spPr>
          <a:xfrm>
            <a:off x="4618364" y="4865535"/>
            <a:ext cx="427623" cy="428124"/>
          </a:xfrm>
          <a:prstGeom prst="rect">
            <a:avLst/>
          </a:prstGeom>
        </p:spPr>
      </p:pic>
      <p:pic>
        <p:nvPicPr>
          <p:cNvPr id="42" name="Picture 41" descr="A red circle with white gears&#10;&#10;Description automatically generated">
            <a:extLst>
              <a:ext uri="{FF2B5EF4-FFF2-40B4-BE49-F238E27FC236}">
                <a16:creationId xmlns:a16="http://schemas.microsoft.com/office/drawing/2014/main" id="{2B6D883D-E5EA-C43C-806A-259DBF4DE399}"/>
              </a:ext>
            </a:extLst>
          </p:cNvPr>
          <p:cNvPicPr>
            <a:picLocks noChangeAspect="1"/>
          </p:cNvPicPr>
          <p:nvPr/>
        </p:nvPicPr>
        <p:blipFill>
          <a:blip r:embed="rId3"/>
          <a:stretch>
            <a:fillRect/>
          </a:stretch>
        </p:blipFill>
        <p:spPr>
          <a:xfrm>
            <a:off x="1834436" y="1801049"/>
            <a:ext cx="427623" cy="427623"/>
          </a:xfrm>
          <a:prstGeom prst="rect">
            <a:avLst/>
          </a:prstGeom>
        </p:spPr>
      </p:pic>
      <p:pic>
        <p:nvPicPr>
          <p:cNvPr id="43" name="Picture 42" descr="A white and orange clock&#10;&#10;Description automatically generated">
            <a:extLst>
              <a:ext uri="{FF2B5EF4-FFF2-40B4-BE49-F238E27FC236}">
                <a16:creationId xmlns:a16="http://schemas.microsoft.com/office/drawing/2014/main" id="{BE8BDA43-CEBD-A828-47D2-E5629165EB16}"/>
              </a:ext>
            </a:extLst>
          </p:cNvPr>
          <p:cNvPicPr>
            <a:picLocks noChangeAspect="1"/>
          </p:cNvPicPr>
          <p:nvPr/>
        </p:nvPicPr>
        <p:blipFill>
          <a:blip r:embed="rId4"/>
          <a:stretch>
            <a:fillRect/>
          </a:stretch>
        </p:blipFill>
        <p:spPr>
          <a:xfrm>
            <a:off x="4575242" y="2831128"/>
            <a:ext cx="427623" cy="427623"/>
          </a:xfrm>
          <a:prstGeom prst="rect">
            <a:avLst/>
          </a:prstGeom>
        </p:spPr>
      </p:pic>
      <p:sp>
        <p:nvSpPr>
          <p:cNvPr id="50" name="TextBox 49">
            <a:extLst>
              <a:ext uri="{FF2B5EF4-FFF2-40B4-BE49-F238E27FC236}">
                <a16:creationId xmlns:a16="http://schemas.microsoft.com/office/drawing/2014/main" id="{DC19CF7B-F42E-282A-AE46-6BCA842C0FD0}"/>
              </a:ext>
            </a:extLst>
          </p:cNvPr>
          <p:cNvSpPr txBox="1"/>
          <p:nvPr/>
        </p:nvSpPr>
        <p:spPr>
          <a:xfrm>
            <a:off x="2362050" y="1765185"/>
            <a:ext cx="1585135"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C13018"/>
                </a:solidFill>
                <a:latin typeface="Roboto"/>
                <a:ea typeface="Roboto"/>
                <a:cs typeface="Arial"/>
              </a:rPr>
              <a:t>Datadog Limitation</a:t>
            </a:r>
            <a:endParaRPr lang="en-US" sz="1600" b="1">
              <a:solidFill>
                <a:srgbClr val="C13018"/>
              </a:solidFill>
              <a:latin typeface="Roboto"/>
              <a:ea typeface="Roboto"/>
              <a:cs typeface="Roboto"/>
            </a:endParaRPr>
          </a:p>
        </p:txBody>
      </p:sp>
      <p:sp>
        <p:nvSpPr>
          <p:cNvPr id="52" name="TextBox 51">
            <a:extLst>
              <a:ext uri="{FF2B5EF4-FFF2-40B4-BE49-F238E27FC236}">
                <a16:creationId xmlns:a16="http://schemas.microsoft.com/office/drawing/2014/main" id="{D989812C-FD05-1A0D-48E1-EB71894785F6}"/>
              </a:ext>
            </a:extLst>
          </p:cNvPr>
          <p:cNvSpPr txBox="1"/>
          <p:nvPr/>
        </p:nvSpPr>
        <p:spPr>
          <a:xfrm>
            <a:off x="3719677" y="2921830"/>
            <a:ext cx="1585135"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ED8D1E"/>
                </a:solidFill>
                <a:latin typeface="Roboto"/>
                <a:ea typeface="Roboto"/>
                <a:cs typeface="Arial"/>
              </a:rPr>
              <a:t>Solution</a:t>
            </a:r>
            <a:endParaRPr lang="en-US">
              <a:solidFill>
                <a:srgbClr val="ED8D1E"/>
              </a:solidFill>
            </a:endParaRPr>
          </a:p>
        </p:txBody>
      </p:sp>
      <p:sp>
        <p:nvSpPr>
          <p:cNvPr id="53" name="TextBox 52">
            <a:extLst>
              <a:ext uri="{FF2B5EF4-FFF2-40B4-BE49-F238E27FC236}">
                <a16:creationId xmlns:a16="http://schemas.microsoft.com/office/drawing/2014/main" id="{F0052BAF-6293-4B92-048B-28EECDEA87EA}"/>
              </a:ext>
            </a:extLst>
          </p:cNvPr>
          <p:cNvSpPr txBox="1"/>
          <p:nvPr/>
        </p:nvSpPr>
        <p:spPr>
          <a:xfrm>
            <a:off x="3827824" y="4961272"/>
            <a:ext cx="1585135"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4CC1EF"/>
                </a:solidFill>
                <a:latin typeface="Roboto"/>
                <a:ea typeface="Roboto"/>
                <a:cs typeface="Arial"/>
              </a:rPr>
              <a:t>Benefits</a:t>
            </a:r>
            <a:endParaRPr lang="en-US">
              <a:solidFill>
                <a:srgbClr val="4CC1EF"/>
              </a:solidFill>
            </a:endParaRPr>
          </a:p>
        </p:txBody>
      </p:sp>
      <p:sp>
        <p:nvSpPr>
          <p:cNvPr id="6" name="Freeform: Shape 5">
            <a:extLst>
              <a:ext uri="{FF2B5EF4-FFF2-40B4-BE49-F238E27FC236}">
                <a16:creationId xmlns:a16="http://schemas.microsoft.com/office/drawing/2014/main" id="{C2E979DF-91FB-7878-B176-67A5DA4582C2}"/>
              </a:ext>
            </a:extLst>
          </p:cNvPr>
          <p:cNvSpPr/>
          <p:nvPr/>
        </p:nvSpPr>
        <p:spPr>
          <a:xfrm>
            <a:off x="1739481" y="1218322"/>
            <a:ext cx="3389060" cy="4625490"/>
          </a:xfrm>
          <a:custGeom>
            <a:avLst/>
            <a:gdLst>
              <a:gd name="connsiteX0" fmla="*/ 1864361 w 3731264"/>
              <a:gd name="connsiteY0" fmla="*/ 0 h 5097787"/>
              <a:gd name="connsiteX1" fmla="*/ 1864362 w 3731264"/>
              <a:gd name="connsiteY1" fmla="*/ 0 h 5097787"/>
              <a:gd name="connsiteX2" fmla="*/ 1864362 w 3731264"/>
              <a:gd name="connsiteY2" fmla="*/ 0 h 5097787"/>
              <a:gd name="connsiteX3" fmla="*/ 1864363 w 3731264"/>
              <a:gd name="connsiteY3" fmla="*/ 0 h 5097787"/>
              <a:gd name="connsiteX4" fmla="*/ 1888353 w 3731264"/>
              <a:gd name="connsiteY4" fmla="*/ 4882 h 5097787"/>
              <a:gd name="connsiteX5" fmla="*/ 1907156 w 3731264"/>
              <a:gd name="connsiteY5" fmla="*/ 17726 h 5097787"/>
              <a:gd name="connsiteX6" fmla="*/ 1907469 w 3731264"/>
              <a:gd name="connsiteY6" fmla="*/ 17856 h 5097787"/>
              <a:gd name="connsiteX7" fmla="*/ 1907574 w 3731264"/>
              <a:gd name="connsiteY7" fmla="*/ 18011 h 5097787"/>
              <a:gd name="connsiteX8" fmla="*/ 1907701 w 3731264"/>
              <a:gd name="connsiteY8" fmla="*/ 18098 h 5097787"/>
              <a:gd name="connsiteX9" fmla="*/ 1913011 w 3731264"/>
              <a:gd name="connsiteY9" fmla="*/ 26076 h 5097787"/>
              <a:gd name="connsiteX10" fmla="*/ 1920534 w 3731264"/>
              <a:gd name="connsiteY10" fmla="*/ 37233 h 5097787"/>
              <a:gd name="connsiteX11" fmla="*/ 1920575 w 3731264"/>
              <a:gd name="connsiteY11" fmla="*/ 37440 h 5097787"/>
              <a:gd name="connsiteX12" fmla="*/ 1920619 w 3731264"/>
              <a:gd name="connsiteY12" fmla="*/ 37506 h 5097787"/>
              <a:gd name="connsiteX13" fmla="*/ 1925034 w 3731264"/>
              <a:gd name="connsiteY13" fmla="*/ 59523 h 5097787"/>
              <a:gd name="connsiteX14" fmla="*/ 1925324 w 3731264"/>
              <a:gd name="connsiteY14" fmla="*/ 60962 h 5097787"/>
              <a:gd name="connsiteX15" fmla="*/ 1920534 w 3731264"/>
              <a:gd name="connsiteY15" fmla="*/ 84691 h 5097787"/>
              <a:gd name="connsiteX16" fmla="*/ 1920477 w 3731264"/>
              <a:gd name="connsiteY16" fmla="*/ 84775 h 5097787"/>
              <a:gd name="connsiteX17" fmla="*/ 1920441 w 3731264"/>
              <a:gd name="connsiteY17" fmla="*/ 84953 h 5097787"/>
              <a:gd name="connsiteX18" fmla="*/ 1913985 w 3731264"/>
              <a:gd name="connsiteY18" fmla="*/ 94403 h 5097787"/>
              <a:gd name="connsiteX19" fmla="*/ 1907469 w 3731264"/>
              <a:gd name="connsiteY19" fmla="*/ 104069 h 5097787"/>
              <a:gd name="connsiteX20" fmla="*/ 1907349 w 3731264"/>
              <a:gd name="connsiteY20" fmla="*/ 104118 h 5097787"/>
              <a:gd name="connsiteX21" fmla="*/ 1907224 w 3731264"/>
              <a:gd name="connsiteY21" fmla="*/ 104301 h 5097787"/>
              <a:gd name="connsiteX22" fmla="*/ 1878415 w 3731264"/>
              <a:gd name="connsiteY22" fmla="*/ 116145 h 5097787"/>
              <a:gd name="connsiteX23" fmla="*/ 1878415 w 3731264"/>
              <a:gd name="connsiteY23" fmla="*/ 433151 h 5097787"/>
              <a:gd name="connsiteX24" fmla="*/ 1725882 w 3731264"/>
              <a:gd name="connsiteY24" fmla="*/ 585424 h 5097787"/>
              <a:gd name="connsiteX25" fmla="*/ 314912 w 3731264"/>
              <a:gd name="connsiteY25" fmla="*/ 585424 h 5097787"/>
              <a:gd name="connsiteX26" fmla="*/ 25393 w 3731264"/>
              <a:gd name="connsiteY26" fmla="*/ 874974 h 5097787"/>
              <a:gd name="connsiteX27" fmla="*/ 314912 w 3731264"/>
              <a:gd name="connsiteY27" fmla="*/ 1164524 h 5097787"/>
              <a:gd name="connsiteX28" fmla="*/ 1725882 w 3731264"/>
              <a:gd name="connsiteY28" fmla="*/ 1164524 h 5097787"/>
              <a:gd name="connsiteX29" fmla="*/ 1878415 w 3731264"/>
              <a:gd name="connsiteY29" fmla="*/ 1317028 h 5097787"/>
              <a:gd name="connsiteX30" fmla="*/ 1878415 w 3731264"/>
              <a:gd name="connsiteY30" fmla="*/ 1558358 h 5097787"/>
              <a:gd name="connsiteX31" fmla="*/ 1915210 w 3731264"/>
              <a:gd name="connsiteY31" fmla="*/ 1648568 h 5097787"/>
              <a:gd name="connsiteX32" fmla="*/ 2005382 w 3731264"/>
              <a:gd name="connsiteY32" fmla="*/ 1685252 h 5097787"/>
              <a:gd name="connsiteX33" fmla="*/ 3416352 w 3731264"/>
              <a:gd name="connsiteY33" fmla="*/ 1685252 h 5097787"/>
              <a:gd name="connsiteX34" fmla="*/ 3731264 w 3731264"/>
              <a:gd name="connsiteY34" fmla="*/ 2000181 h 5097787"/>
              <a:gd name="connsiteX35" fmla="*/ 3416352 w 3731264"/>
              <a:gd name="connsiteY35" fmla="*/ 2315109 h 5097787"/>
              <a:gd name="connsiteX36" fmla="*/ 2005382 w 3731264"/>
              <a:gd name="connsiteY36" fmla="*/ 2315109 h 5097787"/>
              <a:gd name="connsiteX37" fmla="*/ 1915210 w 3731264"/>
              <a:gd name="connsiteY37" fmla="*/ 2352024 h 5097787"/>
              <a:gd name="connsiteX38" fmla="*/ 1878415 w 3731264"/>
              <a:gd name="connsiteY38" fmla="*/ 2442235 h 5097787"/>
              <a:gd name="connsiteX39" fmla="*/ 1878415 w 3731264"/>
              <a:gd name="connsiteY39" fmla="*/ 2712635 h 5097787"/>
              <a:gd name="connsiteX40" fmla="*/ 1725882 w 3731264"/>
              <a:gd name="connsiteY40" fmla="*/ 2865139 h 5097787"/>
              <a:gd name="connsiteX41" fmla="*/ 314912 w 3731264"/>
              <a:gd name="connsiteY41" fmla="*/ 2865139 h 5097787"/>
              <a:gd name="connsiteX42" fmla="*/ 25393 w 3731264"/>
              <a:gd name="connsiteY42" fmla="*/ 3154689 h 5097787"/>
              <a:gd name="connsiteX43" fmla="*/ 314912 w 3731264"/>
              <a:gd name="connsiteY43" fmla="*/ 3444238 h 5097787"/>
              <a:gd name="connsiteX44" fmla="*/ 1725882 w 3731264"/>
              <a:gd name="connsiteY44" fmla="*/ 3444238 h 5097787"/>
              <a:gd name="connsiteX45" fmla="*/ 1878415 w 3731264"/>
              <a:gd name="connsiteY45" fmla="*/ 3596742 h 5097787"/>
              <a:gd name="connsiteX46" fmla="*/ 1878415 w 3731264"/>
              <a:gd name="connsiteY46" fmla="*/ 3837842 h 5097787"/>
              <a:gd name="connsiteX47" fmla="*/ 1915210 w 3731264"/>
              <a:gd name="connsiteY47" fmla="*/ 3928052 h 5097787"/>
              <a:gd name="connsiteX48" fmla="*/ 2005382 w 3731264"/>
              <a:gd name="connsiteY48" fmla="*/ 3964967 h 5097787"/>
              <a:gd name="connsiteX49" fmla="*/ 3416352 w 3731264"/>
              <a:gd name="connsiteY49" fmla="*/ 3964967 h 5097787"/>
              <a:gd name="connsiteX50" fmla="*/ 3731264 w 3731264"/>
              <a:gd name="connsiteY50" fmla="*/ 4277358 h 5097787"/>
              <a:gd name="connsiteX51" fmla="*/ 3416352 w 3731264"/>
              <a:gd name="connsiteY51" fmla="*/ 4592286 h 5097787"/>
              <a:gd name="connsiteX52" fmla="*/ 2005382 w 3731264"/>
              <a:gd name="connsiteY52" fmla="*/ 4592286 h 5097787"/>
              <a:gd name="connsiteX53" fmla="*/ 1878415 w 3731264"/>
              <a:gd name="connsiteY53" fmla="*/ 4719411 h 5097787"/>
              <a:gd name="connsiteX54" fmla="*/ 1878415 w 3731264"/>
              <a:gd name="connsiteY54" fmla="*/ 4977122 h 5097787"/>
              <a:gd name="connsiteX55" fmla="*/ 1926611 w 3731264"/>
              <a:gd name="connsiteY55" fmla="*/ 5036878 h 5097787"/>
              <a:gd name="connsiteX56" fmla="*/ 1865632 w 3731264"/>
              <a:gd name="connsiteY56" fmla="*/ 5097787 h 5097787"/>
              <a:gd name="connsiteX57" fmla="*/ 1804654 w 3731264"/>
              <a:gd name="connsiteY57" fmla="*/ 5036878 h 5097787"/>
              <a:gd name="connsiteX58" fmla="*/ 1852849 w 3731264"/>
              <a:gd name="connsiteY58" fmla="*/ 4977122 h 5097787"/>
              <a:gd name="connsiteX59" fmla="*/ 1852849 w 3731264"/>
              <a:gd name="connsiteY59" fmla="*/ 4719411 h 5097787"/>
              <a:gd name="connsiteX60" fmla="*/ 2005382 w 3731264"/>
              <a:gd name="connsiteY60" fmla="*/ 4566907 h 5097787"/>
              <a:gd name="connsiteX61" fmla="*/ 3416352 w 3731264"/>
              <a:gd name="connsiteY61" fmla="*/ 4566907 h 5097787"/>
              <a:gd name="connsiteX62" fmla="*/ 3705871 w 3731264"/>
              <a:gd name="connsiteY62" fmla="*/ 4277358 h 5097787"/>
              <a:gd name="connsiteX63" fmla="*/ 3416352 w 3731264"/>
              <a:gd name="connsiteY63" fmla="*/ 3987808 h 5097787"/>
              <a:gd name="connsiteX64" fmla="*/ 2005382 w 3731264"/>
              <a:gd name="connsiteY64" fmla="*/ 3987808 h 5097787"/>
              <a:gd name="connsiteX65" fmla="*/ 1897417 w 3731264"/>
              <a:gd name="connsiteY65" fmla="*/ 3943279 h 5097787"/>
              <a:gd name="connsiteX66" fmla="*/ 1852849 w 3731264"/>
              <a:gd name="connsiteY66" fmla="*/ 3835304 h 5097787"/>
              <a:gd name="connsiteX67" fmla="*/ 1852849 w 3731264"/>
              <a:gd name="connsiteY67" fmla="*/ 3594204 h 5097787"/>
              <a:gd name="connsiteX68" fmla="*/ 1725882 w 3731264"/>
              <a:gd name="connsiteY68" fmla="*/ 3467079 h 5097787"/>
              <a:gd name="connsiteX69" fmla="*/ 314912 w 3731264"/>
              <a:gd name="connsiteY69" fmla="*/ 3467079 h 5097787"/>
              <a:gd name="connsiteX70" fmla="*/ 0 w 3731264"/>
              <a:gd name="connsiteY70" fmla="*/ 3152151 h 5097787"/>
              <a:gd name="connsiteX71" fmla="*/ 314912 w 3731264"/>
              <a:gd name="connsiteY71" fmla="*/ 2837222 h 5097787"/>
              <a:gd name="connsiteX72" fmla="*/ 1725882 w 3731264"/>
              <a:gd name="connsiteY72" fmla="*/ 2837222 h 5097787"/>
              <a:gd name="connsiteX73" fmla="*/ 1852849 w 3731264"/>
              <a:gd name="connsiteY73" fmla="*/ 2710097 h 5097787"/>
              <a:gd name="connsiteX74" fmla="*/ 1852849 w 3731264"/>
              <a:gd name="connsiteY74" fmla="*/ 2439697 h 5097787"/>
              <a:gd name="connsiteX75" fmla="*/ 1897417 w 3731264"/>
              <a:gd name="connsiteY75" fmla="*/ 2331721 h 5097787"/>
              <a:gd name="connsiteX76" fmla="*/ 2005382 w 3731264"/>
              <a:gd name="connsiteY76" fmla="*/ 2287193 h 5097787"/>
              <a:gd name="connsiteX77" fmla="*/ 3416352 w 3731264"/>
              <a:gd name="connsiteY77" fmla="*/ 2287193 h 5097787"/>
              <a:gd name="connsiteX78" fmla="*/ 3705871 w 3731264"/>
              <a:gd name="connsiteY78" fmla="*/ 1997643 h 5097787"/>
              <a:gd name="connsiteX79" fmla="*/ 3416352 w 3731264"/>
              <a:gd name="connsiteY79" fmla="*/ 1708093 h 5097787"/>
              <a:gd name="connsiteX80" fmla="*/ 2005382 w 3731264"/>
              <a:gd name="connsiteY80" fmla="*/ 1708093 h 5097787"/>
              <a:gd name="connsiteX81" fmla="*/ 1897417 w 3731264"/>
              <a:gd name="connsiteY81" fmla="*/ 1663795 h 5097787"/>
              <a:gd name="connsiteX82" fmla="*/ 1852849 w 3731264"/>
              <a:gd name="connsiteY82" fmla="*/ 1555820 h 5097787"/>
              <a:gd name="connsiteX83" fmla="*/ 1852849 w 3731264"/>
              <a:gd name="connsiteY83" fmla="*/ 1314490 h 5097787"/>
              <a:gd name="connsiteX84" fmla="*/ 1725882 w 3731264"/>
              <a:gd name="connsiteY84" fmla="*/ 1187365 h 5097787"/>
              <a:gd name="connsiteX85" fmla="*/ 314912 w 3731264"/>
              <a:gd name="connsiteY85" fmla="*/ 1187365 h 5097787"/>
              <a:gd name="connsiteX86" fmla="*/ 0 w 3731264"/>
              <a:gd name="connsiteY86" fmla="*/ 872436 h 5097787"/>
              <a:gd name="connsiteX87" fmla="*/ 314912 w 3731264"/>
              <a:gd name="connsiteY87" fmla="*/ 557508 h 5097787"/>
              <a:gd name="connsiteX88" fmla="*/ 1725882 w 3731264"/>
              <a:gd name="connsiteY88" fmla="*/ 557508 h 5097787"/>
              <a:gd name="connsiteX89" fmla="*/ 1852849 w 3731264"/>
              <a:gd name="connsiteY89" fmla="*/ 430613 h 5097787"/>
              <a:gd name="connsiteX90" fmla="*/ 1852849 w 3731264"/>
              <a:gd name="connsiteY90" fmla="*/ 117155 h 5097787"/>
              <a:gd name="connsiteX91" fmla="*/ 1821256 w 3731264"/>
              <a:gd name="connsiteY91" fmla="*/ 104069 h 5097787"/>
              <a:gd name="connsiteX92" fmla="*/ 1808191 w 3731264"/>
              <a:gd name="connsiteY92" fmla="*/ 84691 h 5097787"/>
              <a:gd name="connsiteX93" fmla="*/ 1803409 w 3731264"/>
              <a:gd name="connsiteY93" fmla="*/ 61004 h 5097787"/>
              <a:gd name="connsiteX94" fmla="*/ 1803399 w 3731264"/>
              <a:gd name="connsiteY94" fmla="*/ 60962 h 5097787"/>
              <a:gd name="connsiteX95" fmla="*/ 1803528 w 3731264"/>
              <a:gd name="connsiteY95" fmla="*/ 60329 h 5097787"/>
              <a:gd name="connsiteX96" fmla="*/ 1808191 w 3731264"/>
              <a:gd name="connsiteY96" fmla="*/ 37233 h 5097787"/>
              <a:gd name="connsiteX97" fmla="*/ 1808243 w 3731264"/>
              <a:gd name="connsiteY97" fmla="*/ 37155 h 5097787"/>
              <a:gd name="connsiteX98" fmla="*/ 1808281 w 3731264"/>
              <a:gd name="connsiteY98" fmla="*/ 36970 h 5097787"/>
              <a:gd name="connsiteX99" fmla="*/ 1815009 w 3731264"/>
              <a:gd name="connsiteY99" fmla="*/ 27121 h 5097787"/>
              <a:gd name="connsiteX100" fmla="*/ 1821256 w 3731264"/>
              <a:gd name="connsiteY100" fmla="*/ 17856 h 5097787"/>
              <a:gd name="connsiteX101" fmla="*/ 1821370 w 3731264"/>
              <a:gd name="connsiteY101" fmla="*/ 17808 h 5097787"/>
              <a:gd name="connsiteX102" fmla="*/ 1821497 w 3731264"/>
              <a:gd name="connsiteY102" fmla="*/ 17622 h 5097787"/>
              <a:gd name="connsiteX103" fmla="*/ 1864361 w 3731264"/>
              <a:gd name="connsiteY103" fmla="*/ 0 h 509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731264" h="5097787">
                <a:moveTo>
                  <a:pt x="1864361" y="0"/>
                </a:moveTo>
                <a:lnTo>
                  <a:pt x="1864362" y="0"/>
                </a:lnTo>
                <a:lnTo>
                  <a:pt x="1864362" y="0"/>
                </a:lnTo>
                <a:lnTo>
                  <a:pt x="1864363" y="0"/>
                </a:lnTo>
                <a:lnTo>
                  <a:pt x="1888353" y="4882"/>
                </a:lnTo>
                <a:lnTo>
                  <a:pt x="1907156" y="17726"/>
                </a:lnTo>
                <a:lnTo>
                  <a:pt x="1907469" y="17856"/>
                </a:lnTo>
                <a:lnTo>
                  <a:pt x="1907574" y="18011"/>
                </a:lnTo>
                <a:lnTo>
                  <a:pt x="1907701" y="18098"/>
                </a:lnTo>
                <a:lnTo>
                  <a:pt x="1913011" y="26076"/>
                </a:lnTo>
                <a:lnTo>
                  <a:pt x="1920534" y="37233"/>
                </a:lnTo>
                <a:lnTo>
                  <a:pt x="1920575" y="37440"/>
                </a:lnTo>
                <a:lnTo>
                  <a:pt x="1920619" y="37506"/>
                </a:lnTo>
                <a:lnTo>
                  <a:pt x="1925034" y="59523"/>
                </a:lnTo>
                <a:lnTo>
                  <a:pt x="1925324" y="60962"/>
                </a:lnTo>
                <a:cubicBezTo>
                  <a:pt x="1925324" y="69379"/>
                  <a:pt x="1923618" y="77398"/>
                  <a:pt x="1920534" y="84691"/>
                </a:cubicBezTo>
                <a:lnTo>
                  <a:pt x="1920477" y="84775"/>
                </a:lnTo>
                <a:lnTo>
                  <a:pt x="1920441" y="84953"/>
                </a:lnTo>
                <a:lnTo>
                  <a:pt x="1913985" y="94403"/>
                </a:lnTo>
                <a:lnTo>
                  <a:pt x="1907469" y="104069"/>
                </a:lnTo>
                <a:lnTo>
                  <a:pt x="1907349" y="104118"/>
                </a:lnTo>
                <a:lnTo>
                  <a:pt x="1907224" y="104301"/>
                </a:lnTo>
                <a:lnTo>
                  <a:pt x="1878415" y="116145"/>
                </a:lnTo>
                <a:lnTo>
                  <a:pt x="1878415" y="433151"/>
                </a:lnTo>
                <a:cubicBezTo>
                  <a:pt x="1878415" y="516901"/>
                  <a:pt x="1809836" y="585424"/>
                  <a:pt x="1725882" y="585424"/>
                </a:cubicBezTo>
                <a:lnTo>
                  <a:pt x="314912" y="585424"/>
                </a:lnTo>
                <a:cubicBezTo>
                  <a:pt x="154951" y="585424"/>
                  <a:pt x="25393" y="715087"/>
                  <a:pt x="25393" y="874974"/>
                </a:cubicBezTo>
                <a:cubicBezTo>
                  <a:pt x="25393" y="1035092"/>
                  <a:pt x="154951" y="1164524"/>
                  <a:pt x="314912" y="1164524"/>
                </a:cubicBezTo>
                <a:lnTo>
                  <a:pt x="1725882" y="1164524"/>
                </a:lnTo>
                <a:cubicBezTo>
                  <a:pt x="1809836" y="1164524"/>
                  <a:pt x="1878415" y="1233278"/>
                  <a:pt x="1878415" y="1317028"/>
                </a:cubicBezTo>
                <a:lnTo>
                  <a:pt x="1878415" y="1558358"/>
                </a:lnTo>
                <a:cubicBezTo>
                  <a:pt x="1878415" y="1592504"/>
                  <a:pt x="1891026" y="1624343"/>
                  <a:pt x="1915210" y="1648568"/>
                </a:cubicBezTo>
                <a:cubicBezTo>
                  <a:pt x="1939221" y="1672563"/>
                  <a:pt x="1971006" y="1685252"/>
                  <a:pt x="2005382" y="1685252"/>
                </a:cubicBezTo>
                <a:lnTo>
                  <a:pt x="3416352" y="1685252"/>
                </a:lnTo>
                <a:cubicBezTo>
                  <a:pt x="3590305" y="1685252"/>
                  <a:pt x="3731264" y="1826220"/>
                  <a:pt x="3731264" y="2000181"/>
                </a:cubicBezTo>
                <a:cubicBezTo>
                  <a:pt x="3731264" y="2174141"/>
                  <a:pt x="3590305" y="2315109"/>
                  <a:pt x="3416352" y="2315109"/>
                </a:cubicBezTo>
                <a:lnTo>
                  <a:pt x="2005382" y="2315109"/>
                </a:lnTo>
                <a:cubicBezTo>
                  <a:pt x="1971006" y="2315109"/>
                  <a:pt x="1939221" y="2327799"/>
                  <a:pt x="1915210" y="2352024"/>
                </a:cubicBezTo>
                <a:cubicBezTo>
                  <a:pt x="1891026" y="2376250"/>
                  <a:pt x="1878415" y="2407858"/>
                  <a:pt x="1878415" y="2442235"/>
                </a:cubicBezTo>
                <a:lnTo>
                  <a:pt x="1878415" y="2712635"/>
                </a:lnTo>
                <a:cubicBezTo>
                  <a:pt x="1878415" y="2796616"/>
                  <a:pt x="1809836" y="2865139"/>
                  <a:pt x="1725882" y="2865139"/>
                </a:cubicBezTo>
                <a:lnTo>
                  <a:pt x="314912" y="2865139"/>
                </a:lnTo>
                <a:cubicBezTo>
                  <a:pt x="154951" y="2865139"/>
                  <a:pt x="25393" y="2994571"/>
                  <a:pt x="25393" y="3154689"/>
                </a:cubicBezTo>
                <a:cubicBezTo>
                  <a:pt x="25393" y="3314806"/>
                  <a:pt x="154951" y="3444238"/>
                  <a:pt x="314912" y="3444238"/>
                </a:cubicBezTo>
                <a:lnTo>
                  <a:pt x="1725882" y="3444238"/>
                </a:lnTo>
                <a:cubicBezTo>
                  <a:pt x="1809836" y="3444238"/>
                  <a:pt x="1878415" y="3512761"/>
                  <a:pt x="1878415" y="3596742"/>
                </a:cubicBezTo>
                <a:lnTo>
                  <a:pt x="1878415" y="3837842"/>
                </a:lnTo>
                <a:cubicBezTo>
                  <a:pt x="1878415" y="3872218"/>
                  <a:pt x="1891026" y="3904057"/>
                  <a:pt x="1915210" y="3928052"/>
                </a:cubicBezTo>
                <a:cubicBezTo>
                  <a:pt x="1939221" y="3952277"/>
                  <a:pt x="1971006" y="3964967"/>
                  <a:pt x="2005382" y="3964967"/>
                </a:cubicBezTo>
                <a:lnTo>
                  <a:pt x="3416352" y="3964967"/>
                </a:lnTo>
                <a:cubicBezTo>
                  <a:pt x="3590305" y="3964967"/>
                  <a:pt x="3731264" y="4103397"/>
                  <a:pt x="3731264" y="4277358"/>
                </a:cubicBezTo>
                <a:cubicBezTo>
                  <a:pt x="3731264" y="4451318"/>
                  <a:pt x="3590305" y="4592286"/>
                  <a:pt x="3416352" y="4592286"/>
                </a:cubicBezTo>
                <a:lnTo>
                  <a:pt x="2005382" y="4592286"/>
                </a:lnTo>
                <a:cubicBezTo>
                  <a:pt x="1935421" y="4592286"/>
                  <a:pt x="1878415" y="4649504"/>
                  <a:pt x="1878415" y="4719411"/>
                </a:cubicBezTo>
                <a:lnTo>
                  <a:pt x="1878415" y="4977122"/>
                </a:lnTo>
                <a:cubicBezTo>
                  <a:pt x="1906227" y="4983582"/>
                  <a:pt x="1926611" y="5007577"/>
                  <a:pt x="1926611" y="5036878"/>
                </a:cubicBezTo>
                <a:cubicBezTo>
                  <a:pt x="1926611" y="5071024"/>
                  <a:pt x="1898626" y="5097787"/>
                  <a:pt x="1865632" y="5097787"/>
                </a:cubicBezTo>
                <a:cubicBezTo>
                  <a:pt x="1831429" y="5097787"/>
                  <a:pt x="1804654" y="5069870"/>
                  <a:pt x="1804654" y="5036878"/>
                </a:cubicBezTo>
                <a:cubicBezTo>
                  <a:pt x="1804654" y="5007577"/>
                  <a:pt x="1826247" y="4983582"/>
                  <a:pt x="1852849" y="4977122"/>
                </a:cubicBezTo>
                <a:lnTo>
                  <a:pt x="1852849" y="4719411"/>
                </a:lnTo>
                <a:cubicBezTo>
                  <a:pt x="1852849" y="4635430"/>
                  <a:pt x="1921428" y="4566907"/>
                  <a:pt x="2005382" y="4566907"/>
                </a:cubicBezTo>
                <a:lnTo>
                  <a:pt x="3416352" y="4566907"/>
                </a:lnTo>
                <a:cubicBezTo>
                  <a:pt x="3576313" y="4566907"/>
                  <a:pt x="3705871" y="4437475"/>
                  <a:pt x="3705871" y="4277358"/>
                </a:cubicBezTo>
                <a:cubicBezTo>
                  <a:pt x="3705871" y="4117240"/>
                  <a:pt x="3576313" y="3987808"/>
                  <a:pt x="3416352" y="3987808"/>
                </a:cubicBezTo>
                <a:lnTo>
                  <a:pt x="2005382" y="3987808"/>
                </a:lnTo>
                <a:cubicBezTo>
                  <a:pt x="1964614" y="3987808"/>
                  <a:pt x="1926611" y="3972580"/>
                  <a:pt x="1897417" y="3943279"/>
                </a:cubicBezTo>
                <a:cubicBezTo>
                  <a:pt x="1868223" y="3914209"/>
                  <a:pt x="1852849" y="3876141"/>
                  <a:pt x="1852849" y="3835304"/>
                </a:cubicBezTo>
                <a:lnTo>
                  <a:pt x="1852849" y="3594204"/>
                </a:lnTo>
                <a:cubicBezTo>
                  <a:pt x="1852849" y="3524297"/>
                  <a:pt x="1795843" y="3467079"/>
                  <a:pt x="1725882" y="3467079"/>
                </a:cubicBezTo>
                <a:lnTo>
                  <a:pt x="314912" y="3467079"/>
                </a:lnTo>
                <a:cubicBezTo>
                  <a:pt x="140959" y="3467079"/>
                  <a:pt x="0" y="3326111"/>
                  <a:pt x="0" y="3152151"/>
                </a:cubicBezTo>
                <a:cubicBezTo>
                  <a:pt x="0" y="2978190"/>
                  <a:pt x="140959" y="2837222"/>
                  <a:pt x="314912" y="2837222"/>
                </a:cubicBezTo>
                <a:lnTo>
                  <a:pt x="1725882" y="2837222"/>
                </a:lnTo>
                <a:cubicBezTo>
                  <a:pt x="1795843" y="2837222"/>
                  <a:pt x="1852849" y="2780004"/>
                  <a:pt x="1852849" y="2710097"/>
                </a:cubicBezTo>
                <a:lnTo>
                  <a:pt x="1852849" y="2439697"/>
                </a:lnTo>
                <a:cubicBezTo>
                  <a:pt x="1852849" y="2399090"/>
                  <a:pt x="1868223" y="2361022"/>
                  <a:pt x="1897417" y="2331721"/>
                </a:cubicBezTo>
                <a:cubicBezTo>
                  <a:pt x="1926611" y="2302420"/>
                  <a:pt x="1964614" y="2287193"/>
                  <a:pt x="2005382" y="2287193"/>
                </a:cubicBezTo>
                <a:lnTo>
                  <a:pt x="3416352" y="2287193"/>
                </a:lnTo>
                <a:cubicBezTo>
                  <a:pt x="3576313" y="2287193"/>
                  <a:pt x="3705871" y="2157761"/>
                  <a:pt x="3705871" y="1997643"/>
                </a:cubicBezTo>
                <a:cubicBezTo>
                  <a:pt x="3705871" y="1837756"/>
                  <a:pt x="3576313" y="1708093"/>
                  <a:pt x="3416352" y="1708093"/>
                </a:cubicBezTo>
                <a:lnTo>
                  <a:pt x="2005382" y="1708093"/>
                </a:lnTo>
                <a:cubicBezTo>
                  <a:pt x="1964614" y="1708093"/>
                  <a:pt x="1926611" y="1692866"/>
                  <a:pt x="1897417" y="1663795"/>
                </a:cubicBezTo>
                <a:cubicBezTo>
                  <a:pt x="1868223" y="1634494"/>
                  <a:pt x="1852849" y="1596426"/>
                  <a:pt x="1852849" y="1555820"/>
                </a:cubicBezTo>
                <a:lnTo>
                  <a:pt x="1852849" y="1314490"/>
                </a:lnTo>
                <a:cubicBezTo>
                  <a:pt x="1852849" y="1244583"/>
                  <a:pt x="1795843" y="1187365"/>
                  <a:pt x="1725882" y="1187365"/>
                </a:cubicBezTo>
                <a:lnTo>
                  <a:pt x="314912" y="1187365"/>
                </a:lnTo>
                <a:cubicBezTo>
                  <a:pt x="140959" y="1187365"/>
                  <a:pt x="0" y="1046397"/>
                  <a:pt x="0" y="872436"/>
                </a:cubicBezTo>
                <a:cubicBezTo>
                  <a:pt x="0" y="698476"/>
                  <a:pt x="140959" y="557508"/>
                  <a:pt x="314912" y="557508"/>
                </a:cubicBezTo>
                <a:lnTo>
                  <a:pt x="1725882" y="557508"/>
                </a:lnTo>
                <a:cubicBezTo>
                  <a:pt x="1795843" y="557508"/>
                  <a:pt x="1852849" y="500290"/>
                  <a:pt x="1852849" y="430613"/>
                </a:cubicBezTo>
                <a:lnTo>
                  <a:pt x="1852849" y="117155"/>
                </a:lnTo>
                <a:lnTo>
                  <a:pt x="1821256" y="104069"/>
                </a:lnTo>
                <a:cubicBezTo>
                  <a:pt x="1815740" y="98553"/>
                  <a:pt x="1811276" y="91984"/>
                  <a:pt x="1808191" y="84691"/>
                </a:cubicBezTo>
                <a:lnTo>
                  <a:pt x="1803409" y="61004"/>
                </a:lnTo>
                <a:lnTo>
                  <a:pt x="1803399" y="60962"/>
                </a:lnTo>
                <a:lnTo>
                  <a:pt x="1803528" y="60329"/>
                </a:lnTo>
                <a:lnTo>
                  <a:pt x="1808191" y="37233"/>
                </a:lnTo>
                <a:lnTo>
                  <a:pt x="1808243" y="37155"/>
                </a:lnTo>
                <a:lnTo>
                  <a:pt x="1808281" y="36970"/>
                </a:lnTo>
                <a:lnTo>
                  <a:pt x="1815009" y="27121"/>
                </a:lnTo>
                <a:lnTo>
                  <a:pt x="1821256" y="17856"/>
                </a:lnTo>
                <a:lnTo>
                  <a:pt x="1821370" y="17808"/>
                </a:lnTo>
                <a:lnTo>
                  <a:pt x="1821497" y="17622"/>
                </a:lnTo>
                <a:cubicBezTo>
                  <a:pt x="1832610" y="6668"/>
                  <a:pt x="1847851" y="0"/>
                  <a:pt x="1864361" y="0"/>
                </a:cubicBezTo>
                <a:close/>
              </a:path>
            </a:pathLst>
          </a:custGeom>
          <a:solidFill>
            <a:schemeClr val="bg2">
              <a:lumMod val="75000"/>
            </a:schemeClr>
          </a:solidFill>
          <a:ln w="12700">
            <a:miter lim="400000"/>
          </a:ln>
        </p:spPr>
        <p:txBody>
          <a:bodyPr wrap="square" lIns="28575" tIns="28575" rIns="28575" bIns="28575" anchor="ctr">
            <a:noAutofit/>
          </a:bodyPr>
          <a:lstStyle/>
          <a:p>
            <a:pPr>
              <a:defRPr sz="3000">
                <a:solidFill>
                  <a:srgbClr val="FFFFFF"/>
                </a:solidFill>
              </a:defRPr>
            </a:pPr>
            <a:endParaRPr sz="2400"/>
          </a:p>
        </p:txBody>
      </p:sp>
      <p:grpSp>
        <p:nvGrpSpPr>
          <p:cNvPr id="7" name="Group 6">
            <a:extLst>
              <a:ext uri="{FF2B5EF4-FFF2-40B4-BE49-F238E27FC236}">
                <a16:creationId xmlns:a16="http://schemas.microsoft.com/office/drawing/2014/main" id="{988DF19F-DFF4-D4D1-06AB-8A290A7A54E6}"/>
              </a:ext>
            </a:extLst>
          </p:cNvPr>
          <p:cNvGrpSpPr/>
          <p:nvPr/>
        </p:nvGrpSpPr>
        <p:grpSpPr>
          <a:xfrm>
            <a:off x="1856015" y="3884286"/>
            <a:ext cx="406044" cy="406044"/>
            <a:chOff x="4331336" y="3808094"/>
            <a:chExt cx="447043" cy="447043"/>
          </a:xfrm>
        </p:grpSpPr>
        <p:sp>
          <p:nvSpPr>
            <p:cNvPr id="8" name="Circle">
              <a:extLst>
                <a:ext uri="{FF2B5EF4-FFF2-40B4-BE49-F238E27FC236}">
                  <a16:creationId xmlns:a16="http://schemas.microsoft.com/office/drawing/2014/main" id="{7D09493A-CF3F-0FE9-98C3-73D7BD7FA9AF}"/>
                </a:ext>
              </a:extLst>
            </p:cNvPr>
            <p:cNvSpPr/>
            <p:nvPr/>
          </p:nvSpPr>
          <p:spPr>
            <a:xfrm>
              <a:off x="4331336" y="3808094"/>
              <a:ext cx="447043" cy="447043"/>
            </a:xfrm>
            <a:prstGeom prst="ellipse">
              <a:avLst/>
            </a:prstGeom>
            <a:solidFill>
              <a:schemeClr val="accent6"/>
            </a:solidFill>
            <a:ln w="12700">
              <a:miter lim="400000"/>
            </a:ln>
          </p:spPr>
          <p:txBody>
            <a:bodyPr lIns="28575" tIns="28575" rIns="28575" bIns="28575" anchor="ctr"/>
            <a:lstStyle/>
            <a:p>
              <a:pPr>
                <a:defRPr sz="3000">
                  <a:solidFill>
                    <a:srgbClr val="FFFFFF"/>
                  </a:solidFill>
                </a:defRPr>
              </a:pPr>
              <a:endParaRPr sz="2400"/>
            </a:p>
          </p:txBody>
        </p:sp>
        <p:pic>
          <p:nvPicPr>
            <p:cNvPr id="9" name="Graphic 8" descr="Hourglass Finished with solid fill">
              <a:extLst>
                <a:ext uri="{FF2B5EF4-FFF2-40B4-BE49-F238E27FC236}">
                  <a16:creationId xmlns:a16="http://schemas.microsoft.com/office/drawing/2014/main" id="{1A3FCBBA-EE2C-A6EC-E11F-D39E581152E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79775" y="3856533"/>
              <a:ext cx="350164" cy="350164"/>
            </a:xfrm>
            <a:prstGeom prst="rect">
              <a:avLst/>
            </a:prstGeom>
          </p:spPr>
        </p:pic>
      </p:grpSp>
      <p:sp>
        <p:nvSpPr>
          <p:cNvPr id="11" name="TextBox 10">
            <a:extLst>
              <a:ext uri="{FF2B5EF4-FFF2-40B4-BE49-F238E27FC236}">
                <a16:creationId xmlns:a16="http://schemas.microsoft.com/office/drawing/2014/main" id="{A81EB6DE-1F51-35B6-6F31-6175D79E601E}"/>
              </a:ext>
            </a:extLst>
          </p:cNvPr>
          <p:cNvSpPr txBox="1"/>
          <p:nvPr/>
        </p:nvSpPr>
        <p:spPr>
          <a:xfrm>
            <a:off x="2306056" y="3829134"/>
            <a:ext cx="1585135"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FFB500"/>
                </a:solidFill>
                <a:latin typeface="Roboto"/>
                <a:ea typeface="Roboto"/>
                <a:cs typeface="Arial"/>
              </a:rPr>
              <a:t>K- Means Clustering</a:t>
            </a:r>
            <a:endParaRPr lang="en-US">
              <a:solidFill>
                <a:srgbClr val="FFB500"/>
              </a:solidFill>
            </a:endParaRPr>
          </a:p>
        </p:txBody>
      </p:sp>
      <p:sp>
        <p:nvSpPr>
          <p:cNvPr id="12" name="TextBox 11">
            <a:extLst>
              <a:ext uri="{FF2B5EF4-FFF2-40B4-BE49-F238E27FC236}">
                <a16:creationId xmlns:a16="http://schemas.microsoft.com/office/drawing/2014/main" id="{D66D06FC-D36E-E8A6-324F-16FCD7AFC989}"/>
              </a:ext>
            </a:extLst>
          </p:cNvPr>
          <p:cNvSpPr txBox="1"/>
          <p:nvPr/>
        </p:nvSpPr>
        <p:spPr>
          <a:xfrm>
            <a:off x="3562684" y="1672853"/>
            <a:ext cx="2743200" cy="50783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a:solidFill>
                  <a:srgbClr val="444444"/>
                </a:solidFill>
                <a:latin typeface="Calibri"/>
                <a:cs typeface="Arial"/>
              </a:rPr>
              <a:t>Root cause analysis is manual</a:t>
            </a:r>
          </a:p>
          <a:p>
            <a:pPr marL="228600" lvl="1" indent="-228600">
              <a:buFont typeface=""/>
              <a:buChar char="•"/>
            </a:pPr>
            <a:r>
              <a:rPr lang="en-US" sz="1100">
                <a:solidFill>
                  <a:srgbClr val="444444"/>
                </a:solidFill>
                <a:latin typeface="Calibri"/>
                <a:cs typeface="Arial"/>
              </a:rPr>
              <a:t>slows down identifying the cause of system issues.</a:t>
            </a:r>
          </a:p>
        </p:txBody>
      </p:sp>
      <p:sp>
        <p:nvSpPr>
          <p:cNvPr id="19" name="TextBox 18">
            <a:extLst>
              <a:ext uri="{FF2B5EF4-FFF2-40B4-BE49-F238E27FC236}">
                <a16:creationId xmlns:a16="http://schemas.microsoft.com/office/drawing/2014/main" id="{B47FC324-D98A-A2C0-3CF5-BDC97E96325D}"/>
              </a:ext>
            </a:extLst>
          </p:cNvPr>
          <p:cNvSpPr txBox="1"/>
          <p:nvPr/>
        </p:nvSpPr>
        <p:spPr>
          <a:xfrm>
            <a:off x="3562684" y="3687632"/>
            <a:ext cx="2743200" cy="101566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a:solidFill>
                  <a:srgbClr val="444444"/>
                </a:solidFill>
                <a:latin typeface="Calibri"/>
                <a:cs typeface="Arial"/>
              </a:rPr>
              <a:t> Automatic Clustering by  K means Clustering to group logs based on their context.</a:t>
            </a:r>
          </a:p>
          <a:p>
            <a:pPr marL="228600" lvl="1" indent="-228600">
              <a:buFont typeface=""/>
              <a:buChar char="•"/>
            </a:pPr>
            <a:r>
              <a:rPr lang="en-US" sz="1100">
                <a:solidFill>
                  <a:srgbClr val="444444"/>
                </a:solidFill>
                <a:latin typeface="Calibri"/>
                <a:cs typeface="Arial"/>
              </a:rPr>
              <a:t>The number of clusters are determined by silhouette score</a:t>
            </a:r>
          </a:p>
          <a:p>
            <a:pPr marL="228600" lvl="1" indent="-228600">
              <a:buFont typeface=""/>
              <a:buChar char="•"/>
            </a:pPr>
            <a:endParaRPr lang="en-US" sz="1100">
              <a:solidFill>
                <a:srgbClr val="444444"/>
              </a:solidFill>
              <a:latin typeface="Calibri"/>
              <a:cs typeface="Arial"/>
            </a:endParaRPr>
          </a:p>
        </p:txBody>
      </p:sp>
      <p:sp>
        <p:nvSpPr>
          <p:cNvPr id="20" name="TextBox 19">
            <a:extLst>
              <a:ext uri="{FF2B5EF4-FFF2-40B4-BE49-F238E27FC236}">
                <a16:creationId xmlns:a16="http://schemas.microsoft.com/office/drawing/2014/main" id="{5F56AD3F-32C9-BB2E-5D67-D2DD3FC4BAF2}"/>
              </a:ext>
            </a:extLst>
          </p:cNvPr>
          <p:cNvSpPr txBox="1"/>
          <p:nvPr/>
        </p:nvSpPr>
        <p:spPr>
          <a:xfrm>
            <a:off x="699128" y="2484341"/>
            <a:ext cx="2743200" cy="101566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a:solidFill>
                  <a:srgbClr val="444444"/>
                </a:solidFill>
                <a:latin typeface="Calibri"/>
                <a:cs typeface="Arial"/>
              </a:rPr>
              <a:t>Azure Cognitive Services, Azure ML &amp; Clustering Algorithms</a:t>
            </a:r>
          </a:p>
          <a:p>
            <a:pPr marL="228600" lvl="1" indent="-228600">
              <a:buFont typeface=""/>
              <a:buChar char="•"/>
            </a:pPr>
            <a:r>
              <a:rPr lang="en-US" sz="1100">
                <a:solidFill>
                  <a:srgbClr val="444444"/>
                </a:solidFill>
                <a:latin typeface="Calibri"/>
                <a:cs typeface="Arial"/>
              </a:rPr>
              <a:t>Implement Clustering Algorithm </a:t>
            </a:r>
          </a:p>
          <a:p>
            <a:pPr marL="228600" lvl="1" indent="-228600">
              <a:buFont typeface=""/>
              <a:buChar char="•"/>
            </a:pPr>
            <a:r>
              <a:rPr lang="en-US" sz="1100">
                <a:solidFill>
                  <a:srgbClr val="444444"/>
                </a:solidFill>
                <a:latin typeface="Calibri"/>
                <a:cs typeface="Arial"/>
              </a:rPr>
              <a:t>Analyze the specific content of log messages and cluster logs based on their context, enabling proactive issue identification.</a:t>
            </a:r>
          </a:p>
        </p:txBody>
      </p:sp>
      <p:sp>
        <p:nvSpPr>
          <p:cNvPr id="21" name="TextBox 20">
            <a:extLst>
              <a:ext uri="{FF2B5EF4-FFF2-40B4-BE49-F238E27FC236}">
                <a16:creationId xmlns:a16="http://schemas.microsoft.com/office/drawing/2014/main" id="{2AC9B7D0-3A39-985F-2A1F-FCECB2E7D4F9}"/>
              </a:ext>
            </a:extLst>
          </p:cNvPr>
          <p:cNvSpPr txBox="1"/>
          <p:nvPr/>
        </p:nvSpPr>
        <p:spPr>
          <a:xfrm>
            <a:off x="719813" y="4706834"/>
            <a:ext cx="2743200" cy="84638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a:solidFill>
                  <a:srgbClr val="444444"/>
                </a:solidFill>
                <a:latin typeface="Calibri"/>
                <a:cs typeface="Arial"/>
              </a:rPr>
              <a:t>Accelerates root cause identification by clustering related logs automatically </a:t>
            </a:r>
          </a:p>
          <a:p>
            <a:pPr marL="228600" lvl="1" indent="-228600">
              <a:buFont typeface=""/>
              <a:buChar char="•"/>
            </a:pPr>
            <a:r>
              <a:rPr lang="en-US" sz="1100">
                <a:solidFill>
                  <a:srgbClr val="444444"/>
                </a:solidFill>
                <a:latin typeface="Calibri"/>
                <a:cs typeface="Arial"/>
              </a:rPr>
              <a:t>Reduces manual investigation efforts, improving response times </a:t>
            </a:r>
          </a:p>
          <a:p>
            <a:pPr marL="228600" lvl="1" indent="-228600">
              <a:buFont typeface=""/>
              <a:buChar char="•"/>
            </a:pPr>
            <a:endParaRPr lang="en-US" sz="1100">
              <a:solidFill>
                <a:srgbClr val="444444"/>
              </a:solidFill>
              <a:latin typeface="Calibri"/>
              <a:cs typeface="Arial"/>
            </a:endParaRPr>
          </a:p>
        </p:txBody>
      </p:sp>
      <p:sp>
        <p:nvSpPr>
          <p:cNvPr id="22" name="Shape">
            <a:extLst>
              <a:ext uri="{FF2B5EF4-FFF2-40B4-BE49-F238E27FC236}">
                <a16:creationId xmlns:a16="http://schemas.microsoft.com/office/drawing/2014/main" id="{EC072C78-96EC-BF7B-E495-5B8DB0212420}"/>
              </a:ext>
            </a:extLst>
          </p:cNvPr>
          <p:cNvSpPr/>
          <p:nvPr/>
        </p:nvSpPr>
        <p:spPr>
          <a:xfrm>
            <a:off x="6100951" y="1242580"/>
            <a:ext cx="206481" cy="1537651"/>
          </a:xfrm>
          <a:custGeom>
            <a:avLst/>
            <a:gdLst/>
            <a:ahLst/>
            <a:cxnLst>
              <a:cxn ang="0">
                <a:pos x="wd2" y="hd2"/>
              </a:cxn>
              <a:cxn ang="5400000">
                <a:pos x="wd2" y="hd2"/>
              </a:cxn>
              <a:cxn ang="10800000">
                <a:pos x="wd2" y="hd2"/>
              </a:cxn>
              <a:cxn ang="16200000">
                <a:pos x="wd2" y="hd2"/>
              </a:cxn>
            </a:cxnLst>
            <a:rect l="0" t="0" r="r" b="b"/>
            <a:pathLst>
              <a:path w="21600" h="21600" extrusionOk="0">
                <a:moveTo>
                  <a:pt x="1207" y="0"/>
                </a:moveTo>
                <a:cubicBezTo>
                  <a:pt x="12429" y="0"/>
                  <a:pt x="21600" y="1183"/>
                  <a:pt x="21600" y="2641"/>
                </a:cubicBezTo>
                <a:lnTo>
                  <a:pt x="21600" y="18959"/>
                </a:lnTo>
                <a:cubicBezTo>
                  <a:pt x="21600" y="20417"/>
                  <a:pt x="12429" y="21600"/>
                  <a:pt x="1207" y="21600"/>
                </a:cubicBezTo>
                <a:cubicBezTo>
                  <a:pt x="483" y="21600"/>
                  <a:pt x="0" y="21535"/>
                  <a:pt x="0" y="21438"/>
                </a:cubicBezTo>
                <a:cubicBezTo>
                  <a:pt x="0" y="21357"/>
                  <a:pt x="483" y="21276"/>
                  <a:pt x="1207" y="21276"/>
                </a:cubicBezTo>
                <a:cubicBezTo>
                  <a:pt x="11102" y="21276"/>
                  <a:pt x="19187" y="20223"/>
                  <a:pt x="19187" y="18943"/>
                </a:cubicBezTo>
                <a:lnTo>
                  <a:pt x="19187" y="2625"/>
                </a:lnTo>
                <a:cubicBezTo>
                  <a:pt x="19187" y="1345"/>
                  <a:pt x="11102" y="292"/>
                  <a:pt x="1207" y="292"/>
                </a:cubicBezTo>
                <a:cubicBezTo>
                  <a:pt x="483" y="292"/>
                  <a:pt x="0" y="227"/>
                  <a:pt x="0" y="130"/>
                </a:cubicBezTo>
                <a:cubicBezTo>
                  <a:pt x="0" y="65"/>
                  <a:pt x="483" y="0"/>
                  <a:pt x="1207" y="0"/>
                </a:cubicBezTo>
                <a:close/>
              </a:path>
            </a:pathLst>
          </a:custGeom>
          <a:solidFill>
            <a:schemeClr val="accent5"/>
          </a:solidFill>
          <a:ln w="12700">
            <a:miter lim="400000"/>
          </a:ln>
        </p:spPr>
        <p:txBody>
          <a:bodyPr lIns="28575" tIns="28575" rIns="28575" bIns="28575" anchor="ctr"/>
          <a:lstStyle/>
          <a:p>
            <a:pPr>
              <a:defRPr sz="3000">
                <a:solidFill>
                  <a:srgbClr val="FFFFFF"/>
                </a:solidFill>
              </a:defRPr>
            </a:pPr>
            <a:endParaRPr sz="2400"/>
          </a:p>
        </p:txBody>
      </p:sp>
      <p:sp>
        <p:nvSpPr>
          <p:cNvPr id="23" name="Shape">
            <a:extLst>
              <a:ext uri="{FF2B5EF4-FFF2-40B4-BE49-F238E27FC236}">
                <a16:creationId xmlns:a16="http://schemas.microsoft.com/office/drawing/2014/main" id="{7EC4F5E0-2C8D-3355-A0D4-CA4F6122F183}"/>
              </a:ext>
            </a:extLst>
          </p:cNvPr>
          <p:cNvSpPr/>
          <p:nvPr/>
        </p:nvSpPr>
        <p:spPr>
          <a:xfrm>
            <a:off x="6096000" y="3317905"/>
            <a:ext cx="206481" cy="1538805"/>
          </a:xfrm>
          <a:custGeom>
            <a:avLst/>
            <a:gdLst/>
            <a:ahLst/>
            <a:cxnLst>
              <a:cxn ang="0">
                <a:pos x="wd2" y="hd2"/>
              </a:cxn>
              <a:cxn ang="5400000">
                <a:pos x="wd2" y="hd2"/>
              </a:cxn>
              <a:cxn ang="10800000">
                <a:pos x="wd2" y="hd2"/>
              </a:cxn>
              <a:cxn ang="16200000">
                <a:pos x="wd2" y="hd2"/>
              </a:cxn>
            </a:cxnLst>
            <a:rect l="0" t="0" r="r" b="b"/>
            <a:pathLst>
              <a:path w="21600" h="21600" extrusionOk="0">
                <a:moveTo>
                  <a:pt x="1207" y="0"/>
                </a:moveTo>
                <a:cubicBezTo>
                  <a:pt x="12429" y="0"/>
                  <a:pt x="21600" y="1182"/>
                  <a:pt x="21600" y="2639"/>
                </a:cubicBezTo>
                <a:lnTo>
                  <a:pt x="21600" y="18961"/>
                </a:lnTo>
                <a:cubicBezTo>
                  <a:pt x="21600" y="20418"/>
                  <a:pt x="12429" y="21600"/>
                  <a:pt x="1207" y="21600"/>
                </a:cubicBezTo>
                <a:cubicBezTo>
                  <a:pt x="483" y="21600"/>
                  <a:pt x="0" y="21535"/>
                  <a:pt x="0" y="21438"/>
                </a:cubicBezTo>
                <a:cubicBezTo>
                  <a:pt x="0" y="21341"/>
                  <a:pt x="483" y="21276"/>
                  <a:pt x="1207" y="21276"/>
                </a:cubicBezTo>
                <a:cubicBezTo>
                  <a:pt x="11102" y="21276"/>
                  <a:pt x="19187" y="20224"/>
                  <a:pt x="19187" y="18945"/>
                </a:cubicBezTo>
                <a:lnTo>
                  <a:pt x="19187" y="2639"/>
                </a:lnTo>
                <a:cubicBezTo>
                  <a:pt x="19187" y="1360"/>
                  <a:pt x="11102" y="308"/>
                  <a:pt x="1207" y="308"/>
                </a:cubicBezTo>
                <a:cubicBezTo>
                  <a:pt x="483" y="308"/>
                  <a:pt x="0" y="243"/>
                  <a:pt x="0" y="146"/>
                </a:cubicBezTo>
                <a:cubicBezTo>
                  <a:pt x="0" y="49"/>
                  <a:pt x="483" y="0"/>
                  <a:pt x="1207" y="0"/>
                </a:cubicBezTo>
                <a:close/>
              </a:path>
            </a:pathLst>
          </a:custGeom>
          <a:solidFill>
            <a:schemeClr val="accent6"/>
          </a:solidFill>
          <a:ln w="12700">
            <a:miter lim="400000"/>
          </a:ln>
        </p:spPr>
        <p:txBody>
          <a:bodyPr lIns="28575" tIns="28575" rIns="28575" bIns="28575" anchor="ctr"/>
          <a:lstStyle/>
          <a:p>
            <a:pPr>
              <a:defRPr sz="3000">
                <a:solidFill>
                  <a:srgbClr val="FFFFFF"/>
                </a:solidFill>
              </a:defRPr>
            </a:pPr>
            <a:endParaRPr sz="2400"/>
          </a:p>
        </p:txBody>
      </p:sp>
      <p:sp>
        <p:nvSpPr>
          <p:cNvPr id="24" name="Shape">
            <a:extLst>
              <a:ext uri="{FF2B5EF4-FFF2-40B4-BE49-F238E27FC236}">
                <a16:creationId xmlns:a16="http://schemas.microsoft.com/office/drawing/2014/main" id="{746EC148-65AD-3157-B295-8BDE59AC32E1}"/>
              </a:ext>
            </a:extLst>
          </p:cNvPr>
          <p:cNvSpPr/>
          <p:nvPr/>
        </p:nvSpPr>
        <p:spPr>
          <a:xfrm>
            <a:off x="616574" y="4306161"/>
            <a:ext cx="206481" cy="1537651"/>
          </a:xfrm>
          <a:custGeom>
            <a:avLst/>
            <a:gdLst/>
            <a:ahLst/>
            <a:cxnLst>
              <a:cxn ang="0">
                <a:pos x="wd2" y="hd2"/>
              </a:cxn>
              <a:cxn ang="5400000">
                <a:pos x="wd2" y="hd2"/>
              </a:cxn>
              <a:cxn ang="10800000">
                <a:pos x="wd2" y="hd2"/>
              </a:cxn>
              <a:cxn ang="16200000">
                <a:pos x="wd2" y="hd2"/>
              </a:cxn>
            </a:cxnLst>
            <a:rect l="0" t="0" r="r" b="b"/>
            <a:pathLst>
              <a:path w="21600" h="21600" extrusionOk="0">
                <a:moveTo>
                  <a:pt x="20393" y="21600"/>
                </a:moveTo>
                <a:cubicBezTo>
                  <a:pt x="9171" y="21600"/>
                  <a:pt x="0" y="20417"/>
                  <a:pt x="0" y="18959"/>
                </a:cubicBezTo>
                <a:lnTo>
                  <a:pt x="0" y="2641"/>
                </a:lnTo>
                <a:cubicBezTo>
                  <a:pt x="0" y="1183"/>
                  <a:pt x="9171" y="0"/>
                  <a:pt x="20393" y="0"/>
                </a:cubicBezTo>
                <a:cubicBezTo>
                  <a:pt x="21117" y="0"/>
                  <a:pt x="21600" y="65"/>
                  <a:pt x="21600" y="162"/>
                </a:cubicBezTo>
                <a:cubicBezTo>
                  <a:pt x="21600" y="243"/>
                  <a:pt x="21117" y="324"/>
                  <a:pt x="20393" y="324"/>
                </a:cubicBezTo>
                <a:cubicBezTo>
                  <a:pt x="10498" y="324"/>
                  <a:pt x="2413" y="1377"/>
                  <a:pt x="2413" y="2657"/>
                </a:cubicBezTo>
                <a:lnTo>
                  <a:pt x="2413" y="18975"/>
                </a:lnTo>
                <a:cubicBezTo>
                  <a:pt x="2413" y="20255"/>
                  <a:pt x="10498" y="21308"/>
                  <a:pt x="20393" y="21308"/>
                </a:cubicBezTo>
                <a:cubicBezTo>
                  <a:pt x="21117" y="21308"/>
                  <a:pt x="21600" y="21373"/>
                  <a:pt x="21600" y="21470"/>
                </a:cubicBezTo>
                <a:cubicBezTo>
                  <a:pt x="21600" y="21535"/>
                  <a:pt x="21117" y="21600"/>
                  <a:pt x="20393" y="21600"/>
                </a:cubicBezTo>
                <a:close/>
              </a:path>
            </a:pathLst>
          </a:custGeom>
          <a:solidFill>
            <a:schemeClr val="accent2"/>
          </a:solidFill>
          <a:ln w="12700">
            <a:miter lim="400000"/>
          </a:ln>
        </p:spPr>
        <p:txBody>
          <a:bodyPr lIns="28575" tIns="28575" rIns="28575" bIns="28575" anchor="ctr"/>
          <a:lstStyle/>
          <a:p>
            <a:pPr>
              <a:defRPr sz="3000">
                <a:solidFill>
                  <a:srgbClr val="FFFFFF"/>
                </a:solidFill>
              </a:defRPr>
            </a:pPr>
            <a:endParaRPr sz="2400"/>
          </a:p>
        </p:txBody>
      </p:sp>
      <p:sp>
        <p:nvSpPr>
          <p:cNvPr id="29" name="Shape">
            <a:extLst>
              <a:ext uri="{FF2B5EF4-FFF2-40B4-BE49-F238E27FC236}">
                <a16:creationId xmlns:a16="http://schemas.microsoft.com/office/drawing/2014/main" id="{C0E65F31-B92F-CBBE-657A-AD75E495377B}"/>
              </a:ext>
            </a:extLst>
          </p:cNvPr>
          <p:cNvSpPr/>
          <p:nvPr/>
        </p:nvSpPr>
        <p:spPr>
          <a:xfrm>
            <a:off x="616573" y="2309101"/>
            <a:ext cx="206481" cy="1537651"/>
          </a:xfrm>
          <a:custGeom>
            <a:avLst/>
            <a:gdLst/>
            <a:ahLst/>
            <a:cxnLst>
              <a:cxn ang="0">
                <a:pos x="wd2" y="hd2"/>
              </a:cxn>
              <a:cxn ang="5400000">
                <a:pos x="wd2" y="hd2"/>
              </a:cxn>
              <a:cxn ang="10800000">
                <a:pos x="wd2" y="hd2"/>
              </a:cxn>
              <a:cxn ang="16200000">
                <a:pos x="wd2" y="hd2"/>
              </a:cxn>
            </a:cxnLst>
            <a:rect l="0" t="0" r="r" b="b"/>
            <a:pathLst>
              <a:path w="21600" h="21600" extrusionOk="0">
                <a:moveTo>
                  <a:pt x="20393" y="21600"/>
                </a:moveTo>
                <a:cubicBezTo>
                  <a:pt x="9171" y="21600"/>
                  <a:pt x="0" y="20417"/>
                  <a:pt x="0" y="18959"/>
                </a:cubicBezTo>
                <a:lnTo>
                  <a:pt x="0" y="2641"/>
                </a:lnTo>
                <a:cubicBezTo>
                  <a:pt x="0" y="1183"/>
                  <a:pt x="9171" y="0"/>
                  <a:pt x="20393" y="0"/>
                </a:cubicBezTo>
                <a:cubicBezTo>
                  <a:pt x="21117" y="0"/>
                  <a:pt x="21600" y="65"/>
                  <a:pt x="21600" y="162"/>
                </a:cubicBezTo>
                <a:cubicBezTo>
                  <a:pt x="21600" y="243"/>
                  <a:pt x="21117" y="324"/>
                  <a:pt x="20393" y="324"/>
                </a:cubicBezTo>
                <a:cubicBezTo>
                  <a:pt x="10498" y="324"/>
                  <a:pt x="2413" y="1377"/>
                  <a:pt x="2413" y="2657"/>
                </a:cubicBezTo>
                <a:lnTo>
                  <a:pt x="2413" y="18975"/>
                </a:lnTo>
                <a:cubicBezTo>
                  <a:pt x="2413" y="20255"/>
                  <a:pt x="10498" y="21308"/>
                  <a:pt x="20393" y="21308"/>
                </a:cubicBezTo>
                <a:cubicBezTo>
                  <a:pt x="21117" y="21308"/>
                  <a:pt x="21600" y="21373"/>
                  <a:pt x="21600" y="21470"/>
                </a:cubicBezTo>
                <a:cubicBezTo>
                  <a:pt x="21600" y="21535"/>
                  <a:pt x="21117" y="21600"/>
                  <a:pt x="20393" y="21600"/>
                </a:cubicBezTo>
                <a:close/>
              </a:path>
            </a:pathLst>
          </a:custGeom>
          <a:solidFill>
            <a:schemeClr val="accent3"/>
          </a:solidFill>
          <a:ln w="12700">
            <a:miter lim="400000"/>
          </a:ln>
        </p:spPr>
        <p:txBody>
          <a:bodyPr lIns="28575" tIns="28575" rIns="28575" bIns="28575" anchor="ctr"/>
          <a:lstStyle/>
          <a:p>
            <a:pPr>
              <a:defRPr sz="3000">
                <a:solidFill>
                  <a:srgbClr val="FFFFFF"/>
                </a:solidFill>
              </a:defRPr>
            </a:pPr>
            <a:endParaRPr sz="2400"/>
          </a:p>
        </p:txBody>
      </p:sp>
      <p:pic>
        <p:nvPicPr>
          <p:cNvPr id="30" name="Picture 29" descr="A screenshot of a computer&#10;&#10;Description automatically generated">
            <a:extLst>
              <a:ext uri="{FF2B5EF4-FFF2-40B4-BE49-F238E27FC236}">
                <a16:creationId xmlns:a16="http://schemas.microsoft.com/office/drawing/2014/main" id="{E739F72A-A33C-B17A-787E-A180CBBACFEC}"/>
              </a:ext>
            </a:extLst>
          </p:cNvPr>
          <p:cNvPicPr>
            <a:picLocks noChangeAspect="1"/>
          </p:cNvPicPr>
          <p:nvPr/>
        </p:nvPicPr>
        <p:blipFill>
          <a:blip r:embed="rId7"/>
          <a:stretch>
            <a:fillRect/>
          </a:stretch>
        </p:blipFill>
        <p:spPr>
          <a:xfrm>
            <a:off x="6410497" y="1216264"/>
            <a:ext cx="5315389" cy="1901355"/>
          </a:xfrm>
          <a:prstGeom prst="rect">
            <a:avLst/>
          </a:prstGeom>
        </p:spPr>
      </p:pic>
      <p:pic>
        <p:nvPicPr>
          <p:cNvPr id="31" name="Picture 30" descr="A graph of data with orange and blue bars&#10;&#10;Description automatically generated">
            <a:extLst>
              <a:ext uri="{FF2B5EF4-FFF2-40B4-BE49-F238E27FC236}">
                <a16:creationId xmlns:a16="http://schemas.microsoft.com/office/drawing/2014/main" id="{1E47806D-68EC-FE66-884D-81672B8FFD4F}"/>
              </a:ext>
            </a:extLst>
          </p:cNvPr>
          <p:cNvPicPr>
            <a:picLocks noChangeAspect="1"/>
          </p:cNvPicPr>
          <p:nvPr/>
        </p:nvPicPr>
        <p:blipFill>
          <a:blip r:embed="rId8"/>
          <a:stretch>
            <a:fillRect/>
          </a:stretch>
        </p:blipFill>
        <p:spPr>
          <a:xfrm>
            <a:off x="6405555" y="3125293"/>
            <a:ext cx="5301200" cy="2581240"/>
          </a:xfrm>
          <a:prstGeom prst="rect">
            <a:avLst/>
          </a:prstGeom>
        </p:spPr>
      </p:pic>
      <mc:AlternateContent xmlns:mc="http://schemas.openxmlformats.org/markup-compatibility/2006" xmlns:p14="http://schemas.microsoft.com/office/powerpoint/2010/main">
        <mc:Choice Requires="p14">
          <p:contentPart p14:bwMode="auto" r:id="rId9">
            <p14:nvContentPartPr>
              <p14:cNvPr id="33" name="Ink 32">
                <a:extLst>
                  <a:ext uri="{FF2B5EF4-FFF2-40B4-BE49-F238E27FC236}">
                    <a16:creationId xmlns:a16="http://schemas.microsoft.com/office/drawing/2014/main" id="{8874C889-2228-380D-3780-E325884BFC73}"/>
                  </a:ext>
                </a:extLst>
              </p14:cNvPr>
              <p14:cNvContentPartPr/>
              <p14:nvPr/>
            </p14:nvContentPartPr>
            <p14:xfrm>
              <a:off x="10540840" y="1405080"/>
              <a:ext cx="347040" cy="360"/>
            </p14:xfrm>
          </p:contentPart>
        </mc:Choice>
        <mc:Fallback xmlns="">
          <p:pic>
            <p:nvPicPr>
              <p:cNvPr id="33" name="Ink 32">
                <a:extLst>
                  <a:ext uri="{FF2B5EF4-FFF2-40B4-BE49-F238E27FC236}">
                    <a16:creationId xmlns:a16="http://schemas.microsoft.com/office/drawing/2014/main" id="{8874C889-2228-380D-3780-E325884BFC73}"/>
                  </a:ext>
                </a:extLst>
              </p:cNvPr>
              <p:cNvPicPr/>
              <p:nvPr/>
            </p:nvPicPr>
            <p:blipFill>
              <a:blip r:embed="rId10"/>
              <a:stretch>
                <a:fillRect/>
              </a:stretch>
            </p:blipFill>
            <p:spPr>
              <a:xfrm>
                <a:off x="10486840" y="1297080"/>
                <a:ext cx="45468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34" name="Ink 33">
                <a:extLst>
                  <a:ext uri="{FF2B5EF4-FFF2-40B4-BE49-F238E27FC236}">
                    <a16:creationId xmlns:a16="http://schemas.microsoft.com/office/drawing/2014/main" id="{1F35A215-FEA0-DFF6-DC9F-46DBB4148332}"/>
                  </a:ext>
                </a:extLst>
              </p14:cNvPr>
              <p14:cNvContentPartPr/>
              <p14:nvPr/>
            </p14:nvContentPartPr>
            <p14:xfrm>
              <a:off x="10049800" y="1413720"/>
              <a:ext cx="185400" cy="360"/>
            </p14:xfrm>
          </p:contentPart>
        </mc:Choice>
        <mc:Fallback xmlns="">
          <p:pic>
            <p:nvPicPr>
              <p:cNvPr id="34" name="Ink 33">
                <a:extLst>
                  <a:ext uri="{FF2B5EF4-FFF2-40B4-BE49-F238E27FC236}">
                    <a16:creationId xmlns:a16="http://schemas.microsoft.com/office/drawing/2014/main" id="{1F35A215-FEA0-DFF6-DC9F-46DBB4148332}"/>
                  </a:ext>
                </a:extLst>
              </p:cNvPr>
              <p:cNvPicPr/>
              <p:nvPr/>
            </p:nvPicPr>
            <p:blipFill>
              <a:blip r:embed="rId12"/>
              <a:stretch>
                <a:fillRect/>
              </a:stretch>
            </p:blipFill>
            <p:spPr>
              <a:xfrm>
                <a:off x="9995800" y="1305720"/>
                <a:ext cx="29304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35" name="Ink 34">
                <a:extLst>
                  <a:ext uri="{FF2B5EF4-FFF2-40B4-BE49-F238E27FC236}">
                    <a16:creationId xmlns:a16="http://schemas.microsoft.com/office/drawing/2014/main" id="{6C917429-BC4E-C0D2-37AE-BCC18BD659FD}"/>
                  </a:ext>
                </a:extLst>
              </p14:cNvPr>
              <p14:cNvContentPartPr/>
              <p14:nvPr/>
            </p14:nvContentPartPr>
            <p14:xfrm>
              <a:off x="8898520" y="1352880"/>
              <a:ext cx="398880" cy="24120"/>
            </p14:xfrm>
          </p:contentPart>
        </mc:Choice>
        <mc:Fallback xmlns="">
          <p:pic>
            <p:nvPicPr>
              <p:cNvPr id="35" name="Ink 34">
                <a:extLst>
                  <a:ext uri="{FF2B5EF4-FFF2-40B4-BE49-F238E27FC236}">
                    <a16:creationId xmlns:a16="http://schemas.microsoft.com/office/drawing/2014/main" id="{6C917429-BC4E-C0D2-37AE-BCC18BD659FD}"/>
                  </a:ext>
                </a:extLst>
              </p:cNvPr>
              <p:cNvPicPr/>
              <p:nvPr/>
            </p:nvPicPr>
            <p:blipFill>
              <a:blip r:embed="rId14"/>
              <a:stretch>
                <a:fillRect/>
              </a:stretch>
            </p:blipFill>
            <p:spPr>
              <a:xfrm>
                <a:off x="8844520" y="1244880"/>
                <a:ext cx="506520" cy="23976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37" name="Ink 36">
                <a:extLst>
                  <a:ext uri="{FF2B5EF4-FFF2-40B4-BE49-F238E27FC236}">
                    <a16:creationId xmlns:a16="http://schemas.microsoft.com/office/drawing/2014/main" id="{C7F87780-462D-7625-FF15-04E72A4555B3}"/>
                  </a:ext>
                </a:extLst>
              </p14:cNvPr>
              <p14:cNvContentPartPr/>
              <p14:nvPr/>
            </p14:nvContentPartPr>
            <p14:xfrm>
              <a:off x="8915080" y="1616400"/>
              <a:ext cx="930960" cy="9360"/>
            </p14:xfrm>
          </p:contentPart>
        </mc:Choice>
        <mc:Fallback xmlns="">
          <p:pic>
            <p:nvPicPr>
              <p:cNvPr id="37" name="Ink 36">
                <a:extLst>
                  <a:ext uri="{FF2B5EF4-FFF2-40B4-BE49-F238E27FC236}">
                    <a16:creationId xmlns:a16="http://schemas.microsoft.com/office/drawing/2014/main" id="{C7F87780-462D-7625-FF15-04E72A4555B3}"/>
                  </a:ext>
                </a:extLst>
              </p:cNvPr>
              <p:cNvPicPr/>
              <p:nvPr/>
            </p:nvPicPr>
            <p:blipFill>
              <a:blip r:embed="rId16"/>
              <a:stretch>
                <a:fillRect/>
              </a:stretch>
            </p:blipFill>
            <p:spPr>
              <a:xfrm>
                <a:off x="8861080" y="1504080"/>
                <a:ext cx="1038600" cy="233626"/>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38" name="Ink 37">
                <a:extLst>
                  <a:ext uri="{FF2B5EF4-FFF2-40B4-BE49-F238E27FC236}">
                    <a16:creationId xmlns:a16="http://schemas.microsoft.com/office/drawing/2014/main" id="{1D2FE2BA-7D33-BF95-C1F2-011D0B8B4475}"/>
                  </a:ext>
                </a:extLst>
              </p14:cNvPr>
              <p14:cNvContentPartPr/>
              <p14:nvPr/>
            </p14:nvContentPartPr>
            <p14:xfrm>
              <a:off x="8898520" y="2716560"/>
              <a:ext cx="978480" cy="61560"/>
            </p14:xfrm>
          </p:contentPart>
        </mc:Choice>
        <mc:Fallback xmlns="">
          <p:pic>
            <p:nvPicPr>
              <p:cNvPr id="38" name="Ink 37">
                <a:extLst>
                  <a:ext uri="{FF2B5EF4-FFF2-40B4-BE49-F238E27FC236}">
                    <a16:creationId xmlns:a16="http://schemas.microsoft.com/office/drawing/2014/main" id="{1D2FE2BA-7D33-BF95-C1F2-011D0B8B4475}"/>
                  </a:ext>
                </a:extLst>
              </p:cNvPr>
              <p:cNvPicPr/>
              <p:nvPr/>
            </p:nvPicPr>
            <p:blipFill>
              <a:blip r:embed="rId18"/>
              <a:stretch>
                <a:fillRect/>
              </a:stretch>
            </p:blipFill>
            <p:spPr>
              <a:xfrm>
                <a:off x="8844520" y="2607925"/>
                <a:ext cx="1086120" cy="278468"/>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41" name="Ink 40">
                <a:extLst>
                  <a:ext uri="{FF2B5EF4-FFF2-40B4-BE49-F238E27FC236}">
                    <a16:creationId xmlns:a16="http://schemas.microsoft.com/office/drawing/2014/main" id="{2EECD8B0-BF33-3990-CD65-C169E2765E20}"/>
                  </a:ext>
                </a:extLst>
              </p14:cNvPr>
              <p14:cNvContentPartPr/>
              <p14:nvPr/>
            </p14:nvContentPartPr>
            <p14:xfrm>
              <a:off x="8889880" y="1971720"/>
              <a:ext cx="327600" cy="43200"/>
            </p14:xfrm>
          </p:contentPart>
        </mc:Choice>
        <mc:Fallback xmlns="">
          <p:pic>
            <p:nvPicPr>
              <p:cNvPr id="41" name="Ink 40">
                <a:extLst>
                  <a:ext uri="{FF2B5EF4-FFF2-40B4-BE49-F238E27FC236}">
                    <a16:creationId xmlns:a16="http://schemas.microsoft.com/office/drawing/2014/main" id="{2EECD8B0-BF33-3990-CD65-C169E2765E20}"/>
                  </a:ext>
                </a:extLst>
              </p:cNvPr>
              <p:cNvPicPr/>
              <p:nvPr/>
            </p:nvPicPr>
            <p:blipFill>
              <a:blip r:embed="rId20"/>
              <a:stretch>
                <a:fillRect/>
              </a:stretch>
            </p:blipFill>
            <p:spPr>
              <a:xfrm>
                <a:off x="8835880" y="1864613"/>
                <a:ext cx="435240" cy="257058"/>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46" name="Ink 45">
                <a:extLst>
                  <a:ext uri="{FF2B5EF4-FFF2-40B4-BE49-F238E27FC236}">
                    <a16:creationId xmlns:a16="http://schemas.microsoft.com/office/drawing/2014/main" id="{E9F4B8CD-59AD-6E92-6C14-179F60F30A8C}"/>
                  </a:ext>
                </a:extLst>
              </p14:cNvPr>
              <p14:cNvContentPartPr/>
              <p14:nvPr/>
            </p14:nvContentPartPr>
            <p14:xfrm>
              <a:off x="8906440" y="2175480"/>
              <a:ext cx="205920" cy="69120"/>
            </p14:xfrm>
          </p:contentPart>
        </mc:Choice>
        <mc:Fallback xmlns="">
          <p:pic>
            <p:nvPicPr>
              <p:cNvPr id="46" name="Ink 45">
                <a:extLst>
                  <a:ext uri="{FF2B5EF4-FFF2-40B4-BE49-F238E27FC236}">
                    <a16:creationId xmlns:a16="http://schemas.microsoft.com/office/drawing/2014/main" id="{E9F4B8CD-59AD-6E92-6C14-179F60F30A8C}"/>
                  </a:ext>
                </a:extLst>
              </p:cNvPr>
              <p:cNvPicPr/>
              <p:nvPr/>
            </p:nvPicPr>
            <p:blipFill>
              <a:blip r:embed="rId22"/>
              <a:stretch>
                <a:fillRect/>
              </a:stretch>
            </p:blipFill>
            <p:spPr>
              <a:xfrm>
                <a:off x="8852440" y="2067480"/>
                <a:ext cx="313560" cy="28476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47" name="Ink 46">
                <a:extLst>
                  <a:ext uri="{FF2B5EF4-FFF2-40B4-BE49-F238E27FC236}">
                    <a16:creationId xmlns:a16="http://schemas.microsoft.com/office/drawing/2014/main" id="{C552FA6D-670A-B959-62FB-4CBDF5839FC1}"/>
                  </a:ext>
                </a:extLst>
              </p14:cNvPr>
              <p14:cNvContentPartPr/>
              <p14:nvPr/>
            </p14:nvContentPartPr>
            <p14:xfrm>
              <a:off x="8889880" y="2369880"/>
              <a:ext cx="344880" cy="9000"/>
            </p14:xfrm>
          </p:contentPart>
        </mc:Choice>
        <mc:Fallback xmlns="">
          <p:pic>
            <p:nvPicPr>
              <p:cNvPr id="47" name="Ink 46">
                <a:extLst>
                  <a:ext uri="{FF2B5EF4-FFF2-40B4-BE49-F238E27FC236}">
                    <a16:creationId xmlns:a16="http://schemas.microsoft.com/office/drawing/2014/main" id="{C552FA6D-670A-B959-62FB-4CBDF5839FC1}"/>
                  </a:ext>
                </a:extLst>
              </p:cNvPr>
              <p:cNvPicPr/>
              <p:nvPr/>
            </p:nvPicPr>
            <p:blipFill>
              <a:blip r:embed="rId24"/>
              <a:stretch>
                <a:fillRect/>
              </a:stretch>
            </p:blipFill>
            <p:spPr>
              <a:xfrm>
                <a:off x="8835936" y="2257380"/>
                <a:ext cx="452408" cy="233625"/>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48" name="Ink 47">
                <a:extLst>
                  <a:ext uri="{FF2B5EF4-FFF2-40B4-BE49-F238E27FC236}">
                    <a16:creationId xmlns:a16="http://schemas.microsoft.com/office/drawing/2014/main" id="{FBFB773B-D485-31BE-48EC-94B5A6472545}"/>
                  </a:ext>
                </a:extLst>
              </p14:cNvPr>
              <p14:cNvContentPartPr/>
              <p14:nvPr/>
            </p14:nvContentPartPr>
            <p14:xfrm>
              <a:off x="10504480" y="2014560"/>
              <a:ext cx="144000" cy="360360"/>
            </p14:xfrm>
          </p:contentPart>
        </mc:Choice>
        <mc:Fallback xmlns="">
          <p:pic>
            <p:nvPicPr>
              <p:cNvPr id="48" name="Ink 47">
                <a:extLst>
                  <a:ext uri="{FF2B5EF4-FFF2-40B4-BE49-F238E27FC236}">
                    <a16:creationId xmlns:a16="http://schemas.microsoft.com/office/drawing/2014/main" id="{FBFB773B-D485-31BE-48EC-94B5A6472545}"/>
                  </a:ext>
                </a:extLst>
              </p:cNvPr>
              <p:cNvPicPr/>
              <p:nvPr/>
            </p:nvPicPr>
            <p:blipFill>
              <a:blip r:embed="rId26"/>
              <a:stretch>
                <a:fillRect/>
              </a:stretch>
            </p:blipFill>
            <p:spPr>
              <a:xfrm>
                <a:off x="10450345" y="1906452"/>
                <a:ext cx="251910" cy="576216"/>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51" name="Ink 50">
                <a:extLst>
                  <a:ext uri="{FF2B5EF4-FFF2-40B4-BE49-F238E27FC236}">
                    <a16:creationId xmlns:a16="http://schemas.microsoft.com/office/drawing/2014/main" id="{C47C0B1A-CE07-5937-427B-0AB3DEEDE525}"/>
                  </a:ext>
                </a:extLst>
              </p14:cNvPr>
              <p14:cNvContentPartPr/>
              <p14:nvPr/>
            </p14:nvContentPartPr>
            <p14:xfrm>
              <a:off x="10490080" y="1625400"/>
              <a:ext cx="477000" cy="13680"/>
            </p14:xfrm>
          </p:contentPart>
        </mc:Choice>
        <mc:Fallback xmlns="">
          <p:pic>
            <p:nvPicPr>
              <p:cNvPr id="51" name="Ink 50">
                <a:extLst>
                  <a:ext uri="{FF2B5EF4-FFF2-40B4-BE49-F238E27FC236}">
                    <a16:creationId xmlns:a16="http://schemas.microsoft.com/office/drawing/2014/main" id="{C47C0B1A-CE07-5937-427B-0AB3DEEDE525}"/>
                  </a:ext>
                </a:extLst>
              </p:cNvPr>
              <p:cNvPicPr/>
              <p:nvPr/>
            </p:nvPicPr>
            <p:blipFill>
              <a:blip r:embed="rId28"/>
              <a:stretch>
                <a:fillRect/>
              </a:stretch>
            </p:blipFill>
            <p:spPr>
              <a:xfrm>
                <a:off x="10436080" y="1517400"/>
                <a:ext cx="584640" cy="22932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55" name="Ink 54">
                <a:extLst>
                  <a:ext uri="{FF2B5EF4-FFF2-40B4-BE49-F238E27FC236}">
                    <a16:creationId xmlns:a16="http://schemas.microsoft.com/office/drawing/2014/main" id="{8EDFE177-2576-E6A5-0689-95CF687A6D54}"/>
                  </a:ext>
                </a:extLst>
              </p14:cNvPr>
              <p14:cNvContentPartPr/>
              <p14:nvPr/>
            </p14:nvContentPartPr>
            <p14:xfrm>
              <a:off x="10507000" y="2784960"/>
              <a:ext cx="482040" cy="26280"/>
            </p14:xfrm>
          </p:contentPart>
        </mc:Choice>
        <mc:Fallback xmlns="">
          <p:pic>
            <p:nvPicPr>
              <p:cNvPr id="55" name="Ink 54">
                <a:extLst>
                  <a:ext uri="{FF2B5EF4-FFF2-40B4-BE49-F238E27FC236}">
                    <a16:creationId xmlns:a16="http://schemas.microsoft.com/office/drawing/2014/main" id="{8EDFE177-2576-E6A5-0689-95CF687A6D54}"/>
                  </a:ext>
                </a:extLst>
              </p:cNvPr>
              <p:cNvPicPr/>
              <p:nvPr/>
            </p:nvPicPr>
            <p:blipFill>
              <a:blip r:embed="rId30"/>
              <a:stretch>
                <a:fillRect/>
              </a:stretch>
            </p:blipFill>
            <p:spPr>
              <a:xfrm>
                <a:off x="10453040" y="2676960"/>
                <a:ext cx="589600" cy="241920"/>
              </a:xfrm>
              <a:prstGeom prst="rect">
                <a:avLst/>
              </a:prstGeom>
            </p:spPr>
          </p:pic>
        </mc:Fallback>
      </mc:AlternateContent>
      <p:sp>
        <p:nvSpPr>
          <p:cNvPr id="56" name="Rectangle: Rounded Corners 55">
            <a:extLst>
              <a:ext uri="{FF2B5EF4-FFF2-40B4-BE49-F238E27FC236}">
                <a16:creationId xmlns:a16="http://schemas.microsoft.com/office/drawing/2014/main" id="{B11849B5-97AC-CB3D-D9F8-616094E3AD4B}"/>
              </a:ext>
            </a:extLst>
          </p:cNvPr>
          <p:cNvSpPr/>
          <p:nvPr/>
        </p:nvSpPr>
        <p:spPr>
          <a:xfrm>
            <a:off x="1494298" y="5920452"/>
            <a:ext cx="941294" cy="368088"/>
          </a:xfrm>
          <a:prstGeom prst="roundRect">
            <a:avLst/>
          </a:prstGeom>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a:t>ADX</a:t>
            </a:r>
          </a:p>
        </p:txBody>
      </p:sp>
      <p:sp>
        <p:nvSpPr>
          <p:cNvPr id="57" name="Rectangle: Rounded Corners 56">
            <a:extLst>
              <a:ext uri="{FF2B5EF4-FFF2-40B4-BE49-F238E27FC236}">
                <a16:creationId xmlns:a16="http://schemas.microsoft.com/office/drawing/2014/main" id="{7ABDEF66-6BC0-15AD-23E6-551142FABC36}"/>
              </a:ext>
            </a:extLst>
          </p:cNvPr>
          <p:cNvSpPr/>
          <p:nvPr/>
        </p:nvSpPr>
        <p:spPr>
          <a:xfrm>
            <a:off x="2886583" y="5909783"/>
            <a:ext cx="941294" cy="368088"/>
          </a:xfrm>
          <a:prstGeom prst="round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200"/>
              <a:t>Azure AI Service</a:t>
            </a:r>
          </a:p>
        </p:txBody>
      </p:sp>
      <p:sp>
        <p:nvSpPr>
          <p:cNvPr id="58" name="Rectangle: Rounded Corners 57">
            <a:extLst>
              <a:ext uri="{FF2B5EF4-FFF2-40B4-BE49-F238E27FC236}">
                <a16:creationId xmlns:a16="http://schemas.microsoft.com/office/drawing/2014/main" id="{A9D19415-37F3-2C69-9DBE-E62E01821DF5}"/>
              </a:ext>
            </a:extLst>
          </p:cNvPr>
          <p:cNvSpPr/>
          <p:nvPr/>
        </p:nvSpPr>
        <p:spPr>
          <a:xfrm>
            <a:off x="4278868" y="5904905"/>
            <a:ext cx="941294" cy="368088"/>
          </a:xfrm>
          <a:prstGeom prst="roundRect">
            <a:avLst/>
          </a:prstGeom>
          <a:ln/>
        </p:spPr>
        <p:style>
          <a:lnRef idx="2">
            <a:schemeClr val="accent4"/>
          </a:lnRef>
          <a:fillRef idx="1">
            <a:schemeClr val="lt1"/>
          </a:fillRef>
          <a:effectRef idx="0">
            <a:schemeClr val="accent4"/>
          </a:effectRef>
          <a:fontRef idx="minor">
            <a:schemeClr val="dk1"/>
          </a:fontRef>
        </p:style>
        <p:txBody>
          <a:bodyPr lIns="0" tIns="0" rIns="0" bIns="0" rtlCol="0" anchor="ctr"/>
          <a:lstStyle/>
          <a:p>
            <a:pPr algn="ctr"/>
            <a:r>
              <a:rPr lang="en-US" sz="1200"/>
              <a:t>Text Analytics</a:t>
            </a:r>
          </a:p>
        </p:txBody>
      </p:sp>
      <p:sp>
        <p:nvSpPr>
          <p:cNvPr id="59" name="Rectangle: Rounded Corners 58">
            <a:extLst>
              <a:ext uri="{FF2B5EF4-FFF2-40B4-BE49-F238E27FC236}">
                <a16:creationId xmlns:a16="http://schemas.microsoft.com/office/drawing/2014/main" id="{0C1CB267-6765-3F0C-F39F-3C5934E62513}"/>
              </a:ext>
            </a:extLst>
          </p:cNvPr>
          <p:cNvSpPr/>
          <p:nvPr/>
        </p:nvSpPr>
        <p:spPr>
          <a:xfrm>
            <a:off x="5671153" y="5894208"/>
            <a:ext cx="941294" cy="368088"/>
          </a:xfrm>
          <a:prstGeom prst="roundRect">
            <a:avLst/>
          </a:prstGeom>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200"/>
              <a:t>Azure ML</a:t>
            </a:r>
          </a:p>
        </p:txBody>
      </p:sp>
      <p:sp>
        <p:nvSpPr>
          <p:cNvPr id="60" name="Rectangle: Rounded Corners 59">
            <a:extLst>
              <a:ext uri="{FF2B5EF4-FFF2-40B4-BE49-F238E27FC236}">
                <a16:creationId xmlns:a16="http://schemas.microsoft.com/office/drawing/2014/main" id="{7FF3FC95-6561-4CB3-7F07-16CF5429D439}"/>
              </a:ext>
            </a:extLst>
          </p:cNvPr>
          <p:cNvSpPr/>
          <p:nvPr/>
        </p:nvSpPr>
        <p:spPr>
          <a:xfrm>
            <a:off x="7065406" y="5890598"/>
            <a:ext cx="941294" cy="368088"/>
          </a:xfrm>
          <a:prstGeom prst="roundRect">
            <a:avLst/>
          </a:prstGeom>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r>
              <a:rPr lang="en-US" sz="1200"/>
              <a:t>K means</a:t>
            </a:r>
          </a:p>
        </p:txBody>
      </p:sp>
      <p:sp>
        <p:nvSpPr>
          <p:cNvPr id="61" name="Rectangle: Rounded Corners 60">
            <a:extLst>
              <a:ext uri="{FF2B5EF4-FFF2-40B4-BE49-F238E27FC236}">
                <a16:creationId xmlns:a16="http://schemas.microsoft.com/office/drawing/2014/main" id="{5CDB56D9-FB15-9A83-02D6-18C656C9F13C}"/>
              </a:ext>
            </a:extLst>
          </p:cNvPr>
          <p:cNvSpPr/>
          <p:nvPr/>
        </p:nvSpPr>
        <p:spPr>
          <a:xfrm>
            <a:off x="8455723" y="5890598"/>
            <a:ext cx="941294" cy="368088"/>
          </a:xfrm>
          <a:prstGeom prst="roundRect">
            <a:avLst/>
          </a:prstGeom>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a:t>ADX</a:t>
            </a:r>
          </a:p>
        </p:txBody>
      </p:sp>
      <p:cxnSp>
        <p:nvCxnSpPr>
          <p:cNvPr id="63" name="Straight Arrow Connector 62">
            <a:extLst>
              <a:ext uri="{FF2B5EF4-FFF2-40B4-BE49-F238E27FC236}">
                <a16:creationId xmlns:a16="http://schemas.microsoft.com/office/drawing/2014/main" id="{73E4C792-64F4-B5C3-4657-FD9C0BF901F4}"/>
              </a:ext>
            </a:extLst>
          </p:cNvPr>
          <p:cNvCxnSpPr>
            <a:stCxn id="56" idx="3"/>
            <a:endCxn id="57" idx="1"/>
          </p:cNvCxnSpPr>
          <p:nvPr/>
        </p:nvCxnSpPr>
        <p:spPr>
          <a:xfrm flipV="1">
            <a:off x="2435592" y="6093827"/>
            <a:ext cx="450991" cy="10669"/>
          </a:xfrm>
          <a:prstGeom prst="straightConnector1">
            <a:avLst/>
          </a:prstGeom>
          <a:noFill/>
          <a:ln w="9525" cap="flat" cmpd="sng">
            <a:solidFill>
              <a:schemeClr val="tx1"/>
            </a:solidFill>
            <a:prstDash val="solid"/>
            <a:round/>
            <a:headEnd type="none" w="med" len="med"/>
            <a:tailEnd type="triangle"/>
          </a:ln>
        </p:spPr>
      </p:cxnSp>
      <p:cxnSp>
        <p:nvCxnSpPr>
          <p:cNvPr id="449" name="Straight Arrow Connector 448">
            <a:extLst>
              <a:ext uri="{FF2B5EF4-FFF2-40B4-BE49-F238E27FC236}">
                <a16:creationId xmlns:a16="http://schemas.microsoft.com/office/drawing/2014/main" id="{96CB020C-BCC8-6D39-D436-1842DBE1521D}"/>
              </a:ext>
            </a:extLst>
          </p:cNvPr>
          <p:cNvCxnSpPr>
            <a:stCxn id="57" idx="3"/>
            <a:endCxn id="58" idx="1"/>
          </p:cNvCxnSpPr>
          <p:nvPr/>
        </p:nvCxnSpPr>
        <p:spPr>
          <a:xfrm flipV="1">
            <a:off x="3827877" y="6088949"/>
            <a:ext cx="450991" cy="4878"/>
          </a:xfrm>
          <a:prstGeom prst="straightConnector1">
            <a:avLst/>
          </a:prstGeom>
          <a:noFill/>
          <a:ln w="9525" cap="flat" cmpd="sng">
            <a:solidFill>
              <a:schemeClr val="tx1"/>
            </a:solidFill>
            <a:prstDash val="solid"/>
            <a:round/>
            <a:headEnd type="none" w="med" len="med"/>
            <a:tailEnd type="triangle"/>
          </a:ln>
        </p:spPr>
      </p:cxnSp>
      <p:cxnSp>
        <p:nvCxnSpPr>
          <p:cNvPr id="451" name="Straight Arrow Connector 450">
            <a:extLst>
              <a:ext uri="{FF2B5EF4-FFF2-40B4-BE49-F238E27FC236}">
                <a16:creationId xmlns:a16="http://schemas.microsoft.com/office/drawing/2014/main" id="{DC080A37-F41A-A8A8-DC79-38D3AC7F6A4A}"/>
              </a:ext>
            </a:extLst>
          </p:cNvPr>
          <p:cNvCxnSpPr>
            <a:stCxn id="58" idx="3"/>
            <a:endCxn id="59" idx="1"/>
          </p:cNvCxnSpPr>
          <p:nvPr/>
        </p:nvCxnSpPr>
        <p:spPr>
          <a:xfrm flipV="1">
            <a:off x="5220162" y="6078252"/>
            <a:ext cx="450991" cy="10697"/>
          </a:xfrm>
          <a:prstGeom prst="straightConnector1">
            <a:avLst/>
          </a:prstGeom>
          <a:noFill/>
          <a:ln w="9525" cap="flat" cmpd="sng">
            <a:solidFill>
              <a:schemeClr val="tx1"/>
            </a:solidFill>
            <a:prstDash val="solid"/>
            <a:round/>
            <a:headEnd type="none" w="med" len="med"/>
            <a:tailEnd type="triangle"/>
          </a:ln>
        </p:spPr>
      </p:cxnSp>
      <p:cxnSp>
        <p:nvCxnSpPr>
          <p:cNvPr id="453" name="Straight Arrow Connector 452">
            <a:extLst>
              <a:ext uri="{FF2B5EF4-FFF2-40B4-BE49-F238E27FC236}">
                <a16:creationId xmlns:a16="http://schemas.microsoft.com/office/drawing/2014/main" id="{7FC86BB1-1358-5737-B58B-E7C35D22E4B4}"/>
              </a:ext>
            </a:extLst>
          </p:cNvPr>
          <p:cNvCxnSpPr>
            <a:stCxn id="59" idx="3"/>
            <a:endCxn id="60" idx="1"/>
          </p:cNvCxnSpPr>
          <p:nvPr/>
        </p:nvCxnSpPr>
        <p:spPr>
          <a:xfrm flipV="1">
            <a:off x="6612447" y="6074642"/>
            <a:ext cx="452959" cy="3610"/>
          </a:xfrm>
          <a:prstGeom prst="straightConnector1">
            <a:avLst/>
          </a:prstGeom>
          <a:noFill/>
          <a:ln w="9525" cap="flat" cmpd="sng">
            <a:solidFill>
              <a:schemeClr val="tx1"/>
            </a:solidFill>
            <a:prstDash val="solid"/>
            <a:round/>
            <a:headEnd type="none" w="med" len="med"/>
            <a:tailEnd type="triangle"/>
          </a:ln>
        </p:spPr>
      </p:cxnSp>
      <p:cxnSp>
        <p:nvCxnSpPr>
          <p:cNvPr id="455" name="Straight Arrow Connector 454">
            <a:extLst>
              <a:ext uri="{FF2B5EF4-FFF2-40B4-BE49-F238E27FC236}">
                <a16:creationId xmlns:a16="http://schemas.microsoft.com/office/drawing/2014/main" id="{7AF622A8-FD62-C678-3783-5EFF4D57802F}"/>
              </a:ext>
            </a:extLst>
          </p:cNvPr>
          <p:cNvCxnSpPr>
            <a:stCxn id="60" idx="3"/>
            <a:endCxn id="61" idx="1"/>
          </p:cNvCxnSpPr>
          <p:nvPr/>
        </p:nvCxnSpPr>
        <p:spPr>
          <a:xfrm>
            <a:off x="8006700" y="6074642"/>
            <a:ext cx="449023" cy="0"/>
          </a:xfrm>
          <a:prstGeom prst="straightConnector1">
            <a:avLst/>
          </a:prstGeom>
          <a:noFill/>
          <a:ln w="9525" cap="flat" cmpd="sng">
            <a:solidFill>
              <a:schemeClr val="tx1"/>
            </a:solidFill>
            <a:prstDash val="solid"/>
            <a:round/>
            <a:headEnd type="none" w="med" len="med"/>
            <a:tailEnd type="triangle"/>
          </a:ln>
        </p:spPr>
      </p:cxnSp>
      <p:sp>
        <p:nvSpPr>
          <p:cNvPr id="456" name="Rectangle: Rounded Corners 455">
            <a:extLst>
              <a:ext uri="{FF2B5EF4-FFF2-40B4-BE49-F238E27FC236}">
                <a16:creationId xmlns:a16="http://schemas.microsoft.com/office/drawing/2014/main" id="{BAF33C3F-A9E8-CB98-BB97-457878029F70}"/>
              </a:ext>
            </a:extLst>
          </p:cNvPr>
          <p:cNvSpPr/>
          <p:nvPr/>
        </p:nvSpPr>
        <p:spPr>
          <a:xfrm>
            <a:off x="9846040" y="5890598"/>
            <a:ext cx="941294" cy="368088"/>
          </a:xfrm>
          <a:prstGeom prst="roundRect">
            <a:avLst/>
          </a:prstGeom>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r>
              <a:rPr lang="en-US" sz="1200"/>
              <a:t>Dashboard</a:t>
            </a:r>
          </a:p>
        </p:txBody>
      </p:sp>
      <p:cxnSp>
        <p:nvCxnSpPr>
          <p:cNvPr id="458" name="Straight Arrow Connector 457">
            <a:extLst>
              <a:ext uri="{FF2B5EF4-FFF2-40B4-BE49-F238E27FC236}">
                <a16:creationId xmlns:a16="http://schemas.microsoft.com/office/drawing/2014/main" id="{00C5B4D2-37BC-1FEF-92FA-58747B270E39}"/>
              </a:ext>
            </a:extLst>
          </p:cNvPr>
          <p:cNvCxnSpPr>
            <a:stCxn id="61" idx="3"/>
            <a:endCxn id="456" idx="1"/>
          </p:cNvCxnSpPr>
          <p:nvPr/>
        </p:nvCxnSpPr>
        <p:spPr>
          <a:xfrm>
            <a:off x="9397017" y="6074642"/>
            <a:ext cx="449023" cy="0"/>
          </a:xfrm>
          <a:prstGeom prst="straightConnector1">
            <a:avLst/>
          </a:prstGeom>
          <a:noFill/>
          <a:ln w="9525" cap="flat" cmpd="sng">
            <a:solidFill>
              <a:schemeClr val="tx1"/>
            </a:solidFill>
            <a:prstDash val="solid"/>
            <a:round/>
            <a:headEnd type="none" w="med" len="med"/>
            <a:tailEnd type="triangle"/>
          </a:ln>
        </p:spPr>
      </p:cxnSp>
    </p:spTree>
    <p:extLst>
      <p:ext uri="{BB962C8B-B14F-4D97-AF65-F5344CB8AC3E}">
        <p14:creationId xmlns:p14="http://schemas.microsoft.com/office/powerpoint/2010/main" val="40089842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01E76F1F-250A-088D-7ACC-9178E1B02C22}"/>
              </a:ext>
              <a:ext uri="{C183D7F6-B498-43B3-948B-1728B52AA6E4}">
                <adec:decorative xmlns:adec="http://schemas.microsoft.com/office/drawing/2017/decorative" val="1"/>
              </a:ext>
            </a:extLst>
          </p:cNvPr>
          <p:cNvCxnSpPr>
            <a:cxnSpLocks/>
          </p:cNvCxnSpPr>
          <p:nvPr/>
        </p:nvCxnSpPr>
        <p:spPr>
          <a:xfrm>
            <a:off x="488191" y="1088493"/>
            <a:ext cx="10761492"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sp>
        <p:nvSpPr>
          <p:cNvPr id="490" name="TextBox 489">
            <a:extLst>
              <a:ext uri="{FF2B5EF4-FFF2-40B4-BE49-F238E27FC236}">
                <a16:creationId xmlns:a16="http://schemas.microsoft.com/office/drawing/2014/main" id="{E62D3F79-CF65-530E-B249-C5A246299A14}"/>
              </a:ext>
            </a:extLst>
          </p:cNvPr>
          <p:cNvSpPr txBox="1"/>
          <p:nvPr/>
        </p:nvSpPr>
        <p:spPr>
          <a:xfrm>
            <a:off x="487179" y="543118"/>
            <a:ext cx="9843542" cy="492443"/>
          </a:xfrm>
          <a:prstGeom prst="rect">
            <a:avLst/>
          </a:prstGeom>
          <a:noFill/>
        </p:spPr>
        <p:txBody>
          <a:bodyPr wrap="square" lIns="91440" tIns="45720" rIns="91440" bIns="45720" anchor="t">
            <a:spAutoFit/>
          </a:bodyPr>
          <a:lstStyle/>
          <a:p>
            <a:r>
              <a:rPr lang="en-US" sz="2600" b="1" dirty="0">
                <a:solidFill>
                  <a:schemeClr val="tx1">
                    <a:lumMod val="75000"/>
                    <a:lumOff val="25000"/>
                  </a:schemeClr>
                </a:solidFill>
                <a:latin typeface="Montserrat"/>
              </a:rPr>
              <a:t>Log Categorization – Azure AI</a:t>
            </a:r>
            <a:endParaRPr lang="en-US" sz="2800" dirty="0">
              <a:solidFill>
                <a:schemeClr val="tx1">
                  <a:lumMod val="75000"/>
                  <a:lumOff val="25000"/>
                </a:schemeClr>
              </a:solidFill>
            </a:endParaRPr>
          </a:p>
        </p:txBody>
      </p:sp>
      <p:sp>
        <p:nvSpPr>
          <p:cNvPr id="25" name="TextBox 24">
            <a:extLst>
              <a:ext uri="{FF2B5EF4-FFF2-40B4-BE49-F238E27FC236}">
                <a16:creationId xmlns:a16="http://schemas.microsoft.com/office/drawing/2014/main" id="{7E0DF2E7-41C8-FDBE-7130-A981942093A2}"/>
              </a:ext>
            </a:extLst>
          </p:cNvPr>
          <p:cNvSpPr txBox="1"/>
          <p:nvPr/>
        </p:nvSpPr>
        <p:spPr>
          <a:xfrm>
            <a:off x="3461084" y="2217821"/>
            <a:ext cx="2743200" cy="67710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a:solidFill>
                  <a:srgbClr val="444444"/>
                </a:solidFill>
                <a:latin typeface="Calibri"/>
                <a:cs typeface="Arial"/>
              </a:rPr>
              <a:t>Logs are tagged only by severity levels (Error, Warning, Info)</a:t>
            </a:r>
          </a:p>
          <a:p>
            <a:pPr marL="228600" lvl="1" indent="-228600">
              <a:buFont typeface=""/>
              <a:buChar char="•"/>
            </a:pPr>
            <a:r>
              <a:rPr lang="en-US" sz="1100">
                <a:solidFill>
                  <a:srgbClr val="444444"/>
                </a:solidFill>
                <a:latin typeface="Calibri"/>
                <a:cs typeface="Arial"/>
              </a:rPr>
              <a:t>Lack of Context: No in-depth understanding of the impact or context of log messages</a:t>
            </a:r>
          </a:p>
        </p:txBody>
      </p:sp>
      <p:sp>
        <p:nvSpPr>
          <p:cNvPr id="26" name="TextBox 25">
            <a:extLst>
              <a:ext uri="{FF2B5EF4-FFF2-40B4-BE49-F238E27FC236}">
                <a16:creationId xmlns:a16="http://schemas.microsoft.com/office/drawing/2014/main" id="{3547A92D-7B1A-0239-B14F-1CB3FE025AAD}"/>
              </a:ext>
            </a:extLst>
          </p:cNvPr>
          <p:cNvSpPr txBox="1"/>
          <p:nvPr/>
        </p:nvSpPr>
        <p:spPr>
          <a:xfrm>
            <a:off x="563478" y="2969794"/>
            <a:ext cx="2743200" cy="118494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a:solidFill>
                  <a:srgbClr val="444444"/>
                </a:solidFill>
                <a:latin typeface="Calibri"/>
                <a:cs typeface="Arial"/>
              </a:rPr>
              <a:t>Azure Cognitive Service</a:t>
            </a:r>
          </a:p>
          <a:p>
            <a:pPr marL="228600" lvl="1" indent="-228600">
              <a:buFont typeface=""/>
              <a:buChar char="•"/>
            </a:pPr>
            <a:r>
              <a:rPr lang="en-US" sz="1100">
                <a:solidFill>
                  <a:srgbClr val="444444"/>
                </a:solidFill>
                <a:latin typeface="Calibri"/>
                <a:cs typeface="Arial"/>
              </a:rPr>
              <a:t>Implement custom log categories (e.g., Cache Error, Server Error, Connection Error)</a:t>
            </a:r>
          </a:p>
          <a:p>
            <a:pPr marL="228600" lvl="1" indent="-228600">
              <a:buFont typeface=""/>
              <a:buChar char="•"/>
            </a:pPr>
            <a:r>
              <a:rPr lang="en-US" sz="1100">
                <a:solidFill>
                  <a:srgbClr val="444444"/>
                </a:solidFill>
                <a:latin typeface="Calibri"/>
                <a:cs typeface="Arial"/>
              </a:rPr>
              <a:t>Analyze the specific content of log messages for enhanced categorization</a:t>
            </a:r>
          </a:p>
          <a:p>
            <a:pPr marL="228600" lvl="1" indent="-228600">
              <a:buFont typeface=""/>
              <a:buChar char="•"/>
            </a:pPr>
            <a:r>
              <a:rPr lang="en-US" sz="1100">
                <a:solidFill>
                  <a:srgbClr val="444444"/>
                </a:solidFill>
                <a:latin typeface="Calibri"/>
                <a:cs typeface="Arial"/>
              </a:rPr>
              <a:t>Tag logs based on these analyses for better context</a:t>
            </a:r>
          </a:p>
        </p:txBody>
      </p:sp>
      <p:sp>
        <p:nvSpPr>
          <p:cNvPr id="27" name="TextBox 26">
            <a:extLst>
              <a:ext uri="{FF2B5EF4-FFF2-40B4-BE49-F238E27FC236}">
                <a16:creationId xmlns:a16="http://schemas.microsoft.com/office/drawing/2014/main" id="{96F65AF0-A9B5-7DC1-F5F9-0C7E5AFFF0B8}"/>
              </a:ext>
            </a:extLst>
          </p:cNvPr>
          <p:cNvSpPr txBox="1"/>
          <p:nvPr/>
        </p:nvSpPr>
        <p:spPr>
          <a:xfrm>
            <a:off x="3501189" y="4443663"/>
            <a:ext cx="2743200" cy="67710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a:solidFill>
                  <a:srgbClr val="444444"/>
                </a:solidFill>
                <a:latin typeface="Calibri"/>
                <a:cs typeface="Arial"/>
              </a:rPr>
              <a:t>Enables context-aware categories that go beyond basic severity levels</a:t>
            </a:r>
          </a:p>
          <a:p>
            <a:pPr marL="228600" lvl="1" indent="-228600">
              <a:buFont typeface=""/>
              <a:buChar char="•"/>
            </a:pPr>
            <a:r>
              <a:rPr lang="en-US" sz="1100">
                <a:solidFill>
                  <a:srgbClr val="444444"/>
                </a:solidFill>
                <a:latin typeface="Calibri"/>
                <a:cs typeface="Arial"/>
              </a:rPr>
              <a:t>Provides direct insights within logs for quicker resolutions</a:t>
            </a:r>
          </a:p>
        </p:txBody>
      </p:sp>
      <p:pic>
        <p:nvPicPr>
          <p:cNvPr id="17" name="Picture 16" descr="A black background with white lines&#10;&#10;Description automatically generated">
            <a:extLst>
              <a:ext uri="{FF2B5EF4-FFF2-40B4-BE49-F238E27FC236}">
                <a16:creationId xmlns:a16="http://schemas.microsoft.com/office/drawing/2014/main" id="{117CB33A-3735-9B4A-7995-0B3933B55BBD}"/>
              </a:ext>
            </a:extLst>
          </p:cNvPr>
          <p:cNvPicPr>
            <a:picLocks noChangeAspect="1"/>
          </p:cNvPicPr>
          <p:nvPr/>
        </p:nvPicPr>
        <p:blipFill>
          <a:blip r:embed="rId2"/>
          <a:srcRect t="217" r="-549" b="26707"/>
          <a:stretch/>
        </p:blipFill>
        <p:spPr>
          <a:xfrm>
            <a:off x="1598900" y="1709071"/>
            <a:ext cx="3670223" cy="3648758"/>
          </a:xfrm>
          <a:prstGeom prst="rect">
            <a:avLst/>
          </a:prstGeom>
        </p:spPr>
      </p:pic>
      <p:pic>
        <p:nvPicPr>
          <p:cNvPr id="28" name="Picture 27" descr="A black background with white lines&#10;&#10;Description automatically generated">
            <a:extLst>
              <a:ext uri="{FF2B5EF4-FFF2-40B4-BE49-F238E27FC236}">
                <a16:creationId xmlns:a16="http://schemas.microsoft.com/office/drawing/2014/main" id="{D38288CD-A151-A693-C9F5-251968A50B28}"/>
              </a:ext>
            </a:extLst>
          </p:cNvPr>
          <p:cNvPicPr>
            <a:picLocks noChangeAspect="1"/>
          </p:cNvPicPr>
          <p:nvPr/>
        </p:nvPicPr>
        <p:blipFill>
          <a:blip r:embed="rId2"/>
          <a:srcRect l="46931" t="-734" r="46044" b="94480"/>
          <a:stretch/>
        </p:blipFill>
        <p:spPr>
          <a:xfrm rot="10800000" flipH="1">
            <a:off x="3300212" y="5355487"/>
            <a:ext cx="271400" cy="308278"/>
          </a:xfrm>
          <a:prstGeom prst="rect">
            <a:avLst/>
          </a:prstGeom>
        </p:spPr>
      </p:pic>
      <p:pic>
        <p:nvPicPr>
          <p:cNvPr id="40" name="Picture 39" descr="A blue circle with a white arrow in center&#10;&#10;Description automatically generated">
            <a:extLst>
              <a:ext uri="{FF2B5EF4-FFF2-40B4-BE49-F238E27FC236}">
                <a16:creationId xmlns:a16="http://schemas.microsoft.com/office/drawing/2014/main" id="{1F99372E-8370-BCF5-CE58-F8ACD2A1AA46}"/>
              </a:ext>
            </a:extLst>
          </p:cNvPr>
          <p:cNvPicPr>
            <a:picLocks noChangeAspect="1"/>
          </p:cNvPicPr>
          <p:nvPr/>
        </p:nvPicPr>
        <p:blipFill>
          <a:blip r:embed="rId3"/>
          <a:stretch>
            <a:fillRect/>
          </a:stretch>
        </p:blipFill>
        <p:spPr>
          <a:xfrm>
            <a:off x="1726281" y="4578517"/>
            <a:ext cx="427623" cy="428124"/>
          </a:xfrm>
          <a:prstGeom prst="rect">
            <a:avLst/>
          </a:prstGeom>
        </p:spPr>
      </p:pic>
      <p:pic>
        <p:nvPicPr>
          <p:cNvPr id="42" name="Picture 41" descr="A red circle with white gears&#10;&#10;Description automatically generated">
            <a:extLst>
              <a:ext uri="{FF2B5EF4-FFF2-40B4-BE49-F238E27FC236}">
                <a16:creationId xmlns:a16="http://schemas.microsoft.com/office/drawing/2014/main" id="{2B6D883D-E5EA-C43C-806A-259DBF4DE399}"/>
              </a:ext>
            </a:extLst>
          </p:cNvPr>
          <p:cNvPicPr>
            <a:picLocks noChangeAspect="1"/>
          </p:cNvPicPr>
          <p:nvPr/>
        </p:nvPicPr>
        <p:blipFill>
          <a:blip r:embed="rId4"/>
          <a:stretch>
            <a:fillRect/>
          </a:stretch>
        </p:blipFill>
        <p:spPr>
          <a:xfrm>
            <a:off x="1726281" y="2347913"/>
            <a:ext cx="427623" cy="427623"/>
          </a:xfrm>
          <a:prstGeom prst="rect">
            <a:avLst/>
          </a:prstGeom>
        </p:spPr>
      </p:pic>
      <p:pic>
        <p:nvPicPr>
          <p:cNvPr id="43" name="Picture 42" descr="A white and orange clock&#10;&#10;Description automatically generated">
            <a:extLst>
              <a:ext uri="{FF2B5EF4-FFF2-40B4-BE49-F238E27FC236}">
                <a16:creationId xmlns:a16="http://schemas.microsoft.com/office/drawing/2014/main" id="{BE8BDA43-CEBD-A828-47D2-E5629165EB16}"/>
              </a:ext>
            </a:extLst>
          </p:cNvPr>
          <p:cNvPicPr>
            <a:picLocks noChangeAspect="1"/>
          </p:cNvPicPr>
          <p:nvPr/>
        </p:nvPicPr>
        <p:blipFill>
          <a:blip r:embed="rId5"/>
          <a:stretch>
            <a:fillRect/>
          </a:stretch>
        </p:blipFill>
        <p:spPr>
          <a:xfrm>
            <a:off x="4663992" y="3430755"/>
            <a:ext cx="427623" cy="427623"/>
          </a:xfrm>
          <a:prstGeom prst="rect">
            <a:avLst/>
          </a:prstGeom>
        </p:spPr>
      </p:pic>
      <p:pic>
        <p:nvPicPr>
          <p:cNvPr id="44" name="Picture 43">
            <a:extLst>
              <a:ext uri="{FF2B5EF4-FFF2-40B4-BE49-F238E27FC236}">
                <a16:creationId xmlns:a16="http://schemas.microsoft.com/office/drawing/2014/main" id="{4EB7935F-199E-6857-0511-DC63729EDDB1}"/>
              </a:ext>
            </a:extLst>
          </p:cNvPr>
          <p:cNvPicPr>
            <a:picLocks noChangeAspect="1"/>
          </p:cNvPicPr>
          <p:nvPr/>
        </p:nvPicPr>
        <p:blipFill>
          <a:blip r:embed="rId6"/>
          <a:stretch>
            <a:fillRect/>
          </a:stretch>
        </p:blipFill>
        <p:spPr>
          <a:xfrm>
            <a:off x="5964152" y="1707482"/>
            <a:ext cx="283746" cy="1648327"/>
          </a:xfrm>
          <a:prstGeom prst="rect">
            <a:avLst/>
          </a:prstGeom>
        </p:spPr>
      </p:pic>
      <p:pic>
        <p:nvPicPr>
          <p:cNvPr id="45" name="Picture 44">
            <a:extLst>
              <a:ext uri="{FF2B5EF4-FFF2-40B4-BE49-F238E27FC236}">
                <a16:creationId xmlns:a16="http://schemas.microsoft.com/office/drawing/2014/main" id="{5A941E97-80B9-B6EE-D5AF-317518263903}"/>
              </a:ext>
            </a:extLst>
          </p:cNvPr>
          <p:cNvPicPr>
            <a:picLocks noChangeAspect="1"/>
          </p:cNvPicPr>
          <p:nvPr/>
        </p:nvPicPr>
        <p:blipFill>
          <a:blip r:embed="rId7"/>
          <a:stretch>
            <a:fillRect/>
          </a:stretch>
        </p:blipFill>
        <p:spPr>
          <a:xfrm>
            <a:off x="459704" y="2810378"/>
            <a:ext cx="203537" cy="1658354"/>
          </a:xfrm>
          <a:prstGeom prst="rect">
            <a:avLst/>
          </a:prstGeom>
        </p:spPr>
      </p:pic>
      <p:sp>
        <p:nvSpPr>
          <p:cNvPr id="50" name="TextBox 49">
            <a:extLst>
              <a:ext uri="{FF2B5EF4-FFF2-40B4-BE49-F238E27FC236}">
                <a16:creationId xmlns:a16="http://schemas.microsoft.com/office/drawing/2014/main" id="{DC19CF7B-F42E-282A-AE46-6BCA842C0FD0}"/>
              </a:ext>
            </a:extLst>
          </p:cNvPr>
          <p:cNvSpPr txBox="1"/>
          <p:nvPr/>
        </p:nvSpPr>
        <p:spPr>
          <a:xfrm>
            <a:off x="2253895" y="2312049"/>
            <a:ext cx="1585135"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C13018"/>
                </a:solidFill>
                <a:latin typeface="Roboto"/>
                <a:ea typeface="Roboto"/>
                <a:cs typeface="Arial"/>
              </a:rPr>
              <a:t>Datadog Limitation</a:t>
            </a:r>
            <a:endParaRPr lang="en-US" sz="1600" b="1">
              <a:solidFill>
                <a:srgbClr val="C13018"/>
              </a:solidFill>
              <a:latin typeface="Roboto"/>
              <a:ea typeface="Roboto"/>
              <a:cs typeface="Roboto"/>
            </a:endParaRPr>
          </a:p>
        </p:txBody>
      </p:sp>
      <p:sp>
        <p:nvSpPr>
          <p:cNvPr id="52" name="TextBox 51">
            <a:extLst>
              <a:ext uri="{FF2B5EF4-FFF2-40B4-BE49-F238E27FC236}">
                <a16:creationId xmlns:a16="http://schemas.microsoft.com/office/drawing/2014/main" id="{D989812C-FD05-1A0D-48E1-EB71894785F6}"/>
              </a:ext>
            </a:extLst>
          </p:cNvPr>
          <p:cNvSpPr txBox="1"/>
          <p:nvPr/>
        </p:nvSpPr>
        <p:spPr>
          <a:xfrm>
            <a:off x="3818000" y="3525233"/>
            <a:ext cx="1585135"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ED8D1E"/>
                </a:solidFill>
                <a:latin typeface="Roboto"/>
                <a:ea typeface="Roboto"/>
                <a:cs typeface="Arial"/>
              </a:rPr>
              <a:t>Solution</a:t>
            </a:r>
            <a:endParaRPr lang="en-US">
              <a:solidFill>
                <a:srgbClr val="ED8D1E"/>
              </a:solidFill>
            </a:endParaRPr>
          </a:p>
        </p:txBody>
      </p:sp>
      <p:sp>
        <p:nvSpPr>
          <p:cNvPr id="53" name="TextBox 52">
            <a:extLst>
              <a:ext uri="{FF2B5EF4-FFF2-40B4-BE49-F238E27FC236}">
                <a16:creationId xmlns:a16="http://schemas.microsoft.com/office/drawing/2014/main" id="{F0052BAF-6293-4B92-048B-28EECDEA87EA}"/>
              </a:ext>
            </a:extLst>
          </p:cNvPr>
          <p:cNvSpPr txBox="1"/>
          <p:nvPr/>
        </p:nvSpPr>
        <p:spPr>
          <a:xfrm>
            <a:off x="2253894" y="4668232"/>
            <a:ext cx="1585135"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4CC1EF"/>
                </a:solidFill>
                <a:latin typeface="Roboto"/>
                <a:ea typeface="Roboto"/>
                <a:cs typeface="Arial"/>
              </a:rPr>
              <a:t>Benefits</a:t>
            </a:r>
            <a:endParaRPr lang="en-US">
              <a:solidFill>
                <a:srgbClr val="4CC1EF"/>
              </a:solidFill>
            </a:endParaRPr>
          </a:p>
        </p:txBody>
      </p:sp>
      <p:pic>
        <p:nvPicPr>
          <p:cNvPr id="54" name="Picture 53">
            <a:extLst>
              <a:ext uri="{FF2B5EF4-FFF2-40B4-BE49-F238E27FC236}">
                <a16:creationId xmlns:a16="http://schemas.microsoft.com/office/drawing/2014/main" id="{1E02CBD9-3378-81FB-3F9C-4C595C46BFFB}"/>
              </a:ext>
            </a:extLst>
          </p:cNvPr>
          <p:cNvPicPr>
            <a:picLocks noChangeAspect="1"/>
          </p:cNvPicPr>
          <p:nvPr/>
        </p:nvPicPr>
        <p:blipFill>
          <a:blip r:embed="rId8"/>
          <a:stretch>
            <a:fillRect/>
          </a:stretch>
        </p:blipFill>
        <p:spPr>
          <a:xfrm flipH="1">
            <a:off x="5917030" y="3953377"/>
            <a:ext cx="287754" cy="1658354"/>
          </a:xfrm>
          <a:prstGeom prst="rect">
            <a:avLst/>
          </a:prstGeom>
        </p:spPr>
      </p:pic>
      <p:pic>
        <p:nvPicPr>
          <p:cNvPr id="2" name="Picture 1" descr="A screenshot of a graph&#10;&#10;Description automatically generated">
            <a:extLst>
              <a:ext uri="{FF2B5EF4-FFF2-40B4-BE49-F238E27FC236}">
                <a16:creationId xmlns:a16="http://schemas.microsoft.com/office/drawing/2014/main" id="{854BC024-06E5-B464-7C5B-B9D9E937722D}"/>
              </a:ext>
            </a:extLst>
          </p:cNvPr>
          <p:cNvPicPr>
            <a:picLocks noChangeAspect="1"/>
          </p:cNvPicPr>
          <p:nvPr/>
        </p:nvPicPr>
        <p:blipFill>
          <a:blip r:embed="rId9"/>
          <a:stretch>
            <a:fillRect/>
          </a:stretch>
        </p:blipFill>
        <p:spPr>
          <a:xfrm>
            <a:off x="6383437" y="1328293"/>
            <a:ext cx="5592663" cy="1612900"/>
          </a:xfrm>
          <a:prstGeom prst="rect">
            <a:avLst/>
          </a:prstGeom>
        </p:spPr>
      </p:pic>
      <p:pic>
        <p:nvPicPr>
          <p:cNvPr id="3" name="Picture 2" descr="A screenshot of a service&#10;&#10;Description automatically generated">
            <a:extLst>
              <a:ext uri="{FF2B5EF4-FFF2-40B4-BE49-F238E27FC236}">
                <a16:creationId xmlns:a16="http://schemas.microsoft.com/office/drawing/2014/main" id="{31B4DA71-B99E-A3B9-CABC-72B9083BE529}"/>
              </a:ext>
            </a:extLst>
          </p:cNvPr>
          <p:cNvPicPr>
            <a:picLocks noChangeAspect="1"/>
          </p:cNvPicPr>
          <p:nvPr/>
        </p:nvPicPr>
        <p:blipFill>
          <a:blip r:embed="rId10"/>
          <a:stretch>
            <a:fillRect/>
          </a:stretch>
        </p:blipFill>
        <p:spPr>
          <a:xfrm>
            <a:off x="6387452" y="3078818"/>
            <a:ext cx="5572263" cy="1435163"/>
          </a:xfrm>
          <a:prstGeom prst="rect">
            <a:avLst/>
          </a:prstGeom>
        </p:spPr>
      </p:pic>
      <p:pic>
        <p:nvPicPr>
          <p:cNvPr id="4" name="Picture 3" descr="A screenshot of a service&#10;&#10;Description automatically generated">
            <a:extLst>
              <a:ext uri="{FF2B5EF4-FFF2-40B4-BE49-F238E27FC236}">
                <a16:creationId xmlns:a16="http://schemas.microsoft.com/office/drawing/2014/main" id="{EBEE6085-E2CB-8514-4389-49FEDD1DF1AE}"/>
              </a:ext>
            </a:extLst>
          </p:cNvPr>
          <p:cNvPicPr>
            <a:picLocks noChangeAspect="1"/>
          </p:cNvPicPr>
          <p:nvPr/>
        </p:nvPicPr>
        <p:blipFill>
          <a:blip r:embed="rId11"/>
          <a:stretch>
            <a:fillRect/>
          </a:stretch>
        </p:blipFill>
        <p:spPr>
          <a:xfrm>
            <a:off x="7073605" y="4673533"/>
            <a:ext cx="4878259" cy="1482714"/>
          </a:xfrm>
          <a:prstGeom prst="rect">
            <a:avLst/>
          </a:prstGeom>
        </p:spPr>
      </p:pic>
      <mc:AlternateContent xmlns:mc="http://schemas.openxmlformats.org/markup-compatibility/2006" xmlns:p14="http://schemas.microsoft.com/office/powerpoint/2010/main">
        <mc:Choice Requires="p14">
          <p:contentPart p14:bwMode="auto" r:id="rId12">
            <p14:nvContentPartPr>
              <p14:cNvPr id="5" name="Ink 4">
                <a:extLst>
                  <a:ext uri="{FF2B5EF4-FFF2-40B4-BE49-F238E27FC236}">
                    <a16:creationId xmlns:a16="http://schemas.microsoft.com/office/drawing/2014/main" id="{E7A2B5BD-54B5-B9DE-1C87-E943C768D908}"/>
                  </a:ext>
                </a:extLst>
              </p14:cNvPr>
              <p14:cNvContentPartPr/>
              <p14:nvPr/>
            </p14:nvContentPartPr>
            <p14:xfrm>
              <a:off x="11395480" y="3360960"/>
              <a:ext cx="437760" cy="1077480"/>
            </p14:xfrm>
          </p:contentPart>
        </mc:Choice>
        <mc:Fallback xmlns="">
          <p:pic>
            <p:nvPicPr>
              <p:cNvPr id="5" name="Ink 4">
                <a:extLst>
                  <a:ext uri="{FF2B5EF4-FFF2-40B4-BE49-F238E27FC236}">
                    <a16:creationId xmlns:a16="http://schemas.microsoft.com/office/drawing/2014/main" id="{E7A2B5BD-54B5-B9DE-1C87-E943C768D908}"/>
                  </a:ext>
                </a:extLst>
              </p:cNvPr>
              <p:cNvPicPr/>
              <p:nvPr/>
            </p:nvPicPr>
            <p:blipFill>
              <a:blip r:embed="rId13"/>
              <a:stretch>
                <a:fillRect/>
              </a:stretch>
            </p:blipFill>
            <p:spPr>
              <a:xfrm>
                <a:off x="11341480" y="3252960"/>
                <a:ext cx="545400" cy="129312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6" name="Ink 5">
                <a:extLst>
                  <a:ext uri="{FF2B5EF4-FFF2-40B4-BE49-F238E27FC236}">
                    <a16:creationId xmlns:a16="http://schemas.microsoft.com/office/drawing/2014/main" id="{29BC7216-38F5-C797-C4A7-4E112CC472FA}"/>
                  </a:ext>
                </a:extLst>
              </p14:cNvPr>
              <p14:cNvContentPartPr/>
              <p14:nvPr/>
            </p14:nvContentPartPr>
            <p14:xfrm>
              <a:off x="11184160" y="5014800"/>
              <a:ext cx="552600" cy="1031400"/>
            </p14:xfrm>
          </p:contentPart>
        </mc:Choice>
        <mc:Fallback xmlns="">
          <p:pic>
            <p:nvPicPr>
              <p:cNvPr id="6" name="Ink 5">
                <a:extLst>
                  <a:ext uri="{FF2B5EF4-FFF2-40B4-BE49-F238E27FC236}">
                    <a16:creationId xmlns:a16="http://schemas.microsoft.com/office/drawing/2014/main" id="{29BC7216-38F5-C797-C4A7-4E112CC472FA}"/>
                  </a:ext>
                </a:extLst>
              </p:cNvPr>
              <p:cNvPicPr/>
              <p:nvPr/>
            </p:nvPicPr>
            <p:blipFill>
              <a:blip r:embed="rId15"/>
              <a:stretch>
                <a:fillRect/>
              </a:stretch>
            </p:blipFill>
            <p:spPr>
              <a:xfrm>
                <a:off x="11130160" y="4906800"/>
                <a:ext cx="660240" cy="124704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7" name="Ink 6">
                <a:extLst>
                  <a:ext uri="{FF2B5EF4-FFF2-40B4-BE49-F238E27FC236}">
                    <a16:creationId xmlns:a16="http://schemas.microsoft.com/office/drawing/2014/main" id="{8FCC3658-AF3D-C350-D601-6B1EF1C9C308}"/>
                  </a:ext>
                </a:extLst>
              </p14:cNvPr>
              <p14:cNvContentPartPr/>
              <p14:nvPr/>
            </p14:nvContentPartPr>
            <p14:xfrm>
              <a:off x="11624440" y="5630040"/>
              <a:ext cx="51480" cy="15480"/>
            </p14:xfrm>
          </p:contentPart>
        </mc:Choice>
        <mc:Fallback xmlns="">
          <p:pic>
            <p:nvPicPr>
              <p:cNvPr id="7" name="Ink 6">
                <a:extLst>
                  <a:ext uri="{FF2B5EF4-FFF2-40B4-BE49-F238E27FC236}">
                    <a16:creationId xmlns:a16="http://schemas.microsoft.com/office/drawing/2014/main" id="{8FCC3658-AF3D-C350-D601-6B1EF1C9C308}"/>
                  </a:ext>
                </a:extLst>
              </p:cNvPr>
              <p:cNvPicPr/>
              <p:nvPr/>
            </p:nvPicPr>
            <p:blipFill>
              <a:blip r:embed="rId17"/>
              <a:stretch>
                <a:fillRect/>
              </a:stretch>
            </p:blipFill>
            <p:spPr>
              <a:xfrm>
                <a:off x="11570815" y="5522040"/>
                <a:ext cx="158373" cy="231120"/>
              </a:xfrm>
              <a:prstGeom prst="rect">
                <a:avLst/>
              </a:prstGeom>
            </p:spPr>
          </p:pic>
        </mc:Fallback>
      </mc:AlternateContent>
      <p:sp>
        <p:nvSpPr>
          <p:cNvPr id="8" name="Rectangle: Rounded Corners 7">
            <a:extLst>
              <a:ext uri="{FF2B5EF4-FFF2-40B4-BE49-F238E27FC236}">
                <a16:creationId xmlns:a16="http://schemas.microsoft.com/office/drawing/2014/main" id="{52835FD5-5D49-0724-26D1-C95345E31C7B}"/>
              </a:ext>
            </a:extLst>
          </p:cNvPr>
          <p:cNvSpPr/>
          <p:nvPr/>
        </p:nvSpPr>
        <p:spPr>
          <a:xfrm>
            <a:off x="487179" y="5842481"/>
            <a:ext cx="941294" cy="368088"/>
          </a:xfrm>
          <a:prstGeom prst="roundRect">
            <a:avLst/>
          </a:prstGeom>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a:t>ADX</a:t>
            </a:r>
          </a:p>
        </p:txBody>
      </p:sp>
      <p:sp>
        <p:nvSpPr>
          <p:cNvPr id="9" name="Rectangle: Rounded Corners 8">
            <a:extLst>
              <a:ext uri="{FF2B5EF4-FFF2-40B4-BE49-F238E27FC236}">
                <a16:creationId xmlns:a16="http://schemas.microsoft.com/office/drawing/2014/main" id="{A1754E18-AF2D-4947-494C-B4E05DF38743}"/>
              </a:ext>
            </a:extLst>
          </p:cNvPr>
          <p:cNvSpPr/>
          <p:nvPr/>
        </p:nvSpPr>
        <p:spPr>
          <a:xfrm>
            <a:off x="1879464" y="5831812"/>
            <a:ext cx="941294" cy="368088"/>
          </a:xfrm>
          <a:prstGeom prst="round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200"/>
              <a:t>Azure AI Service</a:t>
            </a:r>
          </a:p>
        </p:txBody>
      </p:sp>
      <p:sp>
        <p:nvSpPr>
          <p:cNvPr id="11" name="Rectangle: Rounded Corners 10">
            <a:extLst>
              <a:ext uri="{FF2B5EF4-FFF2-40B4-BE49-F238E27FC236}">
                <a16:creationId xmlns:a16="http://schemas.microsoft.com/office/drawing/2014/main" id="{B84FD9DE-EE9E-6219-5E16-646677605135}"/>
              </a:ext>
            </a:extLst>
          </p:cNvPr>
          <p:cNvSpPr/>
          <p:nvPr/>
        </p:nvSpPr>
        <p:spPr>
          <a:xfrm>
            <a:off x="3271749" y="5826934"/>
            <a:ext cx="941294" cy="368088"/>
          </a:xfrm>
          <a:prstGeom prst="roundRect">
            <a:avLst/>
          </a:prstGeom>
          <a:ln/>
        </p:spPr>
        <p:style>
          <a:lnRef idx="2">
            <a:schemeClr val="accent4"/>
          </a:lnRef>
          <a:fillRef idx="1">
            <a:schemeClr val="lt1"/>
          </a:fillRef>
          <a:effectRef idx="0">
            <a:schemeClr val="accent4"/>
          </a:effectRef>
          <a:fontRef idx="minor">
            <a:schemeClr val="dk1"/>
          </a:fontRef>
        </p:style>
        <p:txBody>
          <a:bodyPr lIns="0" tIns="0" rIns="0" bIns="0" rtlCol="0" anchor="ctr"/>
          <a:lstStyle/>
          <a:p>
            <a:pPr algn="ctr"/>
            <a:r>
              <a:rPr lang="en-US" sz="1200"/>
              <a:t>Text Analytics</a:t>
            </a:r>
          </a:p>
        </p:txBody>
      </p:sp>
      <p:sp>
        <p:nvSpPr>
          <p:cNvPr id="14" name="Rectangle: Rounded Corners 13">
            <a:extLst>
              <a:ext uri="{FF2B5EF4-FFF2-40B4-BE49-F238E27FC236}">
                <a16:creationId xmlns:a16="http://schemas.microsoft.com/office/drawing/2014/main" id="{C8F89C12-7E21-C57A-4E10-7846541B1E62}"/>
              </a:ext>
            </a:extLst>
          </p:cNvPr>
          <p:cNvSpPr/>
          <p:nvPr/>
        </p:nvSpPr>
        <p:spPr>
          <a:xfrm>
            <a:off x="4663050" y="5840537"/>
            <a:ext cx="941294" cy="368088"/>
          </a:xfrm>
          <a:prstGeom prst="roundRect">
            <a:avLst/>
          </a:prstGeom>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a:t>ADX</a:t>
            </a:r>
          </a:p>
        </p:txBody>
      </p:sp>
      <p:sp>
        <p:nvSpPr>
          <p:cNvPr id="15" name="Rectangle: Rounded Corners 14">
            <a:extLst>
              <a:ext uri="{FF2B5EF4-FFF2-40B4-BE49-F238E27FC236}">
                <a16:creationId xmlns:a16="http://schemas.microsoft.com/office/drawing/2014/main" id="{53AD3172-5801-B7FD-6CB4-B00D7E710CC2}"/>
              </a:ext>
            </a:extLst>
          </p:cNvPr>
          <p:cNvSpPr/>
          <p:nvPr/>
        </p:nvSpPr>
        <p:spPr>
          <a:xfrm>
            <a:off x="6060907" y="5826934"/>
            <a:ext cx="941294" cy="368088"/>
          </a:xfrm>
          <a:prstGeom prst="roundRect">
            <a:avLst/>
          </a:prstGeom>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r>
              <a:rPr lang="en-US" sz="1200"/>
              <a:t>Dashboard</a:t>
            </a:r>
          </a:p>
        </p:txBody>
      </p:sp>
      <p:cxnSp>
        <p:nvCxnSpPr>
          <p:cNvPr id="18" name="Straight Arrow Connector 17">
            <a:extLst>
              <a:ext uri="{FF2B5EF4-FFF2-40B4-BE49-F238E27FC236}">
                <a16:creationId xmlns:a16="http://schemas.microsoft.com/office/drawing/2014/main" id="{5A67459B-1205-DFED-74B4-437B405F1D2B}"/>
              </a:ext>
            </a:extLst>
          </p:cNvPr>
          <p:cNvCxnSpPr>
            <a:stCxn id="8" idx="3"/>
            <a:endCxn id="9" idx="1"/>
          </p:cNvCxnSpPr>
          <p:nvPr/>
        </p:nvCxnSpPr>
        <p:spPr>
          <a:xfrm flipV="1">
            <a:off x="1428473" y="6015856"/>
            <a:ext cx="450991" cy="10669"/>
          </a:xfrm>
          <a:prstGeom prst="straightConnector1">
            <a:avLst/>
          </a:prstGeom>
          <a:noFill/>
          <a:ln w="9525" cap="flat" cmpd="sng">
            <a:solidFill>
              <a:schemeClr val="tx1"/>
            </a:solidFill>
            <a:prstDash val="solid"/>
            <a:round/>
            <a:headEnd type="none" w="med" len="med"/>
            <a:tailEnd type="triangle"/>
          </a:ln>
        </p:spPr>
      </p:cxnSp>
      <p:cxnSp>
        <p:nvCxnSpPr>
          <p:cNvPr id="20" name="Straight Arrow Connector 19">
            <a:extLst>
              <a:ext uri="{FF2B5EF4-FFF2-40B4-BE49-F238E27FC236}">
                <a16:creationId xmlns:a16="http://schemas.microsoft.com/office/drawing/2014/main" id="{F06FDA5A-9FD9-3EAA-4F48-8D18AA83FF17}"/>
              </a:ext>
            </a:extLst>
          </p:cNvPr>
          <p:cNvCxnSpPr>
            <a:stCxn id="9" idx="3"/>
            <a:endCxn id="11" idx="1"/>
          </p:cNvCxnSpPr>
          <p:nvPr/>
        </p:nvCxnSpPr>
        <p:spPr>
          <a:xfrm flipV="1">
            <a:off x="2820758" y="6010978"/>
            <a:ext cx="450991" cy="4878"/>
          </a:xfrm>
          <a:prstGeom prst="straightConnector1">
            <a:avLst/>
          </a:prstGeom>
          <a:noFill/>
          <a:ln w="9525" cap="flat" cmpd="sng">
            <a:solidFill>
              <a:schemeClr val="tx1"/>
            </a:solidFill>
            <a:prstDash val="solid"/>
            <a:round/>
            <a:headEnd type="none" w="med" len="med"/>
            <a:tailEnd type="triangle"/>
          </a:ln>
        </p:spPr>
      </p:cxnSp>
      <p:cxnSp>
        <p:nvCxnSpPr>
          <p:cNvPr id="22" name="Straight Arrow Connector 21">
            <a:extLst>
              <a:ext uri="{FF2B5EF4-FFF2-40B4-BE49-F238E27FC236}">
                <a16:creationId xmlns:a16="http://schemas.microsoft.com/office/drawing/2014/main" id="{A60054AF-FC16-155F-A9BE-9DE5C5BD52F0}"/>
              </a:ext>
            </a:extLst>
          </p:cNvPr>
          <p:cNvCxnSpPr>
            <a:stCxn id="11" idx="3"/>
            <a:endCxn id="14" idx="1"/>
          </p:cNvCxnSpPr>
          <p:nvPr/>
        </p:nvCxnSpPr>
        <p:spPr>
          <a:xfrm>
            <a:off x="4213043" y="6010978"/>
            <a:ext cx="450007" cy="13603"/>
          </a:xfrm>
          <a:prstGeom prst="straightConnector1">
            <a:avLst/>
          </a:prstGeom>
          <a:noFill/>
          <a:ln w="9525" cap="flat" cmpd="sng">
            <a:solidFill>
              <a:schemeClr val="tx1"/>
            </a:solidFill>
            <a:prstDash val="solid"/>
            <a:round/>
            <a:headEnd type="none" w="med" len="med"/>
            <a:tailEnd type="triangle"/>
          </a:ln>
        </p:spPr>
      </p:cxnSp>
      <p:cxnSp>
        <p:nvCxnSpPr>
          <p:cNvPr id="24" name="Straight Arrow Connector 23">
            <a:extLst>
              <a:ext uri="{FF2B5EF4-FFF2-40B4-BE49-F238E27FC236}">
                <a16:creationId xmlns:a16="http://schemas.microsoft.com/office/drawing/2014/main" id="{456C5A81-C88E-7839-AB27-CE829620887C}"/>
              </a:ext>
            </a:extLst>
          </p:cNvPr>
          <p:cNvCxnSpPr>
            <a:stCxn id="14" idx="3"/>
            <a:endCxn id="15" idx="1"/>
          </p:cNvCxnSpPr>
          <p:nvPr/>
        </p:nvCxnSpPr>
        <p:spPr>
          <a:xfrm flipV="1">
            <a:off x="5604344" y="6010978"/>
            <a:ext cx="456563" cy="13603"/>
          </a:xfrm>
          <a:prstGeom prst="straightConnector1">
            <a:avLst/>
          </a:prstGeom>
          <a:noFill/>
          <a:ln w="9525" cap="flat" cmpd="sng">
            <a:solidFill>
              <a:schemeClr val="tx1"/>
            </a:solidFill>
            <a:prstDash val="solid"/>
            <a:round/>
            <a:headEnd type="none" w="med" len="med"/>
            <a:tailEnd type="triangle"/>
          </a:ln>
        </p:spPr>
      </p:cxnSp>
    </p:spTree>
    <p:extLst>
      <p:ext uri="{BB962C8B-B14F-4D97-AF65-F5344CB8AC3E}">
        <p14:creationId xmlns:p14="http://schemas.microsoft.com/office/powerpoint/2010/main" val="9931269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9" name="Rectangle: Diagonal Corners Snipped 448">
            <a:extLst>
              <a:ext uri="{FF2B5EF4-FFF2-40B4-BE49-F238E27FC236}">
                <a16:creationId xmlns:a16="http://schemas.microsoft.com/office/drawing/2014/main" id="{4EA6E79C-7EA9-B5EB-6E98-A0D443113AAD}"/>
              </a:ext>
            </a:extLst>
          </p:cNvPr>
          <p:cNvSpPr/>
          <p:nvPr/>
        </p:nvSpPr>
        <p:spPr>
          <a:xfrm>
            <a:off x="7760529" y="3790049"/>
            <a:ext cx="2583721" cy="808272"/>
          </a:xfrm>
          <a:prstGeom prst="snip2DiagRect">
            <a:avLst/>
          </a:prstGeom>
          <a:ln/>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en-US" err="1"/>
          </a:p>
        </p:txBody>
      </p:sp>
      <p:cxnSp>
        <p:nvCxnSpPr>
          <p:cNvPr id="10" name="Straight Connector 9">
            <a:extLst>
              <a:ext uri="{FF2B5EF4-FFF2-40B4-BE49-F238E27FC236}">
                <a16:creationId xmlns:a16="http://schemas.microsoft.com/office/drawing/2014/main" id="{01E76F1F-250A-088D-7ACC-9178E1B02C22}"/>
              </a:ext>
              <a:ext uri="{C183D7F6-B498-43B3-948B-1728B52AA6E4}">
                <adec:decorative xmlns:adec="http://schemas.microsoft.com/office/drawing/2017/decorative" val="1"/>
              </a:ext>
            </a:extLst>
          </p:cNvPr>
          <p:cNvCxnSpPr>
            <a:cxnSpLocks/>
          </p:cNvCxnSpPr>
          <p:nvPr/>
        </p:nvCxnSpPr>
        <p:spPr>
          <a:xfrm>
            <a:off x="488191" y="1088493"/>
            <a:ext cx="10761492"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sp>
        <p:nvSpPr>
          <p:cNvPr id="490" name="TextBox 489">
            <a:extLst>
              <a:ext uri="{FF2B5EF4-FFF2-40B4-BE49-F238E27FC236}">
                <a16:creationId xmlns:a16="http://schemas.microsoft.com/office/drawing/2014/main" id="{E62D3F79-CF65-530E-B249-C5A246299A14}"/>
              </a:ext>
            </a:extLst>
          </p:cNvPr>
          <p:cNvSpPr txBox="1"/>
          <p:nvPr/>
        </p:nvSpPr>
        <p:spPr>
          <a:xfrm>
            <a:off x="487179" y="543118"/>
            <a:ext cx="9843542" cy="492443"/>
          </a:xfrm>
          <a:prstGeom prst="rect">
            <a:avLst/>
          </a:prstGeom>
          <a:noFill/>
        </p:spPr>
        <p:txBody>
          <a:bodyPr wrap="square" lIns="91440" tIns="45720" rIns="91440" bIns="45720" anchor="t">
            <a:spAutoFit/>
          </a:bodyPr>
          <a:lstStyle/>
          <a:p>
            <a:r>
              <a:rPr lang="en-US" sz="2600" b="1" dirty="0">
                <a:solidFill>
                  <a:schemeClr val="tx1">
                    <a:lumMod val="75000"/>
                    <a:lumOff val="25000"/>
                  </a:schemeClr>
                </a:solidFill>
                <a:latin typeface="Montserrat"/>
              </a:rPr>
              <a:t>Next Step - User Metrics Analytics</a:t>
            </a:r>
            <a:endParaRPr lang="en-US" sz="2800" dirty="0">
              <a:solidFill>
                <a:schemeClr val="tx1">
                  <a:lumMod val="75000"/>
                  <a:lumOff val="25000"/>
                </a:schemeClr>
              </a:solidFill>
            </a:endParaRPr>
          </a:p>
        </p:txBody>
      </p:sp>
      <p:pic>
        <p:nvPicPr>
          <p:cNvPr id="40" name="Picture 39" descr="A blue circle with a white arrow in center&#10;&#10;Description automatically generated">
            <a:extLst>
              <a:ext uri="{FF2B5EF4-FFF2-40B4-BE49-F238E27FC236}">
                <a16:creationId xmlns:a16="http://schemas.microsoft.com/office/drawing/2014/main" id="{1F99372E-8370-BCF5-CE58-F8ACD2A1AA46}"/>
              </a:ext>
            </a:extLst>
          </p:cNvPr>
          <p:cNvPicPr>
            <a:picLocks noChangeAspect="1"/>
          </p:cNvPicPr>
          <p:nvPr/>
        </p:nvPicPr>
        <p:blipFill>
          <a:blip r:embed="rId2"/>
          <a:stretch>
            <a:fillRect/>
          </a:stretch>
        </p:blipFill>
        <p:spPr>
          <a:xfrm>
            <a:off x="4618364" y="4865535"/>
            <a:ext cx="427623" cy="428124"/>
          </a:xfrm>
          <a:prstGeom prst="rect">
            <a:avLst/>
          </a:prstGeom>
        </p:spPr>
      </p:pic>
      <p:pic>
        <p:nvPicPr>
          <p:cNvPr id="42" name="Picture 41" descr="A red circle with white gears&#10;&#10;Description automatically generated">
            <a:extLst>
              <a:ext uri="{FF2B5EF4-FFF2-40B4-BE49-F238E27FC236}">
                <a16:creationId xmlns:a16="http://schemas.microsoft.com/office/drawing/2014/main" id="{2B6D883D-E5EA-C43C-806A-259DBF4DE399}"/>
              </a:ext>
            </a:extLst>
          </p:cNvPr>
          <p:cNvPicPr>
            <a:picLocks noChangeAspect="1"/>
          </p:cNvPicPr>
          <p:nvPr/>
        </p:nvPicPr>
        <p:blipFill>
          <a:blip r:embed="rId3"/>
          <a:stretch>
            <a:fillRect/>
          </a:stretch>
        </p:blipFill>
        <p:spPr>
          <a:xfrm>
            <a:off x="1834436" y="1801049"/>
            <a:ext cx="427623" cy="427623"/>
          </a:xfrm>
          <a:prstGeom prst="rect">
            <a:avLst/>
          </a:prstGeom>
        </p:spPr>
      </p:pic>
      <p:pic>
        <p:nvPicPr>
          <p:cNvPr id="43" name="Picture 42" descr="A white and orange clock&#10;&#10;Description automatically generated">
            <a:extLst>
              <a:ext uri="{FF2B5EF4-FFF2-40B4-BE49-F238E27FC236}">
                <a16:creationId xmlns:a16="http://schemas.microsoft.com/office/drawing/2014/main" id="{BE8BDA43-CEBD-A828-47D2-E5629165EB16}"/>
              </a:ext>
            </a:extLst>
          </p:cNvPr>
          <p:cNvPicPr>
            <a:picLocks noChangeAspect="1"/>
          </p:cNvPicPr>
          <p:nvPr/>
        </p:nvPicPr>
        <p:blipFill>
          <a:blip r:embed="rId4"/>
          <a:stretch>
            <a:fillRect/>
          </a:stretch>
        </p:blipFill>
        <p:spPr>
          <a:xfrm>
            <a:off x="4575242" y="2831128"/>
            <a:ext cx="427623" cy="427623"/>
          </a:xfrm>
          <a:prstGeom prst="rect">
            <a:avLst/>
          </a:prstGeom>
        </p:spPr>
      </p:pic>
      <p:sp>
        <p:nvSpPr>
          <p:cNvPr id="50" name="TextBox 49">
            <a:extLst>
              <a:ext uri="{FF2B5EF4-FFF2-40B4-BE49-F238E27FC236}">
                <a16:creationId xmlns:a16="http://schemas.microsoft.com/office/drawing/2014/main" id="{DC19CF7B-F42E-282A-AE46-6BCA842C0FD0}"/>
              </a:ext>
            </a:extLst>
          </p:cNvPr>
          <p:cNvSpPr txBox="1"/>
          <p:nvPr/>
        </p:nvSpPr>
        <p:spPr>
          <a:xfrm>
            <a:off x="2362050" y="1765185"/>
            <a:ext cx="1585135"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C13018"/>
                </a:solidFill>
                <a:latin typeface="Roboto"/>
                <a:ea typeface="Roboto"/>
                <a:cs typeface="Arial"/>
              </a:rPr>
              <a:t>Grouping – </a:t>
            </a:r>
          </a:p>
          <a:p>
            <a:r>
              <a:rPr lang="en-US" sz="1600" b="1">
                <a:solidFill>
                  <a:srgbClr val="C13018"/>
                </a:solidFill>
                <a:latin typeface="Roboto"/>
                <a:ea typeface="Roboto"/>
                <a:cs typeface="Arial"/>
              </a:rPr>
              <a:t>User Email</a:t>
            </a:r>
            <a:endParaRPr lang="en-US" sz="1600" b="1">
              <a:solidFill>
                <a:srgbClr val="C13018"/>
              </a:solidFill>
              <a:latin typeface="Roboto"/>
              <a:ea typeface="Roboto"/>
              <a:cs typeface="Roboto"/>
            </a:endParaRPr>
          </a:p>
        </p:txBody>
      </p:sp>
      <p:sp>
        <p:nvSpPr>
          <p:cNvPr id="52" name="TextBox 51">
            <a:extLst>
              <a:ext uri="{FF2B5EF4-FFF2-40B4-BE49-F238E27FC236}">
                <a16:creationId xmlns:a16="http://schemas.microsoft.com/office/drawing/2014/main" id="{D989812C-FD05-1A0D-48E1-EB71894785F6}"/>
              </a:ext>
            </a:extLst>
          </p:cNvPr>
          <p:cNvSpPr txBox="1"/>
          <p:nvPr/>
        </p:nvSpPr>
        <p:spPr>
          <a:xfrm>
            <a:off x="3551958" y="2767263"/>
            <a:ext cx="1585135"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ED8D1E"/>
                </a:solidFill>
                <a:latin typeface="Roboto"/>
                <a:ea typeface="Roboto"/>
                <a:cs typeface="Arial"/>
              </a:rPr>
              <a:t>Log </a:t>
            </a:r>
          </a:p>
          <a:p>
            <a:r>
              <a:rPr lang="en-US" sz="1600" b="1">
                <a:solidFill>
                  <a:srgbClr val="ED8D1E"/>
                </a:solidFill>
                <a:latin typeface="Roboto"/>
                <a:ea typeface="Roboto"/>
                <a:cs typeface="Arial"/>
              </a:rPr>
              <a:t>Categorize</a:t>
            </a:r>
            <a:endParaRPr lang="en-US">
              <a:solidFill>
                <a:srgbClr val="ED8D1E"/>
              </a:solidFill>
            </a:endParaRPr>
          </a:p>
        </p:txBody>
      </p:sp>
      <p:sp>
        <p:nvSpPr>
          <p:cNvPr id="53" name="TextBox 52">
            <a:extLst>
              <a:ext uri="{FF2B5EF4-FFF2-40B4-BE49-F238E27FC236}">
                <a16:creationId xmlns:a16="http://schemas.microsoft.com/office/drawing/2014/main" id="{F0052BAF-6293-4B92-048B-28EECDEA87EA}"/>
              </a:ext>
            </a:extLst>
          </p:cNvPr>
          <p:cNvSpPr txBox="1"/>
          <p:nvPr/>
        </p:nvSpPr>
        <p:spPr>
          <a:xfrm>
            <a:off x="3827824" y="4961272"/>
            <a:ext cx="1585135"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4CC1EF"/>
                </a:solidFill>
                <a:latin typeface="Roboto"/>
                <a:ea typeface="Roboto"/>
                <a:cs typeface="Arial"/>
              </a:rPr>
              <a:t>Benefits</a:t>
            </a:r>
            <a:endParaRPr lang="en-US">
              <a:solidFill>
                <a:srgbClr val="4CC1EF"/>
              </a:solidFill>
            </a:endParaRPr>
          </a:p>
        </p:txBody>
      </p:sp>
      <p:sp>
        <p:nvSpPr>
          <p:cNvPr id="6" name="Freeform: Shape 5">
            <a:extLst>
              <a:ext uri="{FF2B5EF4-FFF2-40B4-BE49-F238E27FC236}">
                <a16:creationId xmlns:a16="http://schemas.microsoft.com/office/drawing/2014/main" id="{C2E979DF-91FB-7878-B176-67A5DA4582C2}"/>
              </a:ext>
            </a:extLst>
          </p:cNvPr>
          <p:cNvSpPr/>
          <p:nvPr/>
        </p:nvSpPr>
        <p:spPr>
          <a:xfrm>
            <a:off x="1739481" y="1218322"/>
            <a:ext cx="3389060" cy="4630256"/>
          </a:xfrm>
          <a:custGeom>
            <a:avLst/>
            <a:gdLst>
              <a:gd name="connsiteX0" fmla="*/ 1864361 w 3731264"/>
              <a:gd name="connsiteY0" fmla="*/ 0 h 5097787"/>
              <a:gd name="connsiteX1" fmla="*/ 1864362 w 3731264"/>
              <a:gd name="connsiteY1" fmla="*/ 0 h 5097787"/>
              <a:gd name="connsiteX2" fmla="*/ 1864362 w 3731264"/>
              <a:gd name="connsiteY2" fmla="*/ 0 h 5097787"/>
              <a:gd name="connsiteX3" fmla="*/ 1864363 w 3731264"/>
              <a:gd name="connsiteY3" fmla="*/ 0 h 5097787"/>
              <a:gd name="connsiteX4" fmla="*/ 1888353 w 3731264"/>
              <a:gd name="connsiteY4" fmla="*/ 4882 h 5097787"/>
              <a:gd name="connsiteX5" fmla="*/ 1907156 w 3731264"/>
              <a:gd name="connsiteY5" fmla="*/ 17726 h 5097787"/>
              <a:gd name="connsiteX6" fmla="*/ 1907469 w 3731264"/>
              <a:gd name="connsiteY6" fmla="*/ 17856 h 5097787"/>
              <a:gd name="connsiteX7" fmla="*/ 1907574 w 3731264"/>
              <a:gd name="connsiteY7" fmla="*/ 18011 h 5097787"/>
              <a:gd name="connsiteX8" fmla="*/ 1907701 w 3731264"/>
              <a:gd name="connsiteY8" fmla="*/ 18098 h 5097787"/>
              <a:gd name="connsiteX9" fmla="*/ 1913011 w 3731264"/>
              <a:gd name="connsiteY9" fmla="*/ 26076 h 5097787"/>
              <a:gd name="connsiteX10" fmla="*/ 1920534 w 3731264"/>
              <a:gd name="connsiteY10" fmla="*/ 37233 h 5097787"/>
              <a:gd name="connsiteX11" fmla="*/ 1920575 w 3731264"/>
              <a:gd name="connsiteY11" fmla="*/ 37440 h 5097787"/>
              <a:gd name="connsiteX12" fmla="*/ 1920619 w 3731264"/>
              <a:gd name="connsiteY12" fmla="*/ 37506 h 5097787"/>
              <a:gd name="connsiteX13" fmla="*/ 1925034 w 3731264"/>
              <a:gd name="connsiteY13" fmla="*/ 59523 h 5097787"/>
              <a:gd name="connsiteX14" fmla="*/ 1925324 w 3731264"/>
              <a:gd name="connsiteY14" fmla="*/ 60962 h 5097787"/>
              <a:gd name="connsiteX15" fmla="*/ 1920534 w 3731264"/>
              <a:gd name="connsiteY15" fmla="*/ 84691 h 5097787"/>
              <a:gd name="connsiteX16" fmla="*/ 1920477 w 3731264"/>
              <a:gd name="connsiteY16" fmla="*/ 84775 h 5097787"/>
              <a:gd name="connsiteX17" fmla="*/ 1920441 w 3731264"/>
              <a:gd name="connsiteY17" fmla="*/ 84953 h 5097787"/>
              <a:gd name="connsiteX18" fmla="*/ 1913985 w 3731264"/>
              <a:gd name="connsiteY18" fmla="*/ 94403 h 5097787"/>
              <a:gd name="connsiteX19" fmla="*/ 1907469 w 3731264"/>
              <a:gd name="connsiteY19" fmla="*/ 104069 h 5097787"/>
              <a:gd name="connsiteX20" fmla="*/ 1907349 w 3731264"/>
              <a:gd name="connsiteY20" fmla="*/ 104118 h 5097787"/>
              <a:gd name="connsiteX21" fmla="*/ 1907224 w 3731264"/>
              <a:gd name="connsiteY21" fmla="*/ 104301 h 5097787"/>
              <a:gd name="connsiteX22" fmla="*/ 1878415 w 3731264"/>
              <a:gd name="connsiteY22" fmla="*/ 116145 h 5097787"/>
              <a:gd name="connsiteX23" fmla="*/ 1878415 w 3731264"/>
              <a:gd name="connsiteY23" fmla="*/ 433151 h 5097787"/>
              <a:gd name="connsiteX24" fmla="*/ 1725882 w 3731264"/>
              <a:gd name="connsiteY24" fmla="*/ 585424 h 5097787"/>
              <a:gd name="connsiteX25" fmla="*/ 314912 w 3731264"/>
              <a:gd name="connsiteY25" fmla="*/ 585424 h 5097787"/>
              <a:gd name="connsiteX26" fmla="*/ 25393 w 3731264"/>
              <a:gd name="connsiteY26" fmla="*/ 874974 h 5097787"/>
              <a:gd name="connsiteX27" fmla="*/ 314912 w 3731264"/>
              <a:gd name="connsiteY27" fmla="*/ 1164524 h 5097787"/>
              <a:gd name="connsiteX28" fmla="*/ 1725882 w 3731264"/>
              <a:gd name="connsiteY28" fmla="*/ 1164524 h 5097787"/>
              <a:gd name="connsiteX29" fmla="*/ 1878415 w 3731264"/>
              <a:gd name="connsiteY29" fmla="*/ 1317028 h 5097787"/>
              <a:gd name="connsiteX30" fmla="*/ 1878415 w 3731264"/>
              <a:gd name="connsiteY30" fmla="*/ 1558358 h 5097787"/>
              <a:gd name="connsiteX31" fmla="*/ 1915210 w 3731264"/>
              <a:gd name="connsiteY31" fmla="*/ 1648568 h 5097787"/>
              <a:gd name="connsiteX32" fmla="*/ 2005382 w 3731264"/>
              <a:gd name="connsiteY32" fmla="*/ 1685252 h 5097787"/>
              <a:gd name="connsiteX33" fmla="*/ 3416352 w 3731264"/>
              <a:gd name="connsiteY33" fmla="*/ 1685252 h 5097787"/>
              <a:gd name="connsiteX34" fmla="*/ 3731264 w 3731264"/>
              <a:gd name="connsiteY34" fmla="*/ 2000181 h 5097787"/>
              <a:gd name="connsiteX35" fmla="*/ 3416352 w 3731264"/>
              <a:gd name="connsiteY35" fmla="*/ 2315109 h 5097787"/>
              <a:gd name="connsiteX36" fmla="*/ 2005382 w 3731264"/>
              <a:gd name="connsiteY36" fmla="*/ 2315109 h 5097787"/>
              <a:gd name="connsiteX37" fmla="*/ 1915210 w 3731264"/>
              <a:gd name="connsiteY37" fmla="*/ 2352024 h 5097787"/>
              <a:gd name="connsiteX38" fmla="*/ 1878415 w 3731264"/>
              <a:gd name="connsiteY38" fmla="*/ 2442235 h 5097787"/>
              <a:gd name="connsiteX39" fmla="*/ 1878415 w 3731264"/>
              <a:gd name="connsiteY39" fmla="*/ 2712635 h 5097787"/>
              <a:gd name="connsiteX40" fmla="*/ 1725882 w 3731264"/>
              <a:gd name="connsiteY40" fmla="*/ 2865139 h 5097787"/>
              <a:gd name="connsiteX41" fmla="*/ 314912 w 3731264"/>
              <a:gd name="connsiteY41" fmla="*/ 2865139 h 5097787"/>
              <a:gd name="connsiteX42" fmla="*/ 25393 w 3731264"/>
              <a:gd name="connsiteY42" fmla="*/ 3154689 h 5097787"/>
              <a:gd name="connsiteX43" fmla="*/ 314912 w 3731264"/>
              <a:gd name="connsiteY43" fmla="*/ 3444238 h 5097787"/>
              <a:gd name="connsiteX44" fmla="*/ 1725882 w 3731264"/>
              <a:gd name="connsiteY44" fmla="*/ 3444238 h 5097787"/>
              <a:gd name="connsiteX45" fmla="*/ 1878415 w 3731264"/>
              <a:gd name="connsiteY45" fmla="*/ 3596742 h 5097787"/>
              <a:gd name="connsiteX46" fmla="*/ 1878415 w 3731264"/>
              <a:gd name="connsiteY46" fmla="*/ 3837842 h 5097787"/>
              <a:gd name="connsiteX47" fmla="*/ 1915210 w 3731264"/>
              <a:gd name="connsiteY47" fmla="*/ 3928052 h 5097787"/>
              <a:gd name="connsiteX48" fmla="*/ 2005382 w 3731264"/>
              <a:gd name="connsiteY48" fmla="*/ 3964967 h 5097787"/>
              <a:gd name="connsiteX49" fmla="*/ 3416352 w 3731264"/>
              <a:gd name="connsiteY49" fmla="*/ 3964967 h 5097787"/>
              <a:gd name="connsiteX50" fmla="*/ 3731264 w 3731264"/>
              <a:gd name="connsiteY50" fmla="*/ 4277358 h 5097787"/>
              <a:gd name="connsiteX51" fmla="*/ 3416352 w 3731264"/>
              <a:gd name="connsiteY51" fmla="*/ 4592286 h 5097787"/>
              <a:gd name="connsiteX52" fmla="*/ 2005382 w 3731264"/>
              <a:gd name="connsiteY52" fmla="*/ 4592286 h 5097787"/>
              <a:gd name="connsiteX53" fmla="*/ 1878415 w 3731264"/>
              <a:gd name="connsiteY53" fmla="*/ 4719411 h 5097787"/>
              <a:gd name="connsiteX54" fmla="*/ 1878415 w 3731264"/>
              <a:gd name="connsiteY54" fmla="*/ 4977122 h 5097787"/>
              <a:gd name="connsiteX55" fmla="*/ 1926611 w 3731264"/>
              <a:gd name="connsiteY55" fmla="*/ 5036878 h 5097787"/>
              <a:gd name="connsiteX56" fmla="*/ 1865632 w 3731264"/>
              <a:gd name="connsiteY56" fmla="*/ 5097787 h 5097787"/>
              <a:gd name="connsiteX57" fmla="*/ 1804654 w 3731264"/>
              <a:gd name="connsiteY57" fmla="*/ 5036878 h 5097787"/>
              <a:gd name="connsiteX58" fmla="*/ 1852849 w 3731264"/>
              <a:gd name="connsiteY58" fmla="*/ 4977122 h 5097787"/>
              <a:gd name="connsiteX59" fmla="*/ 1852849 w 3731264"/>
              <a:gd name="connsiteY59" fmla="*/ 4719411 h 5097787"/>
              <a:gd name="connsiteX60" fmla="*/ 2005382 w 3731264"/>
              <a:gd name="connsiteY60" fmla="*/ 4566907 h 5097787"/>
              <a:gd name="connsiteX61" fmla="*/ 3416352 w 3731264"/>
              <a:gd name="connsiteY61" fmla="*/ 4566907 h 5097787"/>
              <a:gd name="connsiteX62" fmla="*/ 3705871 w 3731264"/>
              <a:gd name="connsiteY62" fmla="*/ 4277358 h 5097787"/>
              <a:gd name="connsiteX63" fmla="*/ 3416352 w 3731264"/>
              <a:gd name="connsiteY63" fmla="*/ 3987808 h 5097787"/>
              <a:gd name="connsiteX64" fmla="*/ 2005382 w 3731264"/>
              <a:gd name="connsiteY64" fmla="*/ 3987808 h 5097787"/>
              <a:gd name="connsiteX65" fmla="*/ 1897417 w 3731264"/>
              <a:gd name="connsiteY65" fmla="*/ 3943279 h 5097787"/>
              <a:gd name="connsiteX66" fmla="*/ 1852849 w 3731264"/>
              <a:gd name="connsiteY66" fmla="*/ 3835304 h 5097787"/>
              <a:gd name="connsiteX67" fmla="*/ 1852849 w 3731264"/>
              <a:gd name="connsiteY67" fmla="*/ 3594204 h 5097787"/>
              <a:gd name="connsiteX68" fmla="*/ 1725882 w 3731264"/>
              <a:gd name="connsiteY68" fmla="*/ 3467079 h 5097787"/>
              <a:gd name="connsiteX69" fmla="*/ 314912 w 3731264"/>
              <a:gd name="connsiteY69" fmla="*/ 3467079 h 5097787"/>
              <a:gd name="connsiteX70" fmla="*/ 0 w 3731264"/>
              <a:gd name="connsiteY70" fmla="*/ 3152151 h 5097787"/>
              <a:gd name="connsiteX71" fmla="*/ 314912 w 3731264"/>
              <a:gd name="connsiteY71" fmla="*/ 2837222 h 5097787"/>
              <a:gd name="connsiteX72" fmla="*/ 1725882 w 3731264"/>
              <a:gd name="connsiteY72" fmla="*/ 2837222 h 5097787"/>
              <a:gd name="connsiteX73" fmla="*/ 1852849 w 3731264"/>
              <a:gd name="connsiteY73" fmla="*/ 2710097 h 5097787"/>
              <a:gd name="connsiteX74" fmla="*/ 1852849 w 3731264"/>
              <a:gd name="connsiteY74" fmla="*/ 2439697 h 5097787"/>
              <a:gd name="connsiteX75" fmla="*/ 1897417 w 3731264"/>
              <a:gd name="connsiteY75" fmla="*/ 2331721 h 5097787"/>
              <a:gd name="connsiteX76" fmla="*/ 2005382 w 3731264"/>
              <a:gd name="connsiteY76" fmla="*/ 2287193 h 5097787"/>
              <a:gd name="connsiteX77" fmla="*/ 3416352 w 3731264"/>
              <a:gd name="connsiteY77" fmla="*/ 2287193 h 5097787"/>
              <a:gd name="connsiteX78" fmla="*/ 3705871 w 3731264"/>
              <a:gd name="connsiteY78" fmla="*/ 1997643 h 5097787"/>
              <a:gd name="connsiteX79" fmla="*/ 3416352 w 3731264"/>
              <a:gd name="connsiteY79" fmla="*/ 1708093 h 5097787"/>
              <a:gd name="connsiteX80" fmla="*/ 2005382 w 3731264"/>
              <a:gd name="connsiteY80" fmla="*/ 1708093 h 5097787"/>
              <a:gd name="connsiteX81" fmla="*/ 1897417 w 3731264"/>
              <a:gd name="connsiteY81" fmla="*/ 1663795 h 5097787"/>
              <a:gd name="connsiteX82" fmla="*/ 1852849 w 3731264"/>
              <a:gd name="connsiteY82" fmla="*/ 1555820 h 5097787"/>
              <a:gd name="connsiteX83" fmla="*/ 1852849 w 3731264"/>
              <a:gd name="connsiteY83" fmla="*/ 1314490 h 5097787"/>
              <a:gd name="connsiteX84" fmla="*/ 1725882 w 3731264"/>
              <a:gd name="connsiteY84" fmla="*/ 1187365 h 5097787"/>
              <a:gd name="connsiteX85" fmla="*/ 314912 w 3731264"/>
              <a:gd name="connsiteY85" fmla="*/ 1187365 h 5097787"/>
              <a:gd name="connsiteX86" fmla="*/ 0 w 3731264"/>
              <a:gd name="connsiteY86" fmla="*/ 872436 h 5097787"/>
              <a:gd name="connsiteX87" fmla="*/ 314912 w 3731264"/>
              <a:gd name="connsiteY87" fmla="*/ 557508 h 5097787"/>
              <a:gd name="connsiteX88" fmla="*/ 1725882 w 3731264"/>
              <a:gd name="connsiteY88" fmla="*/ 557508 h 5097787"/>
              <a:gd name="connsiteX89" fmla="*/ 1852849 w 3731264"/>
              <a:gd name="connsiteY89" fmla="*/ 430613 h 5097787"/>
              <a:gd name="connsiteX90" fmla="*/ 1852849 w 3731264"/>
              <a:gd name="connsiteY90" fmla="*/ 117155 h 5097787"/>
              <a:gd name="connsiteX91" fmla="*/ 1821256 w 3731264"/>
              <a:gd name="connsiteY91" fmla="*/ 104069 h 5097787"/>
              <a:gd name="connsiteX92" fmla="*/ 1808191 w 3731264"/>
              <a:gd name="connsiteY92" fmla="*/ 84691 h 5097787"/>
              <a:gd name="connsiteX93" fmla="*/ 1803409 w 3731264"/>
              <a:gd name="connsiteY93" fmla="*/ 61004 h 5097787"/>
              <a:gd name="connsiteX94" fmla="*/ 1803399 w 3731264"/>
              <a:gd name="connsiteY94" fmla="*/ 60962 h 5097787"/>
              <a:gd name="connsiteX95" fmla="*/ 1803528 w 3731264"/>
              <a:gd name="connsiteY95" fmla="*/ 60329 h 5097787"/>
              <a:gd name="connsiteX96" fmla="*/ 1808191 w 3731264"/>
              <a:gd name="connsiteY96" fmla="*/ 37233 h 5097787"/>
              <a:gd name="connsiteX97" fmla="*/ 1808243 w 3731264"/>
              <a:gd name="connsiteY97" fmla="*/ 37155 h 5097787"/>
              <a:gd name="connsiteX98" fmla="*/ 1808281 w 3731264"/>
              <a:gd name="connsiteY98" fmla="*/ 36970 h 5097787"/>
              <a:gd name="connsiteX99" fmla="*/ 1815009 w 3731264"/>
              <a:gd name="connsiteY99" fmla="*/ 27121 h 5097787"/>
              <a:gd name="connsiteX100" fmla="*/ 1821256 w 3731264"/>
              <a:gd name="connsiteY100" fmla="*/ 17856 h 5097787"/>
              <a:gd name="connsiteX101" fmla="*/ 1821370 w 3731264"/>
              <a:gd name="connsiteY101" fmla="*/ 17808 h 5097787"/>
              <a:gd name="connsiteX102" fmla="*/ 1821497 w 3731264"/>
              <a:gd name="connsiteY102" fmla="*/ 17622 h 5097787"/>
              <a:gd name="connsiteX103" fmla="*/ 1864361 w 3731264"/>
              <a:gd name="connsiteY103" fmla="*/ 0 h 509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731264" h="5097787">
                <a:moveTo>
                  <a:pt x="1864361" y="0"/>
                </a:moveTo>
                <a:lnTo>
                  <a:pt x="1864362" y="0"/>
                </a:lnTo>
                <a:lnTo>
                  <a:pt x="1864362" y="0"/>
                </a:lnTo>
                <a:lnTo>
                  <a:pt x="1864363" y="0"/>
                </a:lnTo>
                <a:lnTo>
                  <a:pt x="1888353" y="4882"/>
                </a:lnTo>
                <a:lnTo>
                  <a:pt x="1907156" y="17726"/>
                </a:lnTo>
                <a:lnTo>
                  <a:pt x="1907469" y="17856"/>
                </a:lnTo>
                <a:lnTo>
                  <a:pt x="1907574" y="18011"/>
                </a:lnTo>
                <a:lnTo>
                  <a:pt x="1907701" y="18098"/>
                </a:lnTo>
                <a:lnTo>
                  <a:pt x="1913011" y="26076"/>
                </a:lnTo>
                <a:lnTo>
                  <a:pt x="1920534" y="37233"/>
                </a:lnTo>
                <a:lnTo>
                  <a:pt x="1920575" y="37440"/>
                </a:lnTo>
                <a:lnTo>
                  <a:pt x="1920619" y="37506"/>
                </a:lnTo>
                <a:lnTo>
                  <a:pt x="1925034" y="59523"/>
                </a:lnTo>
                <a:lnTo>
                  <a:pt x="1925324" y="60962"/>
                </a:lnTo>
                <a:cubicBezTo>
                  <a:pt x="1925324" y="69379"/>
                  <a:pt x="1923618" y="77398"/>
                  <a:pt x="1920534" y="84691"/>
                </a:cubicBezTo>
                <a:lnTo>
                  <a:pt x="1920477" y="84775"/>
                </a:lnTo>
                <a:lnTo>
                  <a:pt x="1920441" y="84953"/>
                </a:lnTo>
                <a:lnTo>
                  <a:pt x="1913985" y="94403"/>
                </a:lnTo>
                <a:lnTo>
                  <a:pt x="1907469" y="104069"/>
                </a:lnTo>
                <a:lnTo>
                  <a:pt x="1907349" y="104118"/>
                </a:lnTo>
                <a:lnTo>
                  <a:pt x="1907224" y="104301"/>
                </a:lnTo>
                <a:lnTo>
                  <a:pt x="1878415" y="116145"/>
                </a:lnTo>
                <a:lnTo>
                  <a:pt x="1878415" y="433151"/>
                </a:lnTo>
                <a:cubicBezTo>
                  <a:pt x="1878415" y="516901"/>
                  <a:pt x="1809836" y="585424"/>
                  <a:pt x="1725882" y="585424"/>
                </a:cubicBezTo>
                <a:lnTo>
                  <a:pt x="314912" y="585424"/>
                </a:lnTo>
                <a:cubicBezTo>
                  <a:pt x="154951" y="585424"/>
                  <a:pt x="25393" y="715087"/>
                  <a:pt x="25393" y="874974"/>
                </a:cubicBezTo>
                <a:cubicBezTo>
                  <a:pt x="25393" y="1035092"/>
                  <a:pt x="154951" y="1164524"/>
                  <a:pt x="314912" y="1164524"/>
                </a:cubicBezTo>
                <a:lnTo>
                  <a:pt x="1725882" y="1164524"/>
                </a:lnTo>
                <a:cubicBezTo>
                  <a:pt x="1809836" y="1164524"/>
                  <a:pt x="1878415" y="1233278"/>
                  <a:pt x="1878415" y="1317028"/>
                </a:cubicBezTo>
                <a:lnTo>
                  <a:pt x="1878415" y="1558358"/>
                </a:lnTo>
                <a:cubicBezTo>
                  <a:pt x="1878415" y="1592504"/>
                  <a:pt x="1891026" y="1624343"/>
                  <a:pt x="1915210" y="1648568"/>
                </a:cubicBezTo>
                <a:cubicBezTo>
                  <a:pt x="1939221" y="1672563"/>
                  <a:pt x="1971006" y="1685252"/>
                  <a:pt x="2005382" y="1685252"/>
                </a:cubicBezTo>
                <a:lnTo>
                  <a:pt x="3416352" y="1685252"/>
                </a:lnTo>
                <a:cubicBezTo>
                  <a:pt x="3590305" y="1685252"/>
                  <a:pt x="3731264" y="1826220"/>
                  <a:pt x="3731264" y="2000181"/>
                </a:cubicBezTo>
                <a:cubicBezTo>
                  <a:pt x="3731264" y="2174141"/>
                  <a:pt x="3590305" y="2315109"/>
                  <a:pt x="3416352" y="2315109"/>
                </a:cubicBezTo>
                <a:lnTo>
                  <a:pt x="2005382" y="2315109"/>
                </a:lnTo>
                <a:cubicBezTo>
                  <a:pt x="1971006" y="2315109"/>
                  <a:pt x="1939221" y="2327799"/>
                  <a:pt x="1915210" y="2352024"/>
                </a:cubicBezTo>
                <a:cubicBezTo>
                  <a:pt x="1891026" y="2376250"/>
                  <a:pt x="1878415" y="2407858"/>
                  <a:pt x="1878415" y="2442235"/>
                </a:cubicBezTo>
                <a:lnTo>
                  <a:pt x="1878415" y="2712635"/>
                </a:lnTo>
                <a:cubicBezTo>
                  <a:pt x="1878415" y="2796616"/>
                  <a:pt x="1809836" y="2865139"/>
                  <a:pt x="1725882" y="2865139"/>
                </a:cubicBezTo>
                <a:lnTo>
                  <a:pt x="314912" y="2865139"/>
                </a:lnTo>
                <a:cubicBezTo>
                  <a:pt x="154951" y="2865139"/>
                  <a:pt x="25393" y="2994571"/>
                  <a:pt x="25393" y="3154689"/>
                </a:cubicBezTo>
                <a:cubicBezTo>
                  <a:pt x="25393" y="3314806"/>
                  <a:pt x="154951" y="3444238"/>
                  <a:pt x="314912" y="3444238"/>
                </a:cubicBezTo>
                <a:lnTo>
                  <a:pt x="1725882" y="3444238"/>
                </a:lnTo>
                <a:cubicBezTo>
                  <a:pt x="1809836" y="3444238"/>
                  <a:pt x="1878415" y="3512761"/>
                  <a:pt x="1878415" y="3596742"/>
                </a:cubicBezTo>
                <a:lnTo>
                  <a:pt x="1878415" y="3837842"/>
                </a:lnTo>
                <a:cubicBezTo>
                  <a:pt x="1878415" y="3872218"/>
                  <a:pt x="1891026" y="3904057"/>
                  <a:pt x="1915210" y="3928052"/>
                </a:cubicBezTo>
                <a:cubicBezTo>
                  <a:pt x="1939221" y="3952277"/>
                  <a:pt x="1971006" y="3964967"/>
                  <a:pt x="2005382" y="3964967"/>
                </a:cubicBezTo>
                <a:lnTo>
                  <a:pt x="3416352" y="3964967"/>
                </a:lnTo>
                <a:cubicBezTo>
                  <a:pt x="3590305" y="3964967"/>
                  <a:pt x="3731264" y="4103397"/>
                  <a:pt x="3731264" y="4277358"/>
                </a:cubicBezTo>
                <a:cubicBezTo>
                  <a:pt x="3731264" y="4451318"/>
                  <a:pt x="3590305" y="4592286"/>
                  <a:pt x="3416352" y="4592286"/>
                </a:cubicBezTo>
                <a:lnTo>
                  <a:pt x="2005382" y="4592286"/>
                </a:lnTo>
                <a:cubicBezTo>
                  <a:pt x="1935421" y="4592286"/>
                  <a:pt x="1878415" y="4649504"/>
                  <a:pt x="1878415" y="4719411"/>
                </a:cubicBezTo>
                <a:lnTo>
                  <a:pt x="1878415" y="4977122"/>
                </a:lnTo>
                <a:cubicBezTo>
                  <a:pt x="1906227" y="4983582"/>
                  <a:pt x="1926611" y="5007577"/>
                  <a:pt x="1926611" y="5036878"/>
                </a:cubicBezTo>
                <a:cubicBezTo>
                  <a:pt x="1926611" y="5071024"/>
                  <a:pt x="1898626" y="5097787"/>
                  <a:pt x="1865632" y="5097787"/>
                </a:cubicBezTo>
                <a:cubicBezTo>
                  <a:pt x="1831429" y="5097787"/>
                  <a:pt x="1804654" y="5069870"/>
                  <a:pt x="1804654" y="5036878"/>
                </a:cubicBezTo>
                <a:cubicBezTo>
                  <a:pt x="1804654" y="5007577"/>
                  <a:pt x="1826247" y="4983582"/>
                  <a:pt x="1852849" y="4977122"/>
                </a:cubicBezTo>
                <a:lnTo>
                  <a:pt x="1852849" y="4719411"/>
                </a:lnTo>
                <a:cubicBezTo>
                  <a:pt x="1852849" y="4635430"/>
                  <a:pt x="1921428" y="4566907"/>
                  <a:pt x="2005382" y="4566907"/>
                </a:cubicBezTo>
                <a:lnTo>
                  <a:pt x="3416352" y="4566907"/>
                </a:lnTo>
                <a:cubicBezTo>
                  <a:pt x="3576313" y="4566907"/>
                  <a:pt x="3705871" y="4437475"/>
                  <a:pt x="3705871" y="4277358"/>
                </a:cubicBezTo>
                <a:cubicBezTo>
                  <a:pt x="3705871" y="4117240"/>
                  <a:pt x="3576313" y="3987808"/>
                  <a:pt x="3416352" y="3987808"/>
                </a:cubicBezTo>
                <a:lnTo>
                  <a:pt x="2005382" y="3987808"/>
                </a:lnTo>
                <a:cubicBezTo>
                  <a:pt x="1964614" y="3987808"/>
                  <a:pt x="1926611" y="3972580"/>
                  <a:pt x="1897417" y="3943279"/>
                </a:cubicBezTo>
                <a:cubicBezTo>
                  <a:pt x="1868223" y="3914209"/>
                  <a:pt x="1852849" y="3876141"/>
                  <a:pt x="1852849" y="3835304"/>
                </a:cubicBezTo>
                <a:lnTo>
                  <a:pt x="1852849" y="3594204"/>
                </a:lnTo>
                <a:cubicBezTo>
                  <a:pt x="1852849" y="3524297"/>
                  <a:pt x="1795843" y="3467079"/>
                  <a:pt x="1725882" y="3467079"/>
                </a:cubicBezTo>
                <a:lnTo>
                  <a:pt x="314912" y="3467079"/>
                </a:lnTo>
                <a:cubicBezTo>
                  <a:pt x="140959" y="3467079"/>
                  <a:pt x="0" y="3326111"/>
                  <a:pt x="0" y="3152151"/>
                </a:cubicBezTo>
                <a:cubicBezTo>
                  <a:pt x="0" y="2978190"/>
                  <a:pt x="140959" y="2837222"/>
                  <a:pt x="314912" y="2837222"/>
                </a:cubicBezTo>
                <a:lnTo>
                  <a:pt x="1725882" y="2837222"/>
                </a:lnTo>
                <a:cubicBezTo>
                  <a:pt x="1795843" y="2837222"/>
                  <a:pt x="1852849" y="2780004"/>
                  <a:pt x="1852849" y="2710097"/>
                </a:cubicBezTo>
                <a:lnTo>
                  <a:pt x="1852849" y="2439697"/>
                </a:lnTo>
                <a:cubicBezTo>
                  <a:pt x="1852849" y="2399090"/>
                  <a:pt x="1868223" y="2361022"/>
                  <a:pt x="1897417" y="2331721"/>
                </a:cubicBezTo>
                <a:cubicBezTo>
                  <a:pt x="1926611" y="2302420"/>
                  <a:pt x="1964614" y="2287193"/>
                  <a:pt x="2005382" y="2287193"/>
                </a:cubicBezTo>
                <a:lnTo>
                  <a:pt x="3416352" y="2287193"/>
                </a:lnTo>
                <a:cubicBezTo>
                  <a:pt x="3576313" y="2287193"/>
                  <a:pt x="3705871" y="2157761"/>
                  <a:pt x="3705871" y="1997643"/>
                </a:cubicBezTo>
                <a:cubicBezTo>
                  <a:pt x="3705871" y="1837756"/>
                  <a:pt x="3576313" y="1708093"/>
                  <a:pt x="3416352" y="1708093"/>
                </a:cubicBezTo>
                <a:lnTo>
                  <a:pt x="2005382" y="1708093"/>
                </a:lnTo>
                <a:cubicBezTo>
                  <a:pt x="1964614" y="1708093"/>
                  <a:pt x="1926611" y="1692866"/>
                  <a:pt x="1897417" y="1663795"/>
                </a:cubicBezTo>
                <a:cubicBezTo>
                  <a:pt x="1868223" y="1634494"/>
                  <a:pt x="1852849" y="1596426"/>
                  <a:pt x="1852849" y="1555820"/>
                </a:cubicBezTo>
                <a:lnTo>
                  <a:pt x="1852849" y="1314490"/>
                </a:lnTo>
                <a:cubicBezTo>
                  <a:pt x="1852849" y="1244583"/>
                  <a:pt x="1795843" y="1187365"/>
                  <a:pt x="1725882" y="1187365"/>
                </a:cubicBezTo>
                <a:lnTo>
                  <a:pt x="314912" y="1187365"/>
                </a:lnTo>
                <a:cubicBezTo>
                  <a:pt x="140959" y="1187365"/>
                  <a:pt x="0" y="1046397"/>
                  <a:pt x="0" y="872436"/>
                </a:cubicBezTo>
                <a:cubicBezTo>
                  <a:pt x="0" y="698476"/>
                  <a:pt x="140959" y="557508"/>
                  <a:pt x="314912" y="557508"/>
                </a:cubicBezTo>
                <a:lnTo>
                  <a:pt x="1725882" y="557508"/>
                </a:lnTo>
                <a:cubicBezTo>
                  <a:pt x="1795843" y="557508"/>
                  <a:pt x="1852849" y="500290"/>
                  <a:pt x="1852849" y="430613"/>
                </a:cubicBezTo>
                <a:lnTo>
                  <a:pt x="1852849" y="117155"/>
                </a:lnTo>
                <a:lnTo>
                  <a:pt x="1821256" y="104069"/>
                </a:lnTo>
                <a:cubicBezTo>
                  <a:pt x="1815740" y="98553"/>
                  <a:pt x="1811276" y="91984"/>
                  <a:pt x="1808191" y="84691"/>
                </a:cubicBezTo>
                <a:lnTo>
                  <a:pt x="1803409" y="61004"/>
                </a:lnTo>
                <a:lnTo>
                  <a:pt x="1803399" y="60962"/>
                </a:lnTo>
                <a:lnTo>
                  <a:pt x="1803528" y="60329"/>
                </a:lnTo>
                <a:lnTo>
                  <a:pt x="1808191" y="37233"/>
                </a:lnTo>
                <a:lnTo>
                  <a:pt x="1808243" y="37155"/>
                </a:lnTo>
                <a:lnTo>
                  <a:pt x="1808281" y="36970"/>
                </a:lnTo>
                <a:lnTo>
                  <a:pt x="1815009" y="27121"/>
                </a:lnTo>
                <a:lnTo>
                  <a:pt x="1821256" y="17856"/>
                </a:lnTo>
                <a:lnTo>
                  <a:pt x="1821370" y="17808"/>
                </a:lnTo>
                <a:lnTo>
                  <a:pt x="1821497" y="17622"/>
                </a:lnTo>
                <a:cubicBezTo>
                  <a:pt x="1832610" y="6668"/>
                  <a:pt x="1847851" y="0"/>
                  <a:pt x="1864361" y="0"/>
                </a:cubicBezTo>
                <a:close/>
              </a:path>
            </a:pathLst>
          </a:custGeom>
          <a:solidFill>
            <a:schemeClr val="bg2">
              <a:lumMod val="75000"/>
            </a:schemeClr>
          </a:solidFill>
          <a:ln w="12700">
            <a:miter lim="400000"/>
          </a:ln>
        </p:spPr>
        <p:txBody>
          <a:bodyPr wrap="square" lIns="28575" tIns="28575" rIns="28575" bIns="28575" anchor="ctr">
            <a:noAutofit/>
          </a:bodyPr>
          <a:lstStyle/>
          <a:p>
            <a:pPr>
              <a:defRPr sz="3000">
                <a:solidFill>
                  <a:srgbClr val="FFFFFF"/>
                </a:solidFill>
              </a:defRPr>
            </a:pPr>
            <a:endParaRPr sz="2400"/>
          </a:p>
        </p:txBody>
      </p:sp>
      <p:grpSp>
        <p:nvGrpSpPr>
          <p:cNvPr id="7" name="Group 6">
            <a:extLst>
              <a:ext uri="{FF2B5EF4-FFF2-40B4-BE49-F238E27FC236}">
                <a16:creationId xmlns:a16="http://schemas.microsoft.com/office/drawing/2014/main" id="{988DF19F-DFF4-D4D1-06AB-8A290A7A54E6}"/>
              </a:ext>
            </a:extLst>
          </p:cNvPr>
          <p:cNvGrpSpPr/>
          <p:nvPr/>
        </p:nvGrpSpPr>
        <p:grpSpPr>
          <a:xfrm>
            <a:off x="1856015" y="3884286"/>
            <a:ext cx="406044" cy="406044"/>
            <a:chOff x="4331336" y="3808094"/>
            <a:chExt cx="447043" cy="447043"/>
          </a:xfrm>
        </p:grpSpPr>
        <p:sp>
          <p:nvSpPr>
            <p:cNvPr id="8" name="Circle">
              <a:extLst>
                <a:ext uri="{FF2B5EF4-FFF2-40B4-BE49-F238E27FC236}">
                  <a16:creationId xmlns:a16="http://schemas.microsoft.com/office/drawing/2014/main" id="{7D09493A-CF3F-0FE9-98C3-73D7BD7FA9AF}"/>
                </a:ext>
              </a:extLst>
            </p:cNvPr>
            <p:cNvSpPr/>
            <p:nvPr/>
          </p:nvSpPr>
          <p:spPr>
            <a:xfrm>
              <a:off x="4331336" y="3808094"/>
              <a:ext cx="447043" cy="447043"/>
            </a:xfrm>
            <a:prstGeom prst="ellipse">
              <a:avLst/>
            </a:prstGeom>
            <a:solidFill>
              <a:schemeClr val="accent6"/>
            </a:solidFill>
            <a:ln w="12700">
              <a:miter lim="400000"/>
            </a:ln>
          </p:spPr>
          <p:txBody>
            <a:bodyPr lIns="28575" tIns="28575" rIns="28575" bIns="28575" anchor="ctr"/>
            <a:lstStyle/>
            <a:p>
              <a:pPr>
                <a:defRPr sz="3000">
                  <a:solidFill>
                    <a:srgbClr val="FFFFFF"/>
                  </a:solidFill>
                </a:defRPr>
              </a:pPr>
              <a:endParaRPr sz="2400"/>
            </a:p>
          </p:txBody>
        </p:sp>
        <p:pic>
          <p:nvPicPr>
            <p:cNvPr id="9" name="Graphic 8" descr="Hourglass Finished with solid fill">
              <a:extLst>
                <a:ext uri="{FF2B5EF4-FFF2-40B4-BE49-F238E27FC236}">
                  <a16:creationId xmlns:a16="http://schemas.microsoft.com/office/drawing/2014/main" id="{1A3FCBBA-EE2C-A6EC-E11F-D39E581152E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79775" y="3856533"/>
              <a:ext cx="350164" cy="350164"/>
            </a:xfrm>
            <a:prstGeom prst="rect">
              <a:avLst/>
            </a:prstGeom>
          </p:spPr>
        </p:pic>
      </p:grpSp>
      <p:sp>
        <p:nvSpPr>
          <p:cNvPr id="11" name="TextBox 10">
            <a:extLst>
              <a:ext uri="{FF2B5EF4-FFF2-40B4-BE49-F238E27FC236}">
                <a16:creationId xmlns:a16="http://schemas.microsoft.com/office/drawing/2014/main" id="{A81EB6DE-1F51-35B6-6F31-6175D79E601E}"/>
              </a:ext>
            </a:extLst>
          </p:cNvPr>
          <p:cNvSpPr txBox="1"/>
          <p:nvPr/>
        </p:nvSpPr>
        <p:spPr>
          <a:xfrm>
            <a:off x="2306056" y="3829134"/>
            <a:ext cx="1585135"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FFB500"/>
                </a:solidFill>
                <a:latin typeface="Roboto"/>
                <a:ea typeface="Roboto"/>
                <a:cs typeface="Arial"/>
              </a:rPr>
              <a:t>Root Cause Analysis</a:t>
            </a:r>
            <a:endParaRPr lang="en-US">
              <a:solidFill>
                <a:srgbClr val="FFB500"/>
              </a:solidFill>
            </a:endParaRPr>
          </a:p>
        </p:txBody>
      </p:sp>
      <p:sp>
        <p:nvSpPr>
          <p:cNvPr id="12" name="TextBox 11">
            <a:extLst>
              <a:ext uri="{FF2B5EF4-FFF2-40B4-BE49-F238E27FC236}">
                <a16:creationId xmlns:a16="http://schemas.microsoft.com/office/drawing/2014/main" id="{D66D06FC-D36E-E8A6-324F-16FCD7AFC989}"/>
              </a:ext>
            </a:extLst>
          </p:cNvPr>
          <p:cNvSpPr txBox="1"/>
          <p:nvPr/>
        </p:nvSpPr>
        <p:spPr>
          <a:xfrm>
            <a:off x="3559281" y="1550834"/>
            <a:ext cx="2743200" cy="84638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a:solidFill>
                  <a:srgbClr val="444444"/>
                </a:solidFill>
                <a:latin typeface="Calibri"/>
                <a:cs typeface="Arial"/>
              </a:rPr>
              <a:t>Grouping logs by user email across services is not possible in Datadog​</a:t>
            </a:r>
          </a:p>
          <a:p>
            <a:pPr marL="228600" lvl="1" indent="-228600">
              <a:buFont typeface=""/>
              <a:buChar char="•"/>
            </a:pPr>
            <a:r>
              <a:rPr lang="en-US" sz="1100">
                <a:solidFill>
                  <a:srgbClr val="444444"/>
                </a:solidFill>
                <a:latin typeface="Calibri"/>
                <a:cs typeface="Arial"/>
              </a:rPr>
              <a:t>Perform Grouping by using Azure Ai Text analytics based on email id (currently implemented)</a:t>
            </a:r>
          </a:p>
        </p:txBody>
      </p:sp>
      <p:sp>
        <p:nvSpPr>
          <p:cNvPr id="19" name="TextBox 18">
            <a:extLst>
              <a:ext uri="{FF2B5EF4-FFF2-40B4-BE49-F238E27FC236}">
                <a16:creationId xmlns:a16="http://schemas.microsoft.com/office/drawing/2014/main" id="{B47FC324-D98A-A2C0-3CF5-BDC97E96325D}"/>
              </a:ext>
            </a:extLst>
          </p:cNvPr>
          <p:cNvSpPr txBox="1"/>
          <p:nvPr/>
        </p:nvSpPr>
        <p:spPr>
          <a:xfrm>
            <a:off x="3530521" y="3807703"/>
            <a:ext cx="2743200" cy="50783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a:solidFill>
                  <a:srgbClr val="444444"/>
                </a:solidFill>
                <a:latin typeface="Calibri"/>
                <a:cs typeface="Arial"/>
              </a:rPr>
              <a:t> Cluster the errors for each users.</a:t>
            </a:r>
            <a:endParaRPr lang="en-US" sz="1100">
              <a:solidFill>
                <a:srgbClr val="444444"/>
              </a:solidFill>
              <a:latin typeface="Calibri"/>
              <a:ea typeface="Calibri"/>
              <a:cs typeface="Arial"/>
            </a:endParaRPr>
          </a:p>
          <a:p>
            <a:pPr marL="228600" lvl="1" indent="-228600">
              <a:buFont typeface=""/>
              <a:buChar char="•"/>
            </a:pPr>
            <a:r>
              <a:rPr lang="en-US" sz="1100">
                <a:solidFill>
                  <a:srgbClr val="444444"/>
                </a:solidFill>
                <a:latin typeface="Calibri"/>
                <a:cs typeface="Arial"/>
              </a:rPr>
              <a:t>The number of clusters are determined by </a:t>
            </a:r>
            <a:r>
              <a:rPr lang="en-US" sz="1100" b="1">
                <a:solidFill>
                  <a:srgbClr val="444444"/>
                </a:solidFill>
                <a:latin typeface="Calibri"/>
                <a:cs typeface="Arial"/>
              </a:rPr>
              <a:t>silhouette score</a:t>
            </a:r>
            <a:endParaRPr lang="en-US" sz="1100" b="1">
              <a:solidFill>
                <a:srgbClr val="444444"/>
              </a:solidFill>
              <a:latin typeface="Calibri"/>
              <a:ea typeface="Calibri"/>
              <a:cs typeface="Arial"/>
            </a:endParaRPr>
          </a:p>
        </p:txBody>
      </p:sp>
      <p:sp>
        <p:nvSpPr>
          <p:cNvPr id="20" name="TextBox 19">
            <a:extLst>
              <a:ext uri="{FF2B5EF4-FFF2-40B4-BE49-F238E27FC236}">
                <a16:creationId xmlns:a16="http://schemas.microsoft.com/office/drawing/2014/main" id="{5F56AD3F-32C9-BB2E-5D67-D2DD3FC4BAF2}"/>
              </a:ext>
            </a:extLst>
          </p:cNvPr>
          <p:cNvSpPr txBox="1"/>
          <p:nvPr/>
        </p:nvSpPr>
        <p:spPr>
          <a:xfrm>
            <a:off x="683082" y="2672490"/>
            <a:ext cx="2743200" cy="84638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a:solidFill>
                  <a:srgbClr val="444444"/>
                </a:solidFill>
                <a:latin typeface="Calibri"/>
                <a:cs typeface="Arial"/>
              </a:rPr>
              <a:t>After grouping logs based on user email</a:t>
            </a:r>
          </a:p>
          <a:p>
            <a:pPr marL="228600" lvl="1" indent="-228600">
              <a:buFont typeface=""/>
              <a:buChar char="•"/>
            </a:pPr>
            <a:r>
              <a:rPr lang="en-US" sz="1100">
                <a:solidFill>
                  <a:srgbClr val="444444"/>
                </a:solidFill>
                <a:latin typeface="Calibri"/>
                <a:cs typeface="Arial"/>
              </a:rPr>
              <a:t>Use Log Categorization to categorize kind of report user runs</a:t>
            </a:r>
          </a:p>
          <a:p>
            <a:pPr marL="228600" lvl="1" indent="-228600">
              <a:buFont typeface=""/>
              <a:buChar char="•"/>
            </a:pPr>
            <a:r>
              <a:rPr lang="en-US" sz="1100" err="1">
                <a:solidFill>
                  <a:srgbClr val="444444"/>
                </a:solidFill>
                <a:latin typeface="Calibri"/>
                <a:cs typeface="Arial"/>
              </a:rPr>
              <a:t>Eg</a:t>
            </a:r>
            <a:r>
              <a:rPr lang="en-US" sz="1100">
                <a:solidFill>
                  <a:srgbClr val="444444"/>
                </a:solidFill>
                <a:latin typeface="Calibri"/>
                <a:cs typeface="Arial"/>
              </a:rPr>
              <a:t>: Condition, Rank,  general reports etc.</a:t>
            </a:r>
          </a:p>
          <a:p>
            <a:pPr marL="228600" lvl="1" indent="-228600">
              <a:buFont typeface=""/>
              <a:buChar char="•"/>
            </a:pPr>
            <a:endParaRPr lang="en-US" sz="1100">
              <a:solidFill>
                <a:srgbClr val="444444"/>
              </a:solidFill>
              <a:latin typeface="Calibri"/>
              <a:cs typeface="Arial"/>
            </a:endParaRPr>
          </a:p>
        </p:txBody>
      </p:sp>
      <p:sp>
        <p:nvSpPr>
          <p:cNvPr id="21" name="TextBox 20">
            <a:extLst>
              <a:ext uri="{FF2B5EF4-FFF2-40B4-BE49-F238E27FC236}">
                <a16:creationId xmlns:a16="http://schemas.microsoft.com/office/drawing/2014/main" id="{2AC9B7D0-3A39-985F-2A1F-FCECB2E7D4F9}"/>
              </a:ext>
            </a:extLst>
          </p:cNvPr>
          <p:cNvSpPr txBox="1"/>
          <p:nvPr/>
        </p:nvSpPr>
        <p:spPr>
          <a:xfrm>
            <a:off x="719813" y="4631835"/>
            <a:ext cx="2743200" cy="118494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a:solidFill>
                  <a:srgbClr val="444444"/>
                </a:solidFill>
                <a:latin typeface="Calibri"/>
                <a:cs typeface="Arial"/>
              </a:rPr>
              <a:t>Can identify the granular information for each users</a:t>
            </a:r>
          </a:p>
          <a:p>
            <a:pPr marL="228600" lvl="1" indent="-228600">
              <a:buFont typeface=""/>
              <a:buChar char="•"/>
            </a:pPr>
            <a:r>
              <a:rPr lang="en-US" sz="1100">
                <a:solidFill>
                  <a:srgbClr val="444444"/>
                </a:solidFill>
                <a:latin typeface="Calibri"/>
                <a:cs typeface="Arial"/>
              </a:rPr>
              <a:t>Reduce overuse of data points for a user</a:t>
            </a:r>
          </a:p>
          <a:p>
            <a:pPr marL="228600" lvl="1" indent="-228600">
              <a:buFont typeface=""/>
              <a:buChar char="•"/>
            </a:pPr>
            <a:r>
              <a:rPr lang="en-US" sz="1100">
                <a:solidFill>
                  <a:srgbClr val="444444"/>
                </a:solidFill>
                <a:latin typeface="Calibri"/>
                <a:cs typeface="Arial"/>
              </a:rPr>
              <a:t>based on their historical data we can precache the reports and selection.</a:t>
            </a:r>
          </a:p>
          <a:p>
            <a:pPr marL="228600" lvl="1" indent="-228600">
              <a:buFont typeface=""/>
              <a:buChar char="•"/>
            </a:pPr>
            <a:endParaRPr lang="en-US" sz="1100">
              <a:solidFill>
                <a:srgbClr val="444444"/>
              </a:solidFill>
              <a:latin typeface="Calibri"/>
              <a:cs typeface="Arial"/>
            </a:endParaRPr>
          </a:p>
          <a:p>
            <a:pPr marL="228600" lvl="1" indent="-228600">
              <a:buFont typeface=""/>
              <a:buChar char="•"/>
            </a:pPr>
            <a:endParaRPr lang="en-US" sz="1100">
              <a:solidFill>
                <a:srgbClr val="444444"/>
              </a:solidFill>
              <a:latin typeface="Calibri"/>
              <a:cs typeface="Arial"/>
            </a:endParaRPr>
          </a:p>
        </p:txBody>
      </p:sp>
      <p:sp>
        <p:nvSpPr>
          <p:cNvPr id="22" name="Shape">
            <a:extLst>
              <a:ext uri="{FF2B5EF4-FFF2-40B4-BE49-F238E27FC236}">
                <a16:creationId xmlns:a16="http://schemas.microsoft.com/office/drawing/2014/main" id="{EC072C78-96EC-BF7B-E495-5B8DB0212420}"/>
              </a:ext>
            </a:extLst>
          </p:cNvPr>
          <p:cNvSpPr/>
          <p:nvPr/>
        </p:nvSpPr>
        <p:spPr>
          <a:xfrm>
            <a:off x="6100951" y="1242580"/>
            <a:ext cx="206481" cy="1537651"/>
          </a:xfrm>
          <a:custGeom>
            <a:avLst/>
            <a:gdLst/>
            <a:ahLst/>
            <a:cxnLst>
              <a:cxn ang="0">
                <a:pos x="wd2" y="hd2"/>
              </a:cxn>
              <a:cxn ang="5400000">
                <a:pos x="wd2" y="hd2"/>
              </a:cxn>
              <a:cxn ang="10800000">
                <a:pos x="wd2" y="hd2"/>
              </a:cxn>
              <a:cxn ang="16200000">
                <a:pos x="wd2" y="hd2"/>
              </a:cxn>
            </a:cxnLst>
            <a:rect l="0" t="0" r="r" b="b"/>
            <a:pathLst>
              <a:path w="21600" h="21600" extrusionOk="0">
                <a:moveTo>
                  <a:pt x="1207" y="0"/>
                </a:moveTo>
                <a:cubicBezTo>
                  <a:pt x="12429" y="0"/>
                  <a:pt x="21600" y="1183"/>
                  <a:pt x="21600" y="2641"/>
                </a:cubicBezTo>
                <a:lnTo>
                  <a:pt x="21600" y="18959"/>
                </a:lnTo>
                <a:cubicBezTo>
                  <a:pt x="21600" y="20417"/>
                  <a:pt x="12429" y="21600"/>
                  <a:pt x="1207" y="21600"/>
                </a:cubicBezTo>
                <a:cubicBezTo>
                  <a:pt x="483" y="21600"/>
                  <a:pt x="0" y="21535"/>
                  <a:pt x="0" y="21438"/>
                </a:cubicBezTo>
                <a:cubicBezTo>
                  <a:pt x="0" y="21357"/>
                  <a:pt x="483" y="21276"/>
                  <a:pt x="1207" y="21276"/>
                </a:cubicBezTo>
                <a:cubicBezTo>
                  <a:pt x="11102" y="21276"/>
                  <a:pt x="19187" y="20223"/>
                  <a:pt x="19187" y="18943"/>
                </a:cubicBezTo>
                <a:lnTo>
                  <a:pt x="19187" y="2625"/>
                </a:lnTo>
                <a:cubicBezTo>
                  <a:pt x="19187" y="1345"/>
                  <a:pt x="11102" y="292"/>
                  <a:pt x="1207" y="292"/>
                </a:cubicBezTo>
                <a:cubicBezTo>
                  <a:pt x="483" y="292"/>
                  <a:pt x="0" y="227"/>
                  <a:pt x="0" y="130"/>
                </a:cubicBezTo>
                <a:cubicBezTo>
                  <a:pt x="0" y="65"/>
                  <a:pt x="483" y="0"/>
                  <a:pt x="1207" y="0"/>
                </a:cubicBezTo>
                <a:close/>
              </a:path>
            </a:pathLst>
          </a:custGeom>
          <a:solidFill>
            <a:schemeClr val="accent5"/>
          </a:solidFill>
          <a:ln w="12700">
            <a:miter lim="400000"/>
          </a:ln>
        </p:spPr>
        <p:txBody>
          <a:bodyPr lIns="28575" tIns="28575" rIns="28575" bIns="28575" anchor="ctr"/>
          <a:lstStyle/>
          <a:p>
            <a:pPr>
              <a:defRPr sz="3000">
                <a:solidFill>
                  <a:srgbClr val="FFFFFF"/>
                </a:solidFill>
              </a:defRPr>
            </a:pPr>
            <a:endParaRPr sz="2400"/>
          </a:p>
        </p:txBody>
      </p:sp>
      <p:sp>
        <p:nvSpPr>
          <p:cNvPr id="23" name="Shape">
            <a:extLst>
              <a:ext uri="{FF2B5EF4-FFF2-40B4-BE49-F238E27FC236}">
                <a16:creationId xmlns:a16="http://schemas.microsoft.com/office/drawing/2014/main" id="{7EC4F5E0-2C8D-3355-A0D4-CA4F6122F183}"/>
              </a:ext>
            </a:extLst>
          </p:cNvPr>
          <p:cNvSpPr/>
          <p:nvPr/>
        </p:nvSpPr>
        <p:spPr>
          <a:xfrm>
            <a:off x="6096000" y="3317905"/>
            <a:ext cx="206481" cy="1538805"/>
          </a:xfrm>
          <a:custGeom>
            <a:avLst/>
            <a:gdLst/>
            <a:ahLst/>
            <a:cxnLst>
              <a:cxn ang="0">
                <a:pos x="wd2" y="hd2"/>
              </a:cxn>
              <a:cxn ang="5400000">
                <a:pos x="wd2" y="hd2"/>
              </a:cxn>
              <a:cxn ang="10800000">
                <a:pos x="wd2" y="hd2"/>
              </a:cxn>
              <a:cxn ang="16200000">
                <a:pos x="wd2" y="hd2"/>
              </a:cxn>
            </a:cxnLst>
            <a:rect l="0" t="0" r="r" b="b"/>
            <a:pathLst>
              <a:path w="21600" h="21600" extrusionOk="0">
                <a:moveTo>
                  <a:pt x="1207" y="0"/>
                </a:moveTo>
                <a:cubicBezTo>
                  <a:pt x="12429" y="0"/>
                  <a:pt x="21600" y="1182"/>
                  <a:pt x="21600" y="2639"/>
                </a:cubicBezTo>
                <a:lnTo>
                  <a:pt x="21600" y="18961"/>
                </a:lnTo>
                <a:cubicBezTo>
                  <a:pt x="21600" y="20418"/>
                  <a:pt x="12429" y="21600"/>
                  <a:pt x="1207" y="21600"/>
                </a:cubicBezTo>
                <a:cubicBezTo>
                  <a:pt x="483" y="21600"/>
                  <a:pt x="0" y="21535"/>
                  <a:pt x="0" y="21438"/>
                </a:cubicBezTo>
                <a:cubicBezTo>
                  <a:pt x="0" y="21341"/>
                  <a:pt x="483" y="21276"/>
                  <a:pt x="1207" y="21276"/>
                </a:cubicBezTo>
                <a:cubicBezTo>
                  <a:pt x="11102" y="21276"/>
                  <a:pt x="19187" y="20224"/>
                  <a:pt x="19187" y="18945"/>
                </a:cubicBezTo>
                <a:lnTo>
                  <a:pt x="19187" y="2639"/>
                </a:lnTo>
                <a:cubicBezTo>
                  <a:pt x="19187" y="1360"/>
                  <a:pt x="11102" y="308"/>
                  <a:pt x="1207" y="308"/>
                </a:cubicBezTo>
                <a:cubicBezTo>
                  <a:pt x="483" y="308"/>
                  <a:pt x="0" y="243"/>
                  <a:pt x="0" y="146"/>
                </a:cubicBezTo>
                <a:cubicBezTo>
                  <a:pt x="0" y="49"/>
                  <a:pt x="483" y="0"/>
                  <a:pt x="1207" y="0"/>
                </a:cubicBezTo>
                <a:close/>
              </a:path>
            </a:pathLst>
          </a:custGeom>
          <a:solidFill>
            <a:schemeClr val="accent6"/>
          </a:solidFill>
          <a:ln w="12700">
            <a:miter lim="400000"/>
          </a:ln>
        </p:spPr>
        <p:txBody>
          <a:bodyPr lIns="28575" tIns="28575" rIns="28575" bIns="28575" anchor="ctr"/>
          <a:lstStyle/>
          <a:p>
            <a:pPr>
              <a:defRPr sz="3000">
                <a:solidFill>
                  <a:srgbClr val="FFFFFF"/>
                </a:solidFill>
              </a:defRPr>
            </a:pPr>
            <a:endParaRPr sz="2400"/>
          </a:p>
        </p:txBody>
      </p:sp>
      <p:sp>
        <p:nvSpPr>
          <p:cNvPr id="24" name="Shape">
            <a:extLst>
              <a:ext uri="{FF2B5EF4-FFF2-40B4-BE49-F238E27FC236}">
                <a16:creationId xmlns:a16="http://schemas.microsoft.com/office/drawing/2014/main" id="{746EC148-65AD-3157-B295-8BDE59AC32E1}"/>
              </a:ext>
            </a:extLst>
          </p:cNvPr>
          <p:cNvSpPr/>
          <p:nvPr/>
        </p:nvSpPr>
        <p:spPr>
          <a:xfrm>
            <a:off x="616574" y="4306161"/>
            <a:ext cx="206481" cy="1537651"/>
          </a:xfrm>
          <a:custGeom>
            <a:avLst/>
            <a:gdLst/>
            <a:ahLst/>
            <a:cxnLst>
              <a:cxn ang="0">
                <a:pos x="wd2" y="hd2"/>
              </a:cxn>
              <a:cxn ang="5400000">
                <a:pos x="wd2" y="hd2"/>
              </a:cxn>
              <a:cxn ang="10800000">
                <a:pos x="wd2" y="hd2"/>
              </a:cxn>
              <a:cxn ang="16200000">
                <a:pos x="wd2" y="hd2"/>
              </a:cxn>
            </a:cxnLst>
            <a:rect l="0" t="0" r="r" b="b"/>
            <a:pathLst>
              <a:path w="21600" h="21600" extrusionOk="0">
                <a:moveTo>
                  <a:pt x="20393" y="21600"/>
                </a:moveTo>
                <a:cubicBezTo>
                  <a:pt x="9171" y="21600"/>
                  <a:pt x="0" y="20417"/>
                  <a:pt x="0" y="18959"/>
                </a:cubicBezTo>
                <a:lnTo>
                  <a:pt x="0" y="2641"/>
                </a:lnTo>
                <a:cubicBezTo>
                  <a:pt x="0" y="1183"/>
                  <a:pt x="9171" y="0"/>
                  <a:pt x="20393" y="0"/>
                </a:cubicBezTo>
                <a:cubicBezTo>
                  <a:pt x="21117" y="0"/>
                  <a:pt x="21600" y="65"/>
                  <a:pt x="21600" y="162"/>
                </a:cubicBezTo>
                <a:cubicBezTo>
                  <a:pt x="21600" y="243"/>
                  <a:pt x="21117" y="324"/>
                  <a:pt x="20393" y="324"/>
                </a:cubicBezTo>
                <a:cubicBezTo>
                  <a:pt x="10498" y="324"/>
                  <a:pt x="2413" y="1377"/>
                  <a:pt x="2413" y="2657"/>
                </a:cubicBezTo>
                <a:lnTo>
                  <a:pt x="2413" y="18975"/>
                </a:lnTo>
                <a:cubicBezTo>
                  <a:pt x="2413" y="20255"/>
                  <a:pt x="10498" y="21308"/>
                  <a:pt x="20393" y="21308"/>
                </a:cubicBezTo>
                <a:cubicBezTo>
                  <a:pt x="21117" y="21308"/>
                  <a:pt x="21600" y="21373"/>
                  <a:pt x="21600" y="21470"/>
                </a:cubicBezTo>
                <a:cubicBezTo>
                  <a:pt x="21600" y="21535"/>
                  <a:pt x="21117" y="21600"/>
                  <a:pt x="20393" y="21600"/>
                </a:cubicBezTo>
                <a:close/>
              </a:path>
            </a:pathLst>
          </a:custGeom>
          <a:solidFill>
            <a:schemeClr val="accent2"/>
          </a:solidFill>
          <a:ln w="12700">
            <a:miter lim="400000"/>
          </a:ln>
        </p:spPr>
        <p:txBody>
          <a:bodyPr lIns="28575" tIns="28575" rIns="28575" bIns="28575" anchor="ctr"/>
          <a:lstStyle/>
          <a:p>
            <a:pPr>
              <a:defRPr sz="3000">
                <a:solidFill>
                  <a:srgbClr val="FFFFFF"/>
                </a:solidFill>
              </a:defRPr>
            </a:pPr>
            <a:endParaRPr sz="2400"/>
          </a:p>
        </p:txBody>
      </p:sp>
      <p:sp>
        <p:nvSpPr>
          <p:cNvPr id="29" name="Shape">
            <a:extLst>
              <a:ext uri="{FF2B5EF4-FFF2-40B4-BE49-F238E27FC236}">
                <a16:creationId xmlns:a16="http://schemas.microsoft.com/office/drawing/2014/main" id="{C0E65F31-B92F-CBBE-657A-AD75E495377B}"/>
              </a:ext>
            </a:extLst>
          </p:cNvPr>
          <p:cNvSpPr/>
          <p:nvPr/>
        </p:nvSpPr>
        <p:spPr>
          <a:xfrm>
            <a:off x="616573" y="2309101"/>
            <a:ext cx="206481" cy="1537651"/>
          </a:xfrm>
          <a:custGeom>
            <a:avLst/>
            <a:gdLst/>
            <a:ahLst/>
            <a:cxnLst>
              <a:cxn ang="0">
                <a:pos x="wd2" y="hd2"/>
              </a:cxn>
              <a:cxn ang="5400000">
                <a:pos x="wd2" y="hd2"/>
              </a:cxn>
              <a:cxn ang="10800000">
                <a:pos x="wd2" y="hd2"/>
              </a:cxn>
              <a:cxn ang="16200000">
                <a:pos x="wd2" y="hd2"/>
              </a:cxn>
            </a:cxnLst>
            <a:rect l="0" t="0" r="r" b="b"/>
            <a:pathLst>
              <a:path w="21600" h="21600" extrusionOk="0">
                <a:moveTo>
                  <a:pt x="20393" y="21600"/>
                </a:moveTo>
                <a:cubicBezTo>
                  <a:pt x="9171" y="21600"/>
                  <a:pt x="0" y="20417"/>
                  <a:pt x="0" y="18959"/>
                </a:cubicBezTo>
                <a:lnTo>
                  <a:pt x="0" y="2641"/>
                </a:lnTo>
                <a:cubicBezTo>
                  <a:pt x="0" y="1183"/>
                  <a:pt x="9171" y="0"/>
                  <a:pt x="20393" y="0"/>
                </a:cubicBezTo>
                <a:cubicBezTo>
                  <a:pt x="21117" y="0"/>
                  <a:pt x="21600" y="65"/>
                  <a:pt x="21600" y="162"/>
                </a:cubicBezTo>
                <a:cubicBezTo>
                  <a:pt x="21600" y="243"/>
                  <a:pt x="21117" y="324"/>
                  <a:pt x="20393" y="324"/>
                </a:cubicBezTo>
                <a:cubicBezTo>
                  <a:pt x="10498" y="324"/>
                  <a:pt x="2413" y="1377"/>
                  <a:pt x="2413" y="2657"/>
                </a:cubicBezTo>
                <a:lnTo>
                  <a:pt x="2413" y="18975"/>
                </a:lnTo>
                <a:cubicBezTo>
                  <a:pt x="2413" y="20255"/>
                  <a:pt x="10498" y="21308"/>
                  <a:pt x="20393" y="21308"/>
                </a:cubicBezTo>
                <a:cubicBezTo>
                  <a:pt x="21117" y="21308"/>
                  <a:pt x="21600" y="21373"/>
                  <a:pt x="21600" y="21470"/>
                </a:cubicBezTo>
                <a:cubicBezTo>
                  <a:pt x="21600" y="21535"/>
                  <a:pt x="21117" y="21600"/>
                  <a:pt x="20393" y="21600"/>
                </a:cubicBezTo>
                <a:close/>
              </a:path>
            </a:pathLst>
          </a:custGeom>
          <a:solidFill>
            <a:schemeClr val="accent3"/>
          </a:solidFill>
          <a:ln w="12700">
            <a:miter lim="400000"/>
          </a:ln>
        </p:spPr>
        <p:txBody>
          <a:bodyPr lIns="28575" tIns="28575" rIns="28575" bIns="28575" anchor="ctr"/>
          <a:lstStyle/>
          <a:p>
            <a:pPr>
              <a:defRPr sz="3000">
                <a:solidFill>
                  <a:srgbClr val="FFFFFF"/>
                </a:solidFill>
              </a:defRPr>
            </a:pPr>
            <a:endParaRPr sz="2400"/>
          </a:p>
        </p:txBody>
      </p:sp>
      <p:pic>
        <p:nvPicPr>
          <p:cNvPr id="2" name="Picture 1" descr="A screenshot of a computer&#10;&#10;Description automatically generated">
            <a:extLst>
              <a:ext uri="{FF2B5EF4-FFF2-40B4-BE49-F238E27FC236}">
                <a16:creationId xmlns:a16="http://schemas.microsoft.com/office/drawing/2014/main" id="{BEAE779F-8A16-5274-456E-934994164D65}"/>
              </a:ext>
            </a:extLst>
          </p:cNvPr>
          <p:cNvPicPr>
            <a:picLocks noChangeAspect="1"/>
          </p:cNvPicPr>
          <p:nvPr/>
        </p:nvPicPr>
        <p:blipFill>
          <a:blip r:embed="rId7"/>
          <a:stretch>
            <a:fillRect/>
          </a:stretch>
        </p:blipFill>
        <p:spPr>
          <a:xfrm>
            <a:off x="6523966" y="1217006"/>
            <a:ext cx="5418377" cy="1878677"/>
          </a:xfrm>
          <a:prstGeom prst="rect">
            <a:avLst/>
          </a:prstGeom>
        </p:spPr>
      </p:pic>
      <mc:AlternateContent xmlns:mc="http://schemas.openxmlformats.org/markup-compatibility/2006" xmlns:p14="http://schemas.microsoft.com/office/powerpoint/2010/main">
        <mc:Choice Requires="p14">
          <p:contentPart p14:bwMode="auto" r:id="rId8">
            <p14:nvContentPartPr>
              <p14:cNvPr id="3" name="Ink 2">
                <a:extLst>
                  <a:ext uri="{FF2B5EF4-FFF2-40B4-BE49-F238E27FC236}">
                    <a16:creationId xmlns:a16="http://schemas.microsoft.com/office/drawing/2014/main" id="{567B284E-B4E9-F1FF-3F66-4E45540174F2}"/>
                  </a:ext>
                </a:extLst>
              </p14:cNvPr>
              <p14:cNvContentPartPr/>
              <p14:nvPr/>
            </p14:nvContentPartPr>
            <p14:xfrm>
              <a:off x="11133400" y="1311840"/>
              <a:ext cx="423000" cy="43560"/>
            </p14:xfrm>
          </p:contentPart>
        </mc:Choice>
        <mc:Fallback xmlns="">
          <p:pic>
            <p:nvPicPr>
              <p:cNvPr id="3" name="Ink 2">
                <a:extLst>
                  <a:ext uri="{FF2B5EF4-FFF2-40B4-BE49-F238E27FC236}">
                    <a16:creationId xmlns:a16="http://schemas.microsoft.com/office/drawing/2014/main" id="{567B284E-B4E9-F1FF-3F66-4E45540174F2}"/>
                  </a:ext>
                </a:extLst>
              </p:cNvPr>
              <p:cNvPicPr/>
              <p:nvPr/>
            </p:nvPicPr>
            <p:blipFill>
              <a:blip r:embed="rId9"/>
              <a:stretch>
                <a:fillRect/>
              </a:stretch>
            </p:blipFill>
            <p:spPr>
              <a:xfrm>
                <a:off x="11079400" y="1203840"/>
                <a:ext cx="530640" cy="2592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4" name="Ink 3">
                <a:extLst>
                  <a:ext uri="{FF2B5EF4-FFF2-40B4-BE49-F238E27FC236}">
                    <a16:creationId xmlns:a16="http://schemas.microsoft.com/office/drawing/2014/main" id="{33381F0C-7AB4-AF9B-5987-B949B443A72D}"/>
                  </a:ext>
                </a:extLst>
              </p14:cNvPr>
              <p14:cNvContentPartPr/>
              <p14:nvPr/>
            </p14:nvContentPartPr>
            <p14:xfrm>
              <a:off x="11073640" y="1524960"/>
              <a:ext cx="678600" cy="1454760"/>
            </p14:xfrm>
          </p:contentPart>
        </mc:Choice>
        <mc:Fallback xmlns="">
          <p:pic>
            <p:nvPicPr>
              <p:cNvPr id="4" name="Ink 3">
                <a:extLst>
                  <a:ext uri="{FF2B5EF4-FFF2-40B4-BE49-F238E27FC236}">
                    <a16:creationId xmlns:a16="http://schemas.microsoft.com/office/drawing/2014/main" id="{33381F0C-7AB4-AF9B-5987-B949B443A72D}"/>
                  </a:ext>
                </a:extLst>
              </p:cNvPr>
              <p:cNvPicPr/>
              <p:nvPr/>
            </p:nvPicPr>
            <p:blipFill>
              <a:blip r:embed="rId11"/>
              <a:stretch>
                <a:fillRect/>
              </a:stretch>
            </p:blipFill>
            <p:spPr>
              <a:xfrm>
                <a:off x="11019640" y="1416960"/>
                <a:ext cx="786240" cy="1670400"/>
              </a:xfrm>
              <a:prstGeom prst="rect">
                <a:avLst/>
              </a:prstGeom>
            </p:spPr>
          </p:pic>
        </mc:Fallback>
      </mc:AlternateContent>
      <p:sp>
        <p:nvSpPr>
          <p:cNvPr id="5" name="Rectangle: Rounded Corners 4">
            <a:extLst>
              <a:ext uri="{FF2B5EF4-FFF2-40B4-BE49-F238E27FC236}">
                <a16:creationId xmlns:a16="http://schemas.microsoft.com/office/drawing/2014/main" id="{5AC1DE5B-A6D2-19F5-4991-27255F2E8801}"/>
              </a:ext>
            </a:extLst>
          </p:cNvPr>
          <p:cNvSpPr/>
          <p:nvPr/>
        </p:nvSpPr>
        <p:spPr>
          <a:xfrm>
            <a:off x="6537495" y="4000811"/>
            <a:ext cx="941294" cy="368088"/>
          </a:xfrm>
          <a:prstGeom prst="roundRect">
            <a:avLst/>
          </a:prstGeom>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a:t>ADX</a:t>
            </a:r>
          </a:p>
        </p:txBody>
      </p:sp>
      <p:sp>
        <p:nvSpPr>
          <p:cNvPr id="13" name="Rectangle: Rounded Corners 12">
            <a:extLst>
              <a:ext uri="{FF2B5EF4-FFF2-40B4-BE49-F238E27FC236}">
                <a16:creationId xmlns:a16="http://schemas.microsoft.com/office/drawing/2014/main" id="{6EF069A7-3364-1B6F-E4F1-C187730F2E35}"/>
              </a:ext>
            </a:extLst>
          </p:cNvPr>
          <p:cNvSpPr/>
          <p:nvPr/>
        </p:nvSpPr>
        <p:spPr>
          <a:xfrm>
            <a:off x="7897212" y="3997452"/>
            <a:ext cx="941294" cy="368088"/>
          </a:xfrm>
          <a:prstGeom prst="round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200"/>
              <a:t>Azure AI Service</a:t>
            </a:r>
          </a:p>
        </p:txBody>
      </p:sp>
      <p:sp>
        <p:nvSpPr>
          <p:cNvPr id="14" name="Rectangle: Rounded Corners 13">
            <a:extLst>
              <a:ext uri="{FF2B5EF4-FFF2-40B4-BE49-F238E27FC236}">
                <a16:creationId xmlns:a16="http://schemas.microsoft.com/office/drawing/2014/main" id="{35C841D1-F9DA-1870-EDAA-60225516FA14}"/>
              </a:ext>
            </a:extLst>
          </p:cNvPr>
          <p:cNvSpPr/>
          <p:nvPr/>
        </p:nvSpPr>
        <p:spPr>
          <a:xfrm>
            <a:off x="9261388" y="3997452"/>
            <a:ext cx="941294" cy="368088"/>
          </a:xfrm>
          <a:prstGeom prst="roundRect">
            <a:avLst/>
          </a:prstGeom>
          <a:ln/>
        </p:spPr>
        <p:style>
          <a:lnRef idx="2">
            <a:schemeClr val="accent4"/>
          </a:lnRef>
          <a:fillRef idx="1">
            <a:schemeClr val="lt1"/>
          </a:fillRef>
          <a:effectRef idx="0">
            <a:schemeClr val="accent4"/>
          </a:effectRef>
          <a:fontRef idx="minor">
            <a:schemeClr val="dk1"/>
          </a:fontRef>
        </p:style>
        <p:txBody>
          <a:bodyPr lIns="0" tIns="0" rIns="0" bIns="0" rtlCol="0" anchor="ctr"/>
          <a:lstStyle/>
          <a:p>
            <a:pPr algn="ctr"/>
            <a:r>
              <a:rPr lang="en-US" sz="1200"/>
              <a:t>Text Analytics</a:t>
            </a:r>
          </a:p>
        </p:txBody>
      </p:sp>
      <p:sp>
        <p:nvSpPr>
          <p:cNvPr id="15" name="Rectangle: Rounded Corners 14">
            <a:extLst>
              <a:ext uri="{FF2B5EF4-FFF2-40B4-BE49-F238E27FC236}">
                <a16:creationId xmlns:a16="http://schemas.microsoft.com/office/drawing/2014/main" id="{80E1BA5D-6279-B93C-65AE-2D153A0E45CC}"/>
              </a:ext>
            </a:extLst>
          </p:cNvPr>
          <p:cNvSpPr/>
          <p:nvPr/>
        </p:nvSpPr>
        <p:spPr>
          <a:xfrm>
            <a:off x="10616522" y="3998355"/>
            <a:ext cx="941294" cy="368088"/>
          </a:xfrm>
          <a:prstGeom prst="roundRect">
            <a:avLst/>
          </a:prstGeom>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a:t>ADX</a:t>
            </a:r>
          </a:p>
        </p:txBody>
      </p:sp>
      <p:sp>
        <p:nvSpPr>
          <p:cNvPr id="16" name="Rectangle: Rounded Corners 15">
            <a:extLst>
              <a:ext uri="{FF2B5EF4-FFF2-40B4-BE49-F238E27FC236}">
                <a16:creationId xmlns:a16="http://schemas.microsoft.com/office/drawing/2014/main" id="{2AB38C12-77B5-F31A-78A1-0FD43270E146}"/>
              </a:ext>
            </a:extLst>
          </p:cNvPr>
          <p:cNvSpPr/>
          <p:nvPr/>
        </p:nvSpPr>
        <p:spPr>
          <a:xfrm>
            <a:off x="10634132" y="5178072"/>
            <a:ext cx="941294" cy="368088"/>
          </a:xfrm>
          <a:prstGeom prst="roundRect">
            <a:avLst/>
          </a:prstGeom>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US" sz="1200"/>
              <a:t>Log Categorize</a:t>
            </a:r>
          </a:p>
        </p:txBody>
      </p:sp>
      <p:cxnSp>
        <p:nvCxnSpPr>
          <p:cNvPr id="17" name="Straight Arrow Connector 16">
            <a:extLst>
              <a:ext uri="{FF2B5EF4-FFF2-40B4-BE49-F238E27FC236}">
                <a16:creationId xmlns:a16="http://schemas.microsoft.com/office/drawing/2014/main" id="{8FA814F9-D64F-AC63-5152-63F28133CC38}"/>
              </a:ext>
            </a:extLst>
          </p:cNvPr>
          <p:cNvCxnSpPr>
            <a:stCxn id="5" idx="3"/>
            <a:endCxn id="13" idx="1"/>
          </p:cNvCxnSpPr>
          <p:nvPr/>
        </p:nvCxnSpPr>
        <p:spPr>
          <a:xfrm flipV="1">
            <a:off x="7478789" y="4181496"/>
            <a:ext cx="418423" cy="3359"/>
          </a:xfrm>
          <a:prstGeom prst="straightConnector1">
            <a:avLst/>
          </a:prstGeom>
          <a:noFill/>
          <a:ln w="9525" cap="flat" cmpd="sng">
            <a:solidFill>
              <a:schemeClr val="tx1"/>
            </a:solidFill>
            <a:prstDash val="solid"/>
            <a:round/>
            <a:headEnd type="none" w="med" len="med"/>
            <a:tailEnd type="triangle"/>
          </a:ln>
        </p:spPr>
      </p:cxnSp>
      <p:cxnSp>
        <p:nvCxnSpPr>
          <p:cNvPr id="18" name="Straight Arrow Connector 17">
            <a:extLst>
              <a:ext uri="{FF2B5EF4-FFF2-40B4-BE49-F238E27FC236}">
                <a16:creationId xmlns:a16="http://schemas.microsoft.com/office/drawing/2014/main" id="{207A8546-87BF-007D-7633-D6D605BDAEF7}"/>
              </a:ext>
            </a:extLst>
          </p:cNvPr>
          <p:cNvCxnSpPr>
            <a:stCxn id="13" idx="3"/>
            <a:endCxn id="14" idx="1"/>
          </p:cNvCxnSpPr>
          <p:nvPr/>
        </p:nvCxnSpPr>
        <p:spPr>
          <a:xfrm>
            <a:off x="8838506" y="4181496"/>
            <a:ext cx="422882" cy="0"/>
          </a:xfrm>
          <a:prstGeom prst="straightConnector1">
            <a:avLst/>
          </a:prstGeom>
          <a:noFill/>
          <a:ln w="9525" cap="flat" cmpd="sng">
            <a:solidFill>
              <a:schemeClr val="tx1"/>
            </a:solidFill>
            <a:prstDash val="solid"/>
            <a:round/>
            <a:headEnd type="none" w="med" len="med"/>
            <a:tailEnd type="triangle"/>
          </a:ln>
        </p:spPr>
      </p:cxnSp>
      <p:cxnSp>
        <p:nvCxnSpPr>
          <p:cNvPr id="25" name="Straight Arrow Connector 24">
            <a:extLst>
              <a:ext uri="{FF2B5EF4-FFF2-40B4-BE49-F238E27FC236}">
                <a16:creationId xmlns:a16="http://schemas.microsoft.com/office/drawing/2014/main" id="{B007604A-E8FF-3739-183F-2D3D77F0E7A2}"/>
              </a:ext>
            </a:extLst>
          </p:cNvPr>
          <p:cNvCxnSpPr>
            <a:stCxn id="14" idx="3"/>
            <a:endCxn id="15" idx="1"/>
          </p:cNvCxnSpPr>
          <p:nvPr/>
        </p:nvCxnSpPr>
        <p:spPr>
          <a:xfrm>
            <a:off x="10202682" y="4181496"/>
            <a:ext cx="413840" cy="903"/>
          </a:xfrm>
          <a:prstGeom prst="straightConnector1">
            <a:avLst/>
          </a:prstGeom>
          <a:noFill/>
          <a:ln w="9525" cap="flat" cmpd="sng">
            <a:solidFill>
              <a:schemeClr val="tx1"/>
            </a:solidFill>
            <a:prstDash val="solid"/>
            <a:round/>
            <a:headEnd type="none" w="med" len="med"/>
            <a:tailEnd type="triangle"/>
          </a:ln>
        </p:spPr>
      </p:cxnSp>
      <p:cxnSp>
        <p:nvCxnSpPr>
          <p:cNvPr id="26" name="Straight Arrow Connector 25">
            <a:extLst>
              <a:ext uri="{FF2B5EF4-FFF2-40B4-BE49-F238E27FC236}">
                <a16:creationId xmlns:a16="http://schemas.microsoft.com/office/drawing/2014/main" id="{4C8247FB-605E-FCA9-2D9F-8AF3F2BD341E}"/>
              </a:ext>
            </a:extLst>
          </p:cNvPr>
          <p:cNvCxnSpPr>
            <a:cxnSpLocks/>
            <a:stCxn id="15" idx="2"/>
            <a:endCxn id="16" idx="0"/>
          </p:cNvCxnSpPr>
          <p:nvPr/>
        </p:nvCxnSpPr>
        <p:spPr>
          <a:xfrm>
            <a:off x="11087169" y="4366443"/>
            <a:ext cx="17610" cy="811629"/>
          </a:xfrm>
          <a:prstGeom prst="straightConnector1">
            <a:avLst/>
          </a:prstGeom>
          <a:noFill/>
          <a:ln w="9525" cap="flat" cmpd="sng">
            <a:solidFill>
              <a:schemeClr val="tx1"/>
            </a:solidFill>
            <a:prstDash val="solid"/>
            <a:round/>
            <a:headEnd type="none" w="med" len="med"/>
            <a:tailEnd type="triangle"/>
          </a:ln>
        </p:spPr>
      </p:cxnSp>
      <p:sp>
        <p:nvSpPr>
          <p:cNvPr id="56" name="Rectangle: Rounded Corners 55">
            <a:extLst>
              <a:ext uri="{FF2B5EF4-FFF2-40B4-BE49-F238E27FC236}">
                <a16:creationId xmlns:a16="http://schemas.microsoft.com/office/drawing/2014/main" id="{F06FD0DA-048A-7D5D-A1C9-55BD93CAE739}"/>
              </a:ext>
            </a:extLst>
          </p:cNvPr>
          <p:cNvSpPr/>
          <p:nvPr/>
        </p:nvSpPr>
        <p:spPr>
          <a:xfrm>
            <a:off x="9261388" y="5178072"/>
            <a:ext cx="941294" cy="368088"/>
          </a:xfrm>
          <a:prstGeom prst="roundRect">
            <a:avLst/>
          </a:prstGeom>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200"/>
              <a:t>Root Cause Analysis</a:t>
            </a:r>
          </a:p>
        </p:txBody>
      </p:sp>
      <p:sp>
        <p:nvSpPr>
          <p:cNvPr id="57" name="Rectangle: Rounded Corners 56">
            <a:extLst>
              <a:ext uri="{FF2B5EF4-FFF2-40B4-BE49-F238E27FC236}">
                <a16:creationId xmlns:a16="http://schemas.microsoft.com/office/drawing/2014/main" id="{ACC7279C-D366-75FB-D391-B17E4844EE50}"/>
              </a:ext>
            </a:extLst>
          </p:cNvPr>
          <p:cNvSpPr/>
          <p:nvPr/>
        </p:nvSpPr>
        <p:spPr>
          <a:xfrm>
            <a:off x="7897212" y="5178072"/>
            <a:ext cx="941294" cy="368088"/>
          </a:xfrm>
          <a:prstGeom prst="roundRect">
            <a:avLst/>
          </a:prstGeom>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a:t>ADX</a:t>
            </a:r>
          </a:p>
        </p:txBody>
      </p:sp>
      <p:sp>
        <p:nvSpPr>
          <p:cNvPr id="58" name="Rectangle: Rounded Corners 57">
            <a:extLst>
              <a:ext uri="{FF2B5EF4-FFF2-40B4-BE49-F238E27FC236}">
                <a16:creationId xmlns:a16="http://schemas.microsoft.com/office/drawing/2014/main" id="{4895F51A-EA76-8CC5-DA39-228216D68151}"/>
              </a:ext>
            </a:extLst>
          </p:cNvPr>
          <p:cNvSpPr/>
          <p:nvPr/>
        </p:nvSpPr>
        <p:spPr>
          <a:xfrm>
            <a:off x="6537495" y="5178072"/>
            <a:ext cx="941294" cy="368088"/>
          </a:xfrm>
          <a:prstGeom prst="roundRect">
            <a:avLst/>
          </a:prstGeom>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r>
              <a:rPr lang="en-US" sz="1200"/>
              <a:t>Dashboard</a:t>
            </a:r>
          </a:p>
        </p:txBody>
      </p:sp>
      <p:cxnSp>
        <p:nvCxnSpPr>
          <p:cNvPr id="60" name="Straight Arrow Connector 59">
            <a:extLst>
              <a:ext uri="{FF2B5EF4-FFF2-40B4-BE49-F238E27FC236}">
                <a16:creationId xmlns:a16="http://schemas.microsoft.com/office/drawing/2014/main" id="{C6151BE0-5AC5-EF36-8063-11213E138DF2}"/>
              </a:ext>
            </a:extLst>
          </p:cNvPr>
          <p:cNvCxnSpPr>
            <a:stCxn id="16" idx="1"/>
            <a:endCxn id="56" idx="3"/>
          </p:cNvCxnSpPr>
          <p:nvPr/>
        </p:nvCxnSpPr>
        <p:spPr>
          <a:xfrm flipH="1">
            <a:off x="10202682" y="5362116"/>
            <a:ext cx="431450" cy="0"/>
          </a:xfrm>
          <a:prstGeom prst="straightConnector1">
            <a:avLst/>
          </a:prstGeom>
          <a:noFill/>
          <a:ln w="9525" cap="flat" cmpd="sng">
            <a:solidFill>
              <a:schemeClr val="tx1"/>
            </a:solidFill>
            <a:prstDash val="solid"/>
            <a:round/>
            <a:headEnd type="none" w="med" len="med"/>
            <a:tailEnd type="triangle"/>
          </a:ln>
        </p:spPr>
      </p:cxnSp>
      <p:cxnSp>
        <p:nvCxnSpPr>
          <p:cNvPr id="62" name="Straight Arrow Connector 61">
            <a:extLst>
              <a:ext uri="{FF2B5EF4-FFF2-40B4-BE49-F238E27FC236}">
                <a16:creationId xmlns:a16="http://schemas.microsoft.com/office/drawing/2014/main" id="{FD72D5A5-3145-84B3-A2B2-906A962510AC}"/>
              </a:ext>
            </a:extLst>
          </p:cNvPr>
          <p:cNvCxnSpPr>
            <a:stCxn id="56" idx="1"/>
            <a:endCxn id="57" idx="3"/>
          </p:cNvCxnSpPr>
          <p:nvPr/>
        </p:nvCxnSpPr>
        <p:spPr>
          <a:xfrm flipH="1">
            <a:off x="8838506" y="5362116"/>
            <a:ext cx="422882" cy="0"/>
          </a:xfrm>
          <a:prstGeom prst="straightConnector1">
            <a:avLst/>
          </a:prstGeom>
          <a:noFill/>
          <a:ln w="9525" cap="flat" cmpd="sng">
            <a:solidFill>
              <a:schemeClr val="tx1"/>
            </a:solidFill>
            <a:prstDash val="solid"/>
            <a:round/>
            <a:headEnd type="none" w="med" len="med"/>
            <a:tailEnd type="triangle"/>
          </a:ln>
        </p:spPr>
      </p:cxnSp>
      <p:cxnSp>
        <p:nvCxnSpPr>
          <p:cNvPr id="448" name="Straight Arrow Connector 447">
            <a:extLst>
              <a:ext uri="{FF2B5EF4-FFF2-40B4-BE49-F238E27FC236}">
                <a16:creationId xmlns:a16="http://schemas.microsoft.com/office/drawing/2014/main" id="{6A6B1E36-D8FD-78A4-F501-1DB3FB8B328C}"/>
              </a:ext>
            </a:extLst>
          </p:cNvPr>
          <p:cNvCxnSpPr>
            <a:stCxn id="57" idx="1"/>
            <a:endCxn id="58" idx="3"/>
          </p:cNvCxnSpPr>
          <p:nvPr/>
        </p:nvCxnSpPr>
        <p:spPr>
          <a:xfrm flipH="1">
            <a:off x="7478789" y="5362116"/>
            <a:ext cx="418423" cy="0"/>
          </a:xfrm>
          <a:prstGeom prst="straightConnector1">
            <a:avLst/>
          </a:prstGeom>
          <a:noFill/>
          <a:ln w="9525" cap="flat" cmpd="sng">
            <a:solidFill>
              <a:schemeClr val="tx1"/>
            </a:solidFill>
            <a:prstDash val="solid"/>
            <a:round/>
            <a:headEnd type="none" w="med" len="med"/>
            <a:tailEnd type="triangle"/>
          </a:ln>
        </p:spPr>
      </p:cxnSp>
      <p:sp>
        <p:nvSpPr>
          <p:cNvPr id="450" name="TextBox 449">
            <a:extLst>
              <a:ext uri="{FF2B5EF4-FFF2-40B4-BE49-F238E27FC236}">
                <a16:creationId xmlns:a16="http://schemas.microsoft.com/office/drawing/2014/main" id="{3E64A0F0-0E3A-C5D3-1423-939A16CBD927}"/>
              </a:ext>
            </a:extLst>
          </p:cNvPr>
          <p:cNvSpPr txBox="1"/>
          <p:nvPr/>
        </p:nvSpPr>
        <p:spPr>
          <a:xfrm>
            <a:off x="8100141" y="4641975"/>
            <a:ext cx="2047580" cy="246221"/>
          </a:xfrm>
          <a:prstGeom prst="rect">
            <a:avLst/>
          </a:prstGeom>
          <a:noFill/>
        </p:spPr>
        <p:txBody>
          <a:bodyPr wrap="square" lIns="0" tIns="0" rIns="0" bIns="0" rtlCol="0">
            <a:spAutoFit/>
          </a:bodyPr>
          <a:lstStyle/>
          <a:p>
            <a:pPr algn="l"/>
            <a:r>
              <a:rPr lang="en-US" sz="1600"/>
              <a:t>User Email Grouping</a:t>
            </a:r>
          </a:p>
        </p:txBody>
      </p:sp>
      <mc:AlternateContent xmlns:mc="http://schemas.openxmlformats.org/markup-compatibility/2006" xmlns:p14="http://schemas.microsoft.com/office/powerpoint/2010/main">
        <mc:Choice Requires="p14">
          <p:contentPart p14:bwMode="auto" r:id="rId12">
            <p14:nvContentPartPr>
              <p14:cNvPr id="451" name="Ink 450">
                <a:extLst>
                  <a:ext uri="{FF2B5EF4-FFF2-40B4-BE49-F238E27FC236}">
                    <a16:creationId xmlns:a16="http://schemas.microsoft.com/office/drawing/2014/main" id="{283896DD-1C35-B19D-CA8F-38135421B743}"/>
                  </a:ext>
                </a:extLst>
              </p14:cNvPr>
              <p14:cNvContentPartPr/>
              <p14:nvPr/>
            </p14:nvContentPartPr>
            <p14:xfrm>
              <a:off x="8170240" y="1354093"/>
              <a:ext cx="377280" cy="9360"/>
            </p14:xfrm>
          </p:contentPart>
        </mc:Choice>
        <mc:Fallback xmlns="">
          <p:pic>
            <p:nvPicPr>
              <p:cNvPr id="451" name="Ink 450">
                <a:extLst>
                  <a:ext uri="{FF2B5EF4-FFF2-40B4-BE49-F238E27FC236}">
                    <a16:creationId xmlns:a16="http://schemas.microsoft.com/office/drawing/2014/main" id="{283896DD-1C35-B19D-CA8F-38135421B743}"/>
                  </a:ext>
                </a:extLst>
              </p:cNvPr>
              <p:cNvPicPr/>
              <p:nvPr/>
            </p:nvPicPr>
            <p:blipFill>
              <a:blip r:embed="rId13"/>
              <a:stretch>
                <a:fillRect/>
              </a:stretch>
            </p:blipFill>
            <p:spPr>
              <a:xfrm>
                <a:off x="8116240" y="1246093"/>
                <a:ext cx="484920" cy="22500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452" name="Ink 451">
                <a:extLst>
                  <a:ext uri="{FF2B5EF4-FFF2-40B4-BE49-F238E27FC236}">
                    <a16:creationId xmlns:a16="http://schemas.microsoft.com/office/drawing/2014/main" id="{B2EDD598-BCAA-4F6D-5CE2-14EB2ADB2FFA}"/>
                  </a:ext>
                </a:extLst>
              </p14:cNvPr>
              <p14:cNvContentPartPr/>
              <p14:nvPr/>
            </p14:nvContentPartPr>
            <p14:xfrm>
              <a:off x="8153320" y="1531213"/>
              <a:ext cx="600480" cy="34920"/>
            </p14:xfrm>
          </p:contentPart>
        </mc:Choice>
        <mc:Fallback xmlns="">
          <p:pic>
            <p:nvPicPr>
              <p:cNvPr id="452" name="Ink 451">
                <a:extLst>
                  <a:ext uri="{FF2B5EF4-FFF2-40B4-BE49-F238E27FC236}">
                    <a16:creationId xmlns:a16="http://schemas.microsoft.com/office/drawing/2014/main" id="{B2EDD598-BCAA-4F6D-5CE2-14EB2ADB2FFA}"/>
                  </a:ext>
                </a:extLst>
              </p:cNvPr>
              <p:cNvPicPr/>
              <p:nvPr/>
            </p:nvPicPr>
            <p:blipFill>
              <a:blip r:embed="rId15"/>
              <a:stretch>
                <a:fillRect/>
              </a:stretch>
            </p:blipFill>
            <p:spPr>
              <a:xfrm>
                <a:off x="8099288" y="1423213"/>
                <a:ext cx="708185" cy="25056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453" name="Ink 452">
                <a:extLst>
                  <a:ext uri="{FF2B5EF4-FFF2-40B4-BE49-F238E27FC236}">
                    <a16:creationId xmlns:a16="http://schemas.microsoft.com/office/drawing/2014/main" id="{0CE11A57-6866-D260-702E-DE791D43FE19}"/>
                  </a:ext>
                </a:extLst>
              </p14:cNvPr>
              <p14:cNvContentPartPr/>
              <p14:nvPr/>
            </p14:nvContentPartPr>
            <p14:xfrm>
              <a:off x="8161600" y="1667653"/>
              <a:ext cx="617040" cy="1280520"/>
            </p14:xfrm>
          </p:contentPart>
        </mc:Choice>
        <mc:Fallback xmlns="">
          <p:pic>
            <p:nvPicPr>
              <p:cNvPr id="453" name="Ink 452">
                <a:extLst>
                  <a:ext uri="{FF2B5EF4-FFF2-40B4-BE49-F238E27FC236}">
                    <a16:creationId xmlns:a16="http://schemas.microsoft.com/office/drawing/2014/main" id="{0CE11A57-6866-D260-702E-DE791D43FE19}"/>
                  </a:ext>
                </a:extLst>
              </p:cNvPr>
              <p:cNvPicPr/>
              <p:nvPr/>
            </p:nvPicPr>
            <p:blipFill>
              <a:blip r:embed="rId17"/>
              <a:stretch>
                <a:fillRect/>
              </a:stretch>
            </p:blipFill>
            <p:spPr>
              <a:xfrm>
                <a:off x="8107631" y="1559653"/>
                <a:ext cx="724617" cy="149616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454" name="Ink 453">
                <a:extLst>
                  <a:ext uri="{FF2B5EF4-FFF2-40B4-BE49-F238E27FC236}">
                    <a16:creationId xmlns:a16="http://schemas.microsoft.com/office/drawing/2014/main" id="{A3DC705D-C152-C294-D9A5-2DDC3554FC74}"/>
                  </a:ext>
                </a:extLst>
              </p14:cNvPr>
              <p14:cNvContentPartPr/>
              <p14:nvPr/>
            </p14:nvContentPartPr>
            <p14:xfrm>
              <a:off x="8271400" y="1862053"/>
              <a:ext cx="360" cy="360"/>
            </p14:xfrm>
          </p:contentPart>
        </mc:Choice>
        <mc:Fallback xmlns="">
          <p:pic>
            <p:nvPicPr>
              <p:cNvPr id="454" name="Ink 453">
                <a:extLst>
                  <a:ext uri="{FF2B5EF4-FFF2-40B4-BE49-F238E27FC236}">
                    <a16:creationId xmlns:a16="http://schemas.microsoft.com/office/drawing/2014/main" id="{A3DC705D-C152-C294-D9A5-2DDC3554FC74}"/>
                  </a:ext>
                </a:extLst>
              </p:cNvPr>
              <p:cNvPicPr/>
              <p:nvPr/>
            </p:nvPicPr>
            <p:blipFill>
              <a:blip r:embed="rId19"/>
              <a:stretch>
                <a:fillRect/>
              </a:stretch>
            </p:blipFill>
            <p:spPr>
              <a:xfrm>
                <a:off x="8217400" y="1754053"/>
                <a:ext cx="10800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455" name="Ink 454">
                <a:extLst>
                  <a:ext uri="{FF2B5EF4-FFF2-40B4-BE49-F238E27FC236}">
                    <a16:creationId xmlns:a16="http://schemas.microsoft.com/office/drawing/2014/main" id="{8989BCC0-7D27-9657-055A-6FAB831CF290}"/>
                  </a:ext>
                </a:extLst>
              </p14:cNvPr>
              <p14:cNvContentPartPr/>
              <p14:nvPr/>
            </p14:nvContentPartPr>
            <p14:xfrm>
              <a:off x="8252680" y="1819573"/>
              <a:ext cx="474480" cy="1042200"/>
            </p14:xfrm>
          </p:contentPart>
        </mc:Choice>
        <mc:Fallback xmlns="">
          <p:pic>
            <p:nvPicPr>
              <p:cNvPr id="455" name="Ink 454">
                <a:extLst>
                  <a:ext uri="{FF2B5EF4-FFF2-40B4-BE49-F238E27FC236}">
                    <a16:creationId xmlns:a16="http://schemas.microsoft.com/office/drawing/2014/main" id="{8989BCC0-7D27-9657-055A-6FAB831CF290}"/>
                  </a:ext>
                </a:extLst>
              </p:cNvPr>
              <p:cNvPicPr/>
              <p:nvPr/>
            </p:nvPicPr>
            <p:blipFill>
              <a:blip r:embed="rId21"/>
              <a:stretch>
                <a:fillRect/>
              </a:stretch>
            </p:blipFill>
            <p:spPr>
              <a:xfrm>
                <a:off x="8198680" y="1711573"/>
                <a:ext cx="582120" cy="1257840"/>
              </a:xfrm>
              <a:prstGeom prst="rect">
                <a:avLst/>
              </a:prstGeom>
            </p:spPr>
          </p:pic>
        </mc:Fallback>
      </mc:AlternateContent>
    </p:spTree>
    <p:extLst>
      <p:ext uri="{BB962C8B-B14F-4D97-AF65-F5344CB8AC3E}">
        <p14:creationId xmlns:p14="http://schemas.microsoft.com/office/powerpoint/2010/main" val="11283058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01E76F1F-250A-088D-7ACC-9178E1B02C22}"/>
              </a:ext>
              <a:ext uri="{C183D7F6-B498-43B3-948B-1728B52AA6E4}">
                <adec:decorative xmlns:adec="http://schemas.microsoft.com/office/drawing/2017/decorative" val="1"/>
              </a:ext>
            </a:extLst>
          </p:cNvPr>
          <p:cNvCxnSpPr>
            <a:cxnSpLocks/>
          </p:cNvCxnSpPr>
          <p:nvPr/>
        </p:nvCxnSpPr>
        <p:spPr>
          <a:xfrm>
            <a:off x="488191" y="1088493"/>
            <a:ext cx="10761492"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sp>
        <p:nvSpPr>
          <p:cNvPr id="490" name="TextBox 489">
            <a:extLst>
              <a:ext uri="{FF2B5EF4-FFF2-40B4-BE49-F238E27FC236}">
                <a16:creationId xmlns:a16="http://schemas.microsoft.com/office/drawing/2014/main" id="{E62D3F79-CF65-530E-B249-C5A246299A14}"/>
              </a:ext>
            </a:extLst>
          </p:cNvPr>
          <p:cNvSpPr txBox="1"/>
          <p:nvPr/>
        </p:nvSpPr>
        <p:spPr>
          <a:xfrm>
            <a:off x="487179" y="543118"/>
            <a:ext cx="9843542" cy="492443"/>
          </a:xfrm>
          <a:prstGeom prst="rect">
            <a:avLst/>
          </a:prstGeom>
          <a:noFill/>
        </p:spPr>
        <p:txBody>
          <a:bodyPr wrap="square" lIns="91440" tIns="45720" rIns="91440" bIns="45720" anchor="t">
            <a:spAutoFit/>
          </a:bodyPr>
          <a:lstStyle/>
          <a:p>
            <a:r>
              <a:rPr lang="en-US" sz="2600" b="1">
                <a:solidFill>
                  <a:schemeClr val="tx1">
                    <a:lumMod val="75000"/>
                    <a:lumOff val="25000"/>
                  </a:schemeClr>
                </a:solidFill>
                <a:latin typeface="Montserrat"/>
              </a:rPr>
              <a:t>Metrics</a:t>
            </a:r>
            <a:endParaRPr lang="en-US" sz="2800">
              <a:solidFill>
                <a:schemeClr val="tx1">
                  <a:lumMod val="75000"/>
                  <a:lumOff val="25000"/>
                </a:schemeClr>
              </a:solidFill>
            </a:endParaRPr>
          </a:p>
        </p:txBody>
      </p:sp>
      <p:sp>
        <p:nvSpPr>
          <p:cNvPr id="5" name="Shape">
            <a:extLst>
              <a:ext uri="{FF2B5EF4-FFF2-40B4-BE49-F238E27FC236}">
                <a16:creationId xmlns:a16="http://schemas.microsoft.com/office/drawing/2014/main" id="{83CE612D-2A59-1766-4347-8C98B808D7F6}"/>
              </a:ext>
            </a:extLst>
          </p:cNvPr>
          <p:cNvSpPr/>
          <p:nvPr/>
        </p:nvSpPr>
        <p:spPr>
          <a:xfrm>
            <a:off x="1296937" y="2256196"/>
            <a:ext cx="9144000" cy="2345608"/>
          </a:xfrm>
          <a:custGeom>
            <a:avLst/>
            <a:gdLst/>
            <a:ahLst/>
            <a:cxnLst>
              <a:cxn ang="0">
                <a:pos x="wd2" y="hd2"/>
              </a:cxn>
              <a:cxn ang="5400000">
                <a:pos x="wd2" y="hd2"/>
              </a:cxn>
              <a:cxn ang="10800000">
                <a:pos x="wd2" y="hd2"/>
              </a:cxn>
              <a:cxn ang="16200000">
                <a:pos x="wd2" y="hd2"/>
              </a:cxn>
            </a:cxnLst>
            <a:rect l="0" t="0" r="r" b="b"/>
            <a:pathLst>
              <a:path w="21600" h="21600" extrusionOk="0">
                <a:moveTo>
                  <a:pt x="19980" y="9447"/>
                </a:moveTo>
                <a:lnTo>
                  <a:pt x="21600" y="9447"/>
                </a:lnTo>
                <a:lnTo>
                  <a:pt x="21600" y="9047"/>
                </a:lnTo>
                <a:lnTo>
                  <a:pt x="19980" y="9047"/>
                </a:lnTo>
                <a:cubicBezTo>
                  <a:pt x="19706" y="9047"/>
                  <a:pt x="19451" y="9623"/>
                  <a:pt x="19314" y="10547"/>
                </a:cubicBezTo>
                <a:lnTo>
                  <a:pt x="18390" y="16791"/>
                </a:lnTo>
                <a:cubicBezTo>
                  <a:pt x="18269" y="17605"/>
                  <a:pt x="18054" y="18089"/>
                  <a:pt x="17813" y="18089"/>
                </a:cubicBezTo>
                <a:cubicBezTo>
                  <a:pt x="17573" y="18089"/>
                  <a:pt x="17356" y="17605"/>
                  <a:pt x="17236" y="16791"/>
                </a:cubicBezTo>
                <a:lnTo>
                  <a:pt x="16311" y="10543"/>
                </a:lnTo>
                <a:cubicBezTo>
                  <a:pt x="16174" y="9619"/>
                  <a:pt x="15918" y="9042"/>
                  <a:pt x="15645" y="9042"/>
                </a:cubicBezTo>
                <a:lnTo>
                  <a:pt x="15302" y="9042"/>
                </a:lnTo>
                <a:cubicBezTo>
                  <a:pt x="15065" y="9042"/>
                  <a:pt x="14844" y="8545"/>
                  <a:pt x="14725" y="7744"/>
                </a:cubicBezTo>
                <a:lnTo>
                  <a:pt x="13801" y="1500"/>
                </a:lnTo>
                <a:cubicBezTo>
                  <a:pt x="13662" y="563"/>
                  <a:pt x="13412" y="0"/>
                  <a:pt x="13135" y="0"/>
                </a:cubicBezTo>
                <a:cubicBezTo>
                  <a:pt x="12857" y="0"/>
                  <a:pt x="12608" y="559"/>
                  <a:pt x="12469" y="1500"/>
                </a:cubicBezTo>
                <a:lnTo>
                  <a:pt x="11544" y="7744"/>
                </a:lnTo>
                <a:cubicBezTo>
                  <a:pt x="11426" y="8545"/>
                  <a:pt x="11205" y="9042"/>
                  <a:pt x="10968" y="9042"/>
                </a:cubicBezTo>
                <a:lnTo>
                  <a:pt x="10624" y="9042"/>
                </a:lnTo>
                <a:cubicBezTo>
                  <a:pt x="10350" y="9042"/>
                  <a:pt x="10095" y="9619"/>
                  <a:pt x="9959" y="10543"/>
                </a:cubicBezTo>
                <a:lnTo>
                  <a:pt x="9034" y="16786"/>
                </a:lnTo>
                <a:cubicBezTo>
                  <a:pt x="8913" y="17600"/>
                  <a:pt x="8698" y="18084"/>
                  <a:pt x="8457" y="18084"/>
                </a:cubicBezTo>
                <a:cubicBezTo>
                  <a:pt x="8217" y="18084"/>
                  <a:pt x="8000" y="17600"/>
                  <a:pt x="7881" y="16786"/>
                </a:cubicBezTo>
                <a:lnTo>
                  <a:pt x="6949" y="10543"/>
                </a:lnTo>
                <a:cubicBezTo>
                  <a:pt x="6813" y="9619"/>
                  <a:pt x="6557" y="9042"/>
                  <a:pt x="6283" y="9042"/>
                </a:cubicBezTo>
                <a:lnTo>
                  <a:pt x="5940" y="9042"/>
                </a:lnTo>
                <a:cubicBezTo>
                  <a:pt x="5703" y="9042"/>
                  <a:pt x="5482" y="8545"/>
                  <a:pt x="5364" y="7744"/>
                </a:cubicBezTo>
                <a:lnTo>
                  <a:pt x="4439" y="1500"/>
                </a:lnTo>
                <a:cubicBezTo>
                  <a:pt x="4300" y="563"/>
                  <a:pt x="4051" y="0"/>
                  <a:pt x="3773" y="0"/>
                </a:cubicBezTo>
                <a:cubicBezTo>
                  <a:pt x="3496" y="0"/>
                  <a:pt x="3246" y="559"/>
                  <a:pt x="3107" y="1500"/>
                </a:cubicBezTo>
                <a:lnTo>
                  <a:pt x="2183" y="7744"/>
                </a:lnTo>
                <a:cubicBezTo>
                  <a:pt x="2064" y="8545"/>
                  <a:pt x="1843" y="9042"/>
                  <a:pt x="1606" y="9042"/>
                </a:cubicBezTo>
                <a:lnTo>
                  <a:pt x="0" y="9042"/>
                </a:lnTo>
                <a:lnTo>
                  <a:pt x="0" y="9443"/>
                </a:lnTo>
                <a:lnTo>
                  <a:pt x="1606" y="9443"/>
                </a:lnTo>
                <a:cubicBezTo>
                  <a:pt x="1858" y="9443"/>
                  <a:pt x="2095" y="8954"/>
                  <a:pt x="2237" y="8158"/>
                </a:cubicBezTo>
                <a:lnTo>
                  <a:pt x="2183" y="8523"/>
                </a:lnTo>
                <a:cubicBezTo>
                  <a:pt x="2064" y="9324"/>
                  <a:pt x="1843" y="9821"/>
                  <a:pt x="1606" y="9821"/>
                </a:cubicBezTo>
                <a:lnTo>
                  <a:pt x="0" y="9821"/>
                </a:lnTo>
                <a:lnTo>
                  <a:pt x="0" y="10221"/>
                </a:lnTo>
                <a:lnTo>
                  <a:pt x="1606" y="10221"/>
                </a:lnTo>
                <a:cubicBezTo>
                  <a:pt x="1858" y="10221"/>
                  <a:pt x="2095" y="9733"/>
                  <a:pt x="2237" y="8937"/>
                </a:cubicBezTo>
                <a:lnTo>
                  <a:pt x="2183" y="9302"/>
                </a:lnTo>
                <a:cubicBezTo>
                  <a:pt x="2064" y="10103"/>
                  <a:pt x="1843" y="10600"/>
                  <a:pt x="1606" y="10600"/>
                </a:cubicBezTo>
                <a:lnTo>
                  <a:pt x="0" y="10600"/>
                </a:lnTo>
                <a:lnTo>
                  <a:pt x="0" y="11000"/>
                </a:lnTo>
                <a:lnTo>
                  <a:pt x="1606" y="11000"/>
                </a:lnTo>
                <a:cubicBezTo>
                  <a:pt x="1858" y="11000"/>
                  <a:pt x="2095" y="10512"/>
                  <a:pt x="2237" y="9715"/>
                </a:cubicBezTo>
                <a:lnTo>
                  <a:pt x="2183" y="10081"/>
                </a:lnTo>
                <a:cubicBezTo>
                  <a:pt x="2064" y="10881"/>
                  <a:pt x="1843" y="11379"/>
                  <a:pt x="1606" y="11379"/>
                </a:cubicBezTo>
                <a:lnTo>
                  <a:pt x="0" y="11379"/>
                </a:lnTo>
                <a:lnTo>
                  <a:pt x="0" y="11779"/>
                </a:lnTo>
                <a:lnTo>
                  <a:pt x="1606" y="11779"/>
                </a:lnTo>
                <a:cubicBezTo>
                  <a:pt x="1858" y="11779"/>
                  <a:pt x="2095" y="11291"/>
                  <a:pt x="2237" y="10494"/>
                </a:cubicBezTo>
                <a:lnTo>
                  <a:pt x="2183" y="10859"/>
                </a:lnTo>
                <a:cubicBezTo>
                  <a:pt x="2064" y="11660"/>
                  <a:pt x="1843" y="12157"/>
                  <a:pt x="1606" y="12157"/>
                </a:cubicBezTo>
                <a:lnTo>
                  <a:pt x="0" y="12157"/>
                </a:lnTo>
                <a:lnTo>
                  <a:pt x="0" y="12558"/>
                </a:lnTo>
                <a:lnTo>
                  <a:pt x="1606" y="12558"/>
                </a:lnTo>
                <a:cubicBezTo>
                  <a:pt x="1880" y="12558"/>
                  <a:pt x="2136" y="11981"/>
                  <a:pt x="2272" y="11057"/>
                </a:cubicBezTo>
                <a:lnTo>
                  <a:pt x="3196" y="4814"/>
                </a:lnTo>
                <a:cubicBezTo>
                  <a:pt x="3317" y="4000"/>
                  <a:pt x="3533" y="3516"/>
                  <a:pt x="3773" y="3516"/>
                </a:cubicBezTo>
                <a:cubicBezTo>
                  <a:pt x="4014" y="3516"/>
                  <a:pt x="4230" y="4000"/>
                  <a:pt x="4350" y="4814"/>
                </a:cubicBezTo>
                <a:lnTo>
                  <a:pt x="5274" y="11057"/>
                </a:lnTo>
                <a:cubicBezTo>
                  <a:pt x="5411" y="11981"/>
                  <a:pt x="5667" y="12558"/>
                  <a:pt x="5940" y="12558"/>
                </a:cubicBezTo>
                <a:lnTo>
                  <a:pt x="6283" y="12558"/>
                </a:lnTo>
                <a:cubicBezTo>
                  <a:pt x="6521" y="12558"/>
                  <a:pt x="6742" y="13055"/>
                  <a:pt x="6860" y="13856"/>
                </a:cubicBezTo>
                <a:lnTo>
                  <a:pt x="7785" y="20100"/>
                </a:lnTo>
                <a:cubicBezTo>
                  <a:pt x="7923" y="21037"/>
                  <a:pt x="8173" y="21600"/>
                  <a:pt x="8451" y="21600"/>
                </a:cubicBezTo>
                <a:cubicBezTo>
                  <a:pt x="8728" y="21600"/>
                  <a:pt x="8978" y="21041"/>
                  <a:pt x="9117" y="20100"/>
                </a:cubicBezTo>
                <a:lnTo>
                  <a:pt x="10041" y="13856"/>
                </a:lnTo>
                <a:cubicBezTo>
                  <a:pt x="10159" y="13055"/>
                  <a:pt x="10381" y="12558"/>
                  <a:pt x="10618" y="12558"/>
                </a:cubicBezTo>
                <a:lnTo>
                  <a:pt x="10961" y="12558"/>
                </a:lnTo>
                <a:cubicBezTo>
                  <a:pt x="11235" y="12558"/>
                  <a:pt x="11490" y="11981"/>
                  <a:pt x="11627" y="11057"/>
                </a:cubicBezTo>
                <a:lnTo>
                  <a:pt x="12551" y="4814"/>
                </a:lnTo>
                <a:cubicBezTo>
                  <a:pt x="12672" y="4000"/>
                  <a:pt x="12888" y="3516"/>
                  <a:pt x="13128" y="3516"/>
                </a:cubicBezTo>
                <a:cubicBezTo>
                  <a:pt x="13368" y="3516"/>
                  <a:pt x="13585" y="4000"/>
                  <a:pt x="13705" y="4814"/>
                </a:cubicBezTo>
                <a:lnTo>
                  <a:pt x="14629" y="11057"/>
                </a:lnTo>
                <a:cubicBezTo>
                  <a:pt x="14766" y="11981"/>
                  <a:pt x="15022" y="12558"/>
                  <a:pt x="15295" y="12558"/>
                </a:cubicBezTo>
                <a:lnTo>
                  <a:pt x="15638" y="12558"/>
                </a:lnTo>
                <a:cubicBezTo>
                  <a:pt x="15875" y="12558"/>
                  <a:pt x="16096" y="13055"/>
                  <a:pt x="16215" y="13856"/>
                </a:cubicBezTo>
                <a:lnTo>
                  <a:pt x="17139" y="20100"/>
                </a:lnTo>
                <a:cubicBezTo>
                  <a:pt x="17278" y="21037"/>
                  <a:pt x="17528" y="21600"/>
                  <a:pt x="17805" y="21600"/>
                </a:cubicBezTo>
                <a:cubicBezTo>
                  <a:pt x="18083" y="21600"/>
                  <a:pt x="18332" y="21041"/>
                  <a:pt x="18471" y="20100"/>
                </a:cubicBezTo>
                <a:lnTo>
                  <a:pt x="19396" y="13856"/>
                </a:lnTo>
                <a:cubicBezTo>
                  <a:pt x="19514" y="13055"/>
                  <a:pt x="19735" y="12558"/>
                  <a:pt x="19972" y="12558"/>
                </a:cubicBezTo>
                <a:lnTo>
                  <a:pt x="21592" y="12558"/>
                </a:lnTo>
                <a:lnTo>
                  <a:pt x="21592" y="12157"/>
                </a:lnTo>
                <a:lnTo>
                  <a:pt x="19972" y="12157"/>
                </a:lnTo>
                <a:cubicBezTo>
                  <a:pt x="19721" y="12157"/>
                  <a:pt x="19484" y="12646"/>
                  <a:pt x="19341" y="13442"/>
                </a:cubicBezTo>
                <a:lnTo>
                  <a:pt x="19396" y="13077"/>
                </a:lnTo>
                <a:cubicBezTo>
                  <a:pt x="19514" y="12276"/>
                  <a:pt x="19735" y="11779"/>
                  <a:pt x="19972" y="11779"/>
                </a:cubicBezTo>
                <a:lnTo>
                  <a:pt x="21592" y="11779"/>
                </a:lnTo>
                <a:lnTo>
                  <a:pt x="21592" y="11379"/>
                </a:lnTo>
                <a:lnTo>
                  <a:pt x="19972" y="11379"/>
                </a:lnTo>
                <a:cubicBezTo>
                  <a:pt x="19721" y="11379"/>
                  <a:pt x="19484" y="11867"/>
                  <a:pt x="19341" y="12663"/>
                </a:cubicBezTo>
                <a:lnTo>
                  <a:pt x="19396" y="12298"/>
                </a:lnTo>
                <a:cubicBezTo>
                  <a:pt x="19514" y="11497"/>
                  <a:pt x="19735" y="11000"/>
                  <a:pt x="19972" y="11000"/>
                </a:cubicBezTo>
                <a:lnTo>
                  <a:pt x="21592" y="11000"/>
                </a:lnTo>
                <a:lnTo>
                  <a:pt x="21592" y="10600"/>
                </a:lnTo>
                <a:lnTo>
                  <a:pt x="19972" y="10600"/>
                </a:lnTo>
                <a:cubicBezTo>
                  <a:pt x="19721" y="10600"/>
                  <a:pt x="19484" y="11088"/>
                  <a:pt x="19341" y="11885"/>
                </a:cubicBezTo>
                <a:lnTo>
                  <a:pt x="19396" y="11519"/>
                </a:lnTo>
                <a:cubicBezTo>
                  <a:pt x="19514" y="10719"/>
                  <a:pt x="19735" y="10221"/>
                  <a:pt x="19972" y="10221"/>
                </a:cubicBezTo>
                <a:lnTo>
                  <a:pt x="21592" y="10221"/>
                </a:lnTo>
                <a:lnTo>
                  <a:pt x="21592" y="9821"/>
                </a:lnTo>
                <a:lnTo>
                  <a:pt x="19972" y="9821"/>
                </a:lnTo>
                <a:cubicBezTo>
                  <a:pt x="19721" y="9821"/>
                  <a:pt x="19484" y="10309"/>
                  <a:pt x="19341" y="11106"/>
                </a:cubicBezTo>
                <a:lnTo>
                  <a:pt x="19396" y="10741"/>
                </a:lnTo>
                <a:cubicBezTo>
                  <a:pt x="19522" y="9944"/>
                  <a:pt x="19743" y="9447"/>
                  <a:pt x="19980" y="9447"/>
                </a:cubicBezTo>
                <a:close/>
                <a:moveTo>
                  <a:pt x="17812" y="18489"/>
                </a:moveTo>
                <a:cubicBezTo>
                  <a:pt x="18068" y="18489"/>
                  <a:pt x="18299" y="18014"/>
                  <a:pt x="18443" y="17209"/>
                </a:cubicBezTo>
                <a:lnTo>
                  <a:pt x="18390" y="17570"/>
                </a:lnTo>
                <a:cubicBezTo>
                  <a:pt x="18269" y="18384"/>
                  <a:pt x="18054" y="18868"/>
                  <a:pt x="17813" y="18868"/>
                </a:cubicBezTo>
                <a:cubicBezTo>
                  <a:pt x="17573" y="18868"/>
                  <a:pt x="17356" y="18384"/>
                  <a:pt x="17236" y="17570"/>
                </a:cubicBezTo>
                <a:lnTo>
                  <a:pt x="17183" y="17209"/>
                </a:lnTo>
                <a:cubicBezTo>
                  <a:pt x="17326" y="18014"/>
                  <a:pt x="17557" y="18489"/>
                  <a:pt x="17812" y="18489"/>
                </a:cubicBezTo>
                <a:close/>
                <a:moveTo>
                  <a:pt x="3772" y="1962"/>
                </a:moveTo>
                <a:cubicBezTo>
                  <a:pt x="4013" y="1962"/>
                  <a:pt x="4229" y="2446"/>
                  <a:pt x="4349" y="3260"/>
                </a:cubicBezTo>
                <a:lnTo>
                  <a:pt x="4402" y="3621"/>
                </a:lnTo>
                <a:cubicBezTo>
                  <a:pt x="4259" y="2816"/>
                  <a:pt x="4027" y="2341"/>
                  <a:pt x="3771" y="2341"/>
                </a:cubicBezTo>
                <a:cubicBezTo>
                  <a:pt x="3515" y="2341"/>
                  <a:pt x="3285" y="2816"/>
                  <a:pt x="3140" y="3621"/>
                </a:cubicBezTo>
                <a:lnTo>
                  <a:pt x="3193" y="3260"/>
                </a:lnTo>
                <a:cubicBezTo>
                  <a:pt x="3315" y="2451"/>
                  <a:pt x="3531" y="1962"/>
                  <a:pt x="3772" y="1962"/>
                </a:cubicBezTo>
                <a:close/>
                <a:moveTo>
                  <a:pt x="3141" y="2842"/>
                </a:moveTo>
                <a:lnTo>
                  <a:pt x="3194" y="2482"/>
                </a:lnTo>
                <a:cubicBezTo>
                  <a:pt x="3315" y="1668"/>
                  <a:pt x="3531" y="1184"/>
                  <a:pt x="3771" y="1184"/>
                </a:cubicBezTo>
                <a:cubicBezTo>
                  <a:pt x="4011" y="1184"/>
                  <a:pt x="4228" y="1668"/>
                  <a:pt x="4348" y="2482"/>
                </a:cubicBezTo>
                <a:lnTo>
                  <a:pt x="4401" y="2842"/>
                </a:lnTo>
                <a:cubicBezTo>
                  <a:pt x="4257" y="2037"/>
                  <a:pt x="4026" y="1562"/>
                  <a:pt x="3770" y="1562"/>
                </a:cubicBezTo>
                <a:cubicBezTo>
                  <a:pt x="3516" y="1562"/>
                  <a:pt x="3285" y="2037"/>
                  <a:pt x="3141" y="2842"/>
                </a:cubicBezTo>
                <a:close/>
                <a:moveTo>
                  <a:pt x="5940" y="11009"/>
                </a:moveTo>
                <a:lnTo>
                  <a:pt x="6283" y="11009"/>
                </a:lnTo>
                <a:cubicBezTo>
                  <a:pt x="6521" y="11009"/>
                  <a:pt x="6742" y="11506"/>
                  <a:pt x="6860" y="12307"/>
                </a:cubicBezTo>
                <a:lnTo>
                  <a:pt x="6914" y="12672"/>
                </a:lnTo>
                <a:cubicBezTo>
                  <a:pt x="6771" y="11871"/>
                  <a:pt x="6535" y="11387"/>
                  <a:pt x="6283" y="11387"/>
                </a:cubicBezTo>
                <a:lnTo>
                  <a:pt x="5940" y="11387"/>
                </a:lnTo>
                <a:cubicBezTo>
                  <a:pt x="5703" y="11387"/>
                  <a:pt x="5482" y="10890"/>
                  <a:pt x="5364" y="10089"/>
                </a:cubicBezTo>
                <a:lnTo>
                  <a:pt x="5309" y="9724"/>
                </a:lnTo>
                <a:cubicBezTo>
                  <a:pt x="5452" y="10521"/>
                  <a:pt x="5688" y="11009"/>
                  <a:pt x="5940" y="11009"/>
                </a:cubicBezTo>
                <a:close/>
                <a:moveTo>
                  <a:pt x="5308" y="8941"/>
                </a:moveTo>
                <a:cubicBezTo>
                  <a:pt x="5452" y="9742"/>
                  <a:pt x="5688" y="10226"/>
                  <a:pt x="5939" y="10226"/>
                </a:cubicBezTo>
                <a:lnTo>
                  <a:pt x="6282" y="10226"/>
                </a:lnTo>
                <a:cubicBezTo>
                  <a:pt x="6519" y="10226"/>
                  <a:pt x="6741" y="10723"/>
                  <a:pt x="6859" y="11524"/>
                </a:cubicBezTo>
                <a:lnTo>
                  <a:pt x="6913" y="11889"/>
                </a:lnTo>
                <a:cubicBezTo>
                  <a:pt x="6770" y="11088"/>
                  <a:pt x="6534" y="10604"/>
                  <a:pt x="6282" y="10604"/>
                </a:cubicBezTo>
                <a:lnTo>
                  <a:pt x="5939" y="10604"/>
                </a:lnTo>
                <a:cubicBezTo>
                  <a:pt x="5702" y="10604"/>
                  <a:pt x="5481" y="10107"/>
                  <a:pt x="5362" y="9306"/>
                </a:cubicBezTo>
                <a:lnTo>
                  <a:pt x="5308" y="8941"/>
                </a:lnTo>
                <a:close/>
                <a:moveTo>
                  <a:pt x="8452" y="20051"/>
                </a:moveTo>
                <a:cubicBezTo>
                  <a:pt x="8708" y="20051"/>
                  <a:pt x="8938" y="19576"/>
                  <a:pt x="9083" y="18771"/>
                </a:cubicBezTo>
                <a:lnTo>
                  <a:pt x="9030" y="19132"/>
                </a:lnTo>
                <a:cubicBezTo>
                  <a:pt x="8909" y="19946"/>
                  <a:pt x="8693" y="20430"/>
                  <a:pt x="8453" y="20430"/>
                </a:cubicBezTo>
                <a:cubicBezTo>
                  <a:pt x="8212" y="20430"/>
                  <a:pt x="7996" y="19946"/>
                  <a:pt x="7876" y="19132"/>
                </a:cubicBezTo>
                <a:lnTo>
                  <a:pt x="7823" y="18771"/>
                </a:lnTo>
                <a:cubicBezTo>
                  <a:pt x="7965" y="19576"/>
                  <a:pt x="8197" y="20051"/>
                  <a:pt x="8452" y="20051"/>
                </a:cubicBezTo>
                <a:close/>
                <a:moveTo>
                  <a:pt x="7822" y="17988"/>
                </a:moveTo>
                <a:cubicBezTo>
                  <a:pt x="7965" y="18793"/>
                  <a:pt x="8197" y="19268"/>
                  <a:pt x="8453" y="19268"/>
                </a:cubicBezTo>
                <a:cubicBezTo>
                  <a:pt x="8709" y="19268"/>
                  <a:pt x="8939" y="18793"/>
                  <a:pt x="9084" y="17988"/>
                </a:cubicBezTo>
                <a:lnTo>
                  <a:pt x="9031" y="18348"/>
                </a:lnTo>
                <a:cubicBezTo>
                  <a:pt x="8910" y="19162"/>
                  <a:pt x="8694" y="19646"/>
                  <a:pt x="8454" y="19646"/>
                </a:cubicBezTo>
                <a:cubicBezTo>
                  <a:pt x="8214" y="19646"/>
                  <a:pt x="7997" y="19162"/>
                  <a:pt x="7877" y="18348"/>
                </a:cubicBezTo>
                <a:lnTo>
                  <a:pt x="7822" y="17988"/>
                </a:lnTo>
                <a:close/>
                <a:moveTo>
                  <a:pt x="10043" y="12307"/>
                </a:moveTo>
                <a:cubicBezTo>
                  <a:pt x="10162" y="11506"/>
                  <a:pt x="10383" y="11009"/>
                  <a:pt x="10620" y="11009"/>
                </a:cubicBezTo>
                <a:lnTo>
                  <a:pt x="10963" y="11009"/>
                </a:lnTo>
                <a:cubicBezTo>
                  <a:pt x="11215" y="11009"/>
                  <a:pt x="11452" y="10521"/>
                  <a:pt x="11594" y="9724"/>
                </a:cubicBezTo>
                <a:lnTo>
                  <a:pt x="11540" y="10089"/>
                </a:lnTo>
                <a:cubicBezTo>
                  <a:pt x="11421" y="10890"/>
                  <a:pt x="11200" y="11387"/>
                  <a:pt x="10963" y="11387"/>
                </a:cubicBezTo>
                <a:lnTo>
                  <a:pt x="10620" y="11387"/>
                </a:lnTo>
                <a:cubicBezTo>
                  <a:pt x="10368" y="11387"/>
                  <a:pt x="10131" y="11876"/>
                  <a:pt x="9989" y="12672"/>
                </a:cubicBezTo>
                <a:lnTo>
                  <a:pt x="10043" y="12307"/>
                </a:lnTo>
                <a:close/>
                <a:moveTo>
                  <a:pt x="9989" y="11889"/>
                </a:moveTo>
                <a:lnTo>
                  <a:pt x="10043" y="11524"/>
                </a:lnTo>
                <a:cubicBezTo>
                  <a:pt x="10162" y="10723"/>
                  <a:pt x="10383" y="10226"/>
                  <a:pt x="10620" y="10226"/>
                </a:cubicBezTo>
                <a:lnTo>
                  <a:pt x="10963" y="10226"/>
                </a:lnTo>
                <a:cubicBezTo>
                  <a:pt x="11215" y="10226"/>
                  <a:pt x="11452" y="9737"/>
                  <a:pt x="11594" y="8941"/>
                </a:cubicBezTo>
                <a:lnTo>
                  <a:pt x="11540" y="9306"/>
                </a:lnTo>
                <a:cubicBezTo>
                  <a:pt x="11421" y="10107"/>
                  <a:pt x="11200" y="10604"/>
                  <a:pt x="10963" y="10604"/>
                </a:cubicBezTo>
                <a:lnTo>
                  <a:pt x="10620" y="10604"/>
                </a:lnTo>
                <a:cubicBezTo>
                  <a:pt x="10368" y="10604"/>
                  <a:pt x="10132" y="11093"/>
                  <a:pt x="9989" y="11889"/>
                </a:cubicBezTo>
                <a:close/>
                <a:moveTo>
                  <a:pt x="12555" y="3265"/>
                </a:moveTo>
                <a:cubicBezTo>
                  <a:pt x="12675" y="2451"/>
                  <a:pt x="12891" y="1967"/>
                  <a:pt x="13131" y="1967"/>
                </a:cubicBezTo>
                <a:cubicBezTo>
                  <a:pt x="13372" y="1967"/>
                  <a:pt x="13588" y="2451"/>
                  <a:pt x="13708" y="3265"/>
                </a:cubicBezTo>
                <a:lnTo>
                  <a:pt x="13761" y="3626"/>
                </a:lnTo>
                <a:cubicBezTo>
                  <a:pt x="13618" y="2820"/>
                  <a:pt x="13386" y="2345"/>
                  <a:pt x="13130" y="2345"/>
                </a:cubicBezTo>
                <a:cubicBezTo>
                  <a:pt x="12874" y="2345"/>
                  <a:pt x="12644" y="2820"/>
                  <a:pt x="12499" y="3626"/>
                </a:cubicBezTo>
                <a:lnTo>
                  <a:pt x="12555" y="3265"/>
                </a:lnTo>
                <a:close/>
                <a:moveTo>
                  <a:pt x="12502" y="2842"/>
                </a:moveTo>
                <a:lnTo>
                  <a:pt x="12555" y="2482"/>
                </a:lnTo>
                <a:cubicBezTo>
                  <a:pt x="12675" y="1668"/>
                  <a:pt x="12891" y="1184"/>
                  <a:pt x="13131" y="1184"/>
                </a:cubicBezTo>
                <a:cubicBezTo>
                  <a:pt x="13372" y="1184"/>
                  <a:pt x="13588" y="1668"/>
                  <a:pt x="13708" y="2482"/>
                </a:cubicBezTo>
                <a:lnTo>
                  <a:pt x="13761" y="2842"/>
                </a:lnTo>
                <a:cubicBezTo>
                  <a:pt x="13618" y="2037"/>
                  <a:pt x="13386" y="1562"/>
                  <a:pt x="13130" y="1562"/>
                </a:cubicBezTo>
                <a:cubicBezTo>
                  <a:pt x="12876" y="1562"/>
                  <a:pt x="12645" y="2037"/>
                  <a:pt x="12502" y="2842"/>
                </a:cubicBezTo>
                <a:close/>
                <a:moveTo>
                  <a:pt x="15301" y="11009"/>
                </a:moveTo>
                <a:lnTo>
                  <a:pt x="15644" y="11009"/>
                </a:lnTo>
                <a:cubicBezTo>
                  <a:pt x="15881" y="11009"/>
                  <a:pt x="16102" y="11506"/>
                  <a:pt x="16221" y="12307"/>
                </a:cubicBezTo>
                <a:lnTo>
                  <a:pt x="16275" y="12672"/>
                </a:lnTo>
                <a:cubicBezTo>
                  <a:pt x="16131" y="11871"/>
                  <a:pt x="15896" y="11387"/>
                  <a:pt x="15644" y="11387"/>
                </a:cubicBezTo>
                <a:lnTo>
                  <a:pt x="15301" y="11387"/>
                </a:lnTo>
                <a:cubicBezTo>
                  <a:pt x="15064" y="11387"/>
                  <a:pt x="14842" y="10890"/>
                  <a:pt x="14724" y="10089"/>
                </a:cubicBezTo>
                <a:lnTo>
                  <a:pt x="14670" y="9724"/>
                </a:lnTo>
                <a:cubicBezTo>
                  <a:pt x="14812" y="10521"/>
                  <a:pt x="15048" y="11009"/>
                  <a:pt x="15301" y="11009"/>
                </a:cubicBezTo>
                <a:close/>
                <a:moveTo>
                  <a:pt x="14669" y="8941"/>
                </a:moveTo>
                <a:cubicBezTo>
                  <a:pt x="14812" y="9742"/>
                  <a:pt x="15048" y="10226"/>
                  <a:pt x="15300" y="10226"/>
                </a:cubicBezTo>
                <a:lnTo>
                  <a:pt x="15643" y="10226"/>
                </a:lnTo>
                <a:cubicBezTo>
                  <a:pt x="15880" y="10226"/>
                  <a:pt x="16101" y="10723"/>
                  <a:pt x="16219" y="11524"/>
                </a:cubicBezTo>
                <a:lnTo>
                  <a:pt x="16274" y="11889"/>
                </a:lnTo>
                <a:cubicBezTo>
                  <a:pt x="16130" y="11088"/>
                  <a:pt x="15894" y="10604"/>
                  <a:pt x="15643" y="10604"/>
                </a:cubicBezTo>
                <a:lnTo>
                  <a:pt x="15300" y="10604"/>
                </a:lnTo>
                <a:cubicBezTo>
                  <a:pt x="15063" y="10604"/>
                  <a:pt x="14841" y="10107"/>
                  <a:pt x="14723" y="9306"/>
                </a:cubicBezTo>
                <a:lnTo>
                  <a:pt x="14669" y="8941"/>
                </a:lnTo>
                <a:close/>
                <a:moveTo>
                  <a:pt x="17812" y="19646"/>
                </a:moveTo>
                <a:cubicBezTo>
                  <a:pt x="17572" y="19646"/>
                  <a:pt x="17355" y="19162"/>
                  <a:pt x="17235" y="18348"/>
                </a:cubicBezTo>
                <a:lnTo>
                  <a:pt x="17182" y="17988"/>
                </a:lnTo>
                <a:cubicBezTo>
                  <a:pt x="17326" y="18793"/>
                  <a:pt x="17557" y="19268"/>
                  <a:pt x="17813" y="19268"/>
                </a:cubicBezTo>
                <a:cubicBezTo>
                  <a:pt x="18069" y="19268"/>
                  <a:pt x="18300" y="18793"/>
                  <a:pt x="18444" y="17988"/>
                </a:cubicBezTo>
                <a:lnTo>
                  <a:pt x="18391" y="18348"/>
                </a:lnTo>
                <a:cubicBezTo>
                  <a:pt x="18269" y="19162"/>
                  <a:pt x="18054" y="19646"/>
                  <a:pt x="17812" y="19646"/>
                </a:cubicBezTo>
                <a:close/>
                <a:moveTo>
                  <a:pt x="18443" y="18771"/>
                </a:moveTo>
                <a:lnTo>
                  <a:pt x="18390" y="19132"/>
                </a:lnTo>
                <a:cubicBezTo>
                  <a:pt x="18269" y="19946"/>
                  <a:pt x="18054" y="20430"/>
                  <a:pt x="17813" y="20430"/>
                </a:cubicBezTo>
                <a:cubicBezTo>
                  <a:pt x="17573" y="20430"/>
                  <a:pt x="17356" y="19946"/>
                  <a:pt x="17236" y="19132"/>
                </a:cubicBezTo>
                <a:lnTo>
                  <a:pt x="17183" y="18771"/>
                </a:lnTo>
                <a:cubicBezTo>
                  <a:pt x="17327" y="19576"/>
                  <a:pt x="17558" y="20051"/>
                  <a:pt x="17814" y="20051"/>
                </a:cubicBezTo>
                <a:cubicBezTo>
                  <a:pt x="18068" y="20051"/>
                  <a:pt x="18300" y="19576"/>
                  <a:pt x="18443" y="18771"/>
                </a:cubicBezTo>
                <a:close/>
                <a:moveTo>
                  <a:pt x="15301" y="9447"/>
                </a:moveTo>
                <a:lnTo>
                  <a:pt x="15644" y="9447"/>
                </a:lnTo>
                <a:cubicBezTo>
                  <a:pt x="15881" y="9447"/>
                  <a:pt x="16102" y="9944"/>
                  <a:pt x="16221" y="10745"/>
                </a:cubicBezTo>
                <a:lnTo>
                  <a:pt x="16275" y="11110"/>
                </a:lnTo>
                <a:cubicBezTo>
                  <a:pt x="16131" y="10309"/>
                  <a:pt x="15896" y="9825"/>
                  <a:pt x="15644" y="9825"/>
                </a:cubicBezTo>
                <a:lnTo>
                  <a:pt x="15301" y="9825"/>
                </a:lnTo>
                <a:cubicBezTo>
                  <a:pt x="15064" y="9825"/>
                  <a:pt x="14842" y="9328"/>
                  <a:pt x="14724" y="8527"/>
                </a:cubicBezTo>
                <a:lnTo>
                  <a:pt x="14670" y="8162"/>
                </a:lnTo>
                <a:cubicBezTo>
                  <a:pt x="14812" y="8959"/>
                  <a:pt x="15048" y="9447"/>
                  <a:pt x="15301" y="9447"/>
                </a:cubicBezTo>
                <a:close/>
                <a:moveTo>
                  <a:pt x="13132" y="400"/>
                </a:moveTo>
                <a:cubicBezTo>
                  <a:pt x="13373" y="400"/>
                  <a:pt x="13590" y="884"/>
                  <a:pt x="13709" y="1698"/>
                </a:cubicBezTo>
                <a:lnTo>
                  <a:pt x="13762" y="2059"/>
                </a:lnTo>
                <a:cubicBezTo>
                  <a:pt x="13619" y="1254"/>
                  <a:pt x="13388" y="779"/>
                  <a:pt x="13131" y="779"/>
                </a:cubicBezTo>
                <a:cubicBezTo>
                  <a:pt x="12875" y="779"/>
                  <a:pt x="12645" y="1254"/>
                  <a:pt x="12500" y="2059"/>
                </a:cubicBezTo>
                <a:lnTo>
                  <a:pt x="12553" y="1698"/>
                </a:lnTo>
                <a:cubicBezTo>
                  <a:pt x="12675" y="889"/>
                  <a:pt x="12891" y="400"/>
                  <a:pt x="13132" y="400"/>
                </a:cubicBezTo>
                <a:close/>
                <a:moveTo>
                  <a:pt x="10620" y="9447"/>
                </a:moveTo>
                <a:lnTo>
                  <a:pt x="10963" y="9447"/>
                </a:lnTo>
                <a:cubicBezTo>
                  <a:pt x="11215" y="9447"/>
                  <a:pt x="11452" y="8959"/>
                  <a:pt x="11594" y="8162"/>
                </a:cubicBezTo>
                <a:lnTo>
                  <a:pt x="11540" y="8527"/>
                </a:lnTo>
                <a:cubicBezTo>
                  <a:pt x="11421" y="9328"/>
                  <a:pt x="11200" y="9825"/>
                  <a:pt x="10963" y="9825"/>
                </a:cubicBezTo>
                <a:lnTo>
                  <a:pt x="10620" y="9825"/>
                </a:lnTo>
                <a:cubicBezTo>
                  <a:pt x="10368" y="9825"/>
                  <a:pt x="10131" y="10314"/>
                  <a:pt x="9989" y="11110"/>
                </a:cubicBezTo>
                <a:lnTo>
                  <a:pt x="10043" y="10745"/>
                </a:lnTo>
                <a:cubicBezTo>
                  <a:pt x="10162" y="9944"/>
                  <a:pt x="10383" y="9447"/>
                  <a:pt x="10620" y="9447"/>
                </a:cubicBezTo>
                <a:close/>
                <a:moveTo>
                  <a:pt x="8452" y="18489"/>
                </a:moveTo>
                <a:cubicBezTo>
                  <a:pt x="8708" y="18489"/>
                  <a:pt x="8938" y="18014"/>
                  <a:pt x="9083" y="17209"/>
                </a:cubicBezTo>
                <a:lnTo>
                  <a:pt x="9030" y="17570"/>
                </a:lnTo>
                <a:cubicBezTo>
                  <a:pt x="8909" y="18384"/>
                  <a:pt x="8693" y="18868"/>
                  <a:pt x="8453" y="18868"/>
                </a:cubicBezTo>
                <a:cubicBezTo>
                  <a:pt x="8212" y="18868"/>
                  <a:pt x="7996" y="18384"/>
                  <a:pt x="7876" y="17570"/>
                </a:cubicBezTo>
                <a:lnTo>
                  <a:pt x="7823" y="17209"/>
                </a:lnTo>
                <a:cubicBezTo>
                  <a:pt x="7965" y="18014"/>
                  <a:pt x="8197" y="18489"/>
                  <a:pt x="8452" y="18489"/>
                </a:cubicBezTo>
                <a:close/>
                <a:moveTo>
                  <a:pt x="5940" y="9447"/>
                </a:moveTo>
                <a:lnTo>
                  <a:pt x="6283" y="9447"/>
                </a:lnTo>
                <a:cubicBezTo>
                  <a:pt x="6521" y="9447"/>
                  <a:pt x="6742" y="9944"/>
                  <a:pt x="6860" y="10745"/>
                </a:cubicBezTo>
                <a:lnTo>
                  <a:pt x="6914" y="11110"/>
                </a:lnTo>
                <a:cubicBezTo>
                  <a:pt x="6771" y="10309"/>
                  <a:pt x="6535" y="9825"/>
                  <a:pt x="6283" y="9825"/>
                </a:cubicBezTo>
                <a:lnTo>
                  <a:pt x="5940" y="9825"/>
                </a:lnTo>
                <a:cubicBezTo>
                  <a:pt x="5703" y="9825"/>
                  <a:pt x="5482" y="9328"/>
                  <a:pt x="5364" y="8527"/>
                </a:cubicBezTo>
                <a:lnTo>
                  <a:pt x="5309" y="8162"/>
                </a:lnTo>
                <a:cubicBezTo>
                  <a:pt x="5452" y="8959"/>
                  <a:pt x="5688" y="9447"/>
                  <a:pt x="5940" y="9447"/>
                </a:cubicBezTo>
                <a:close/>
                <a:moveTo>
                  <a:pt x="3772" y="400"/>
                </a:moveTo>
                <a:cubicBezTo>
                  <a:pt x="4013" y="400"/>
                  <a:pt x="4229" y="884"/>
                  <a:pt x="4349" y="1698"/>
                </a:cubicBezTo>
                <a:lnTo>
                  <a:pt x="4402" y="2059"/>
                </a:lnTo>
                <a:cubicBezTo>
                  <a:pt x="4259" y="1254"/>
                  <a:pt x="4027" y="779"/>
                  <a:pt x="3771" y="779"/>
                </a:cubicBezTo>
                <a:cubicBezTo>
                  <a:pt x="3515" y="779"/>
                  <a:pt x="3285" y="1254"/>
                  <a:pt x="3140" y="2059"/>
                </a:cubicBezTo>
                <a:lnTo>
                  <a:pt x="3193" y="1698"/>
                </a:lnTo>
                <a:cubicBezTo>
                  <a:pt x="3315" y="889"/>
                  <a:pt x="3531" y="400"/>
                  <a:pt x="3772" y="400"/>
                </a:cubicBezTo>
                <a:close/>
                <a:moveTo>
                  <a:pt x="3772" y="3124"/>
                </a:moveTo>
                <a:cubicBezTo>
                  <a:pt x="3516" y="3124"/>
                  <a:pt x="3286" y="3599"/>
                  <a:pt x="3141" y="4404"/>
                </a:cubicBezTo>
                <a:lnTo>
                  <a:pt x="3194" y="4044"/>
                </a:lnTo>
                <a:cubicBezTo>
                  <a:pt x="3315" y="3230"/>
                  <a:pt x="3531" y="2746"/>
                  <a:pt x="3771" y="2746"/>
                </a:cubicBezTo>
                <a:cubicBezTo>
                  <a:pt x="4011" y="2746"/>
                  <a:pt x="4228" y="3230"/>
                  <a:pt x="4348" y="4044"/>
                </a:cubicBezTo>
                <a:lnTo>
                  <a:pt x="4401" y="4404"/>
                </a:lnTo>
                <a:cubicBezTo>
                  <a:pt x="4259" y="3599"/>
                  <a:pt x="4027" y="3124"/>
                  <a:pt x="3772" y="3124"/>
                </a:cubicBezTo>
                <a:close/>
                <a:moveTo>
                  <a:pt x="6283" y="12166"/>
                </a:moveTo>
                <a:lnTo>
                  <a:pt x="5940" y="12166"/>
                </a:lnTo>
                <a:cubicBezTo>
                  <a:pt x="5703" y="12166"/>
                  <a:pt x="5482" y="11669"/>
                  <a:pt x="5364" y="10868"/>
                </a:cubicBezTo>
                <a:lnTo>
                  <a:pt x="5309" y="10503"/>
                </a:lnTo>
                <a:cubicBezTo>
                  <a:pt x="5453" y="11304"/>
                  <a:pt x="5689" y="11788"/>
                  <a:pt x="5940" y="11788"/>
                </a:cubicBezTo>
                <a:lnTo>
                  <a:pt x="6283" y="11788"/>
                </a:lnTo>
                <a:cubicBezTo>
                  <a:pt x="6521" y="11788"/>
                  <a:pt x="6742" y="12285"/>
                  <a:pt x="6860" y="13086"/>
                </a:cubicBezTo>
                <a:lnTo>
                  <a:pt x="6914" y="13451"/>
                </a:lnTo>
                <a:cubicBezTo>
                  <a:pt x="6772" y="12655"/>
                  <a:pt x="6536" y="12166"/>
                  <a:pt x="6283" y="12166"/>
                </a:cubicBezTo>
                <a:close/>
                <a:moveTo>
                  <a:pt x="8452" y="21208"/>
                </a:moveTo>
                <a:cubicBezTo>
                  <a:pt x="8211" y="21208"/>
                  <a:pt x="7995" y="20724"/>
                  <a:pt x="7875" y="19910"/>
                </a:cubicBezTo>
                <a:lnTo>
                  <a:pt x="7822" y="19550"/>
                </a:lnTo>
                <a:cubicBezTo>
                  <a:pt x="7965" y="20355"/>
                  <a:pt x="8197" y="20830"/>
                  <a:pt x="8453" y="20830"/>
                </a:cubicBezTo>
                <a:cubicBezTo>
                  <a:pt x="8709" y="20830"/>
                  <a:pt x="8939" y="20355"/>
                  <a:pt x="9084" y="19550"/>
                </a:cubicBezTo>
                <a:lnTo>
                  <a:pt x="9031" y="19910"/>
                </a:lnTo>
                <a:cubicBezTo>
                  <a:pt x="8909" y="20724"/>
                  <a:pt x="8693" y="21208"/>
                  <a:pt x="8452" y="21208"/>
                </a:cubicBezTo>
                <a:close/>
                <a:moveTo>
                  <a:pt x="10964" y="12166"/>
                </a:moveTo>
                <a:lnTo>
                  <a:pt x="10621" y="12166"/>
                </a:lnTo>
                <a:cubicBezTo>
                  <a:pt x="10369" y="12166"/>
                  <a:pt x="10132" y="12655"/>
                  <a:pt x="9990" y="13451"/>
                </a:cubicBezTo>
                <a:lnTo>
                  <a:pt x="10044" y="13086"/>
                </a:lnTo>
                <a:cubicBezTo>
                  <a:pt x="10163" y="12285"/>
                  <a:pt x="10384" y="11788"/>
                  <a:pt x="10621" y="11788"/>
                </a:cubicBezTo>
                <a:lnTo>
                  <a:pt x="10964" y="11788"/>
                </a:lnTo>
                <a:cubicBezTo>
                  <a:pt x="11216" y="11788"/>
                  <a:pt x="11453" y="11299"/>
                  <a:pt x="11595" y="10503"/>
                </a:cubicBezTo>
                <a:lnTo>
                  <a:pt x="11541" y="10868"/>
                </a:lnTo>
                <a:cubicBezTo>
                  <a:pt x="11422" y="11669"/>
                  <a:pt x="11201" y="12166"/>
                  <a:pt x="10964" y="12166"/>
                </a:cubicBezTo>
                <a:close/>
                <a:moveTo>
                  <a:pt x="13132" y="3124"/>
                </a:moveTo>
                <a:cubicBezTo>
                  <a:pt x="12876" y="3124"/>
                  <a:pt x="12646" y="3599"/>
                  <a:pt x="12502" y="4404"/>
                </a:cubicBezTo>
                <a:lnTo>
                  <a:pt x="12555" y="4044"/>
                </a:lnTo>
                <a:cubicBezTo>
                  <a:pt x="12675" y="3230"/>
                  <a:pt x="12891" y="2746"/>
                  <a:pt x="13131" y="2746"/>
                </a:cubicBezTo>
                <a:cubicBezTo>
                  <a:pt x="13372" y="2746"/>
                  <a:pt x="13588" y="3230"/>
                  <a:pt x="13708" y="4044"/>
                </a:cubicBezTo>
                <a:lnTo>
                  <a:pt x="13761" y="4404"/>
                </a:lnTo>
                <a:cubicBezTo>
                  <a:pt x="13619" y="3599"/>
                  <a:pt x="13388" y="3124"/>
                  <a:pt x="13132" y="3124"/>
                </a:cubicBezTo>
                <a:close/>
                <a:moveTo>
                  <a:pt x="15644" y="12166"/>
                </a:moveTo>
                <a:lnTo>
                  <a:pt x="15301" y="12166"/>
                </a:lnTo>
                <a:cubicBezTo>
                  <a:pt x="15064" y="12166"/>
                  <a:pt x="14842" y="11669"/>
                  <a:pt x="14724" y="10868"/>
                </a:cubicBezTo>
                <a:lnTo>
                  <a:pt x="14670" y="10503"/>
                </a:lnTo>
                <a:cubicBezTo>
                  <a:pt x="14813" y="11304"/>
                  <a:pt x="15049" y="11788"/>
                  <a:pt x="15301" y="11788"/>
                </a:cubicBezTo>
                <a:lnTo>
                  <a:pt x="15644" y="11788"/>
                </a:lnTo>
                <a:cubicBezTo>
                  <a:pt x="15881" y="11788"/>
                  <a:pt x="16102" y="12285"/>
                  <a:pt x="16221" y="13086"/>
                </a:cubicBezTo>
                <a:lnTo>
                  <a:pt x="16275" y="13451"/>
                </a:lnTo>
                <a:cubicBezTo>
                  <a:pt x="16133" y="12655"/>
                  <a:pt x="15897" y="12166"/>
                  <a:pt x="15644" y="12166"/>
                </a:cubicBezTo>
                <a:close/>
                <a:moveTo>
                  <a:pt x="17812" y="21208"/>
                </a:moveTo>
                <a:cubicBezTo>
                  <a:pt x="17572" y="21208"/>
                  <a:pt x="17355" y="20724"/>
                  <a:pt x="17235" y="19910"/>
                </a:cubicBezTo>
                <a:lnTo>
                  <a:pt x="17182" y="19550"/>
                </a:lnTo>
                <a:cubicBezTo>
                  <a:pt x="17326" y="20355"/>
                  <a:pt x="17557" y="20830"/>
                  <a:pt x="17813" y="20830"/>
                </a:cubicBezTo>
                <a:cubicBezTo>
                  <a:pt x="18069" y="20830"/>
                  <a:pt x="18300" y="20355"/>
                  <a:pt x="18444" y="19550"/>
                </a:cubicBezTo>
                <a:lnTo>
                  <a:pt x="18391" y="19910"/>
                </a:lnTo>
                <a:cubicBezTo>
                  <a:pt x="18269" y="20724"/>
                  <a:pt x="18054" y="21208"/>
                  <a:pt x="17812" y="21208"/>
                </a:cubicBezTo>
                <a:close/>
              </a:path>
            </a:pathLst>
          </a:custGeom>
          <a:solidFill>
            <a:schemeClr val="bg1">
              <a:lumMod val="75000"/>
            </a:schemeClr>
          </a:solidFill>
          <a:ln w="12700">
            <a:miter lim="400000"/>
          </a:ln>
        </p:spPr>
        <p:txBody>
          <a:bodyPr lIns="28575" tIns="28575" rIns="28575" bIns="28575" anchor="ctr"/>
          <a:lstStyle/>
          <a:p>
            <a:pPr>
              <a:defRPr sz="3000">
                <a:solidFill>
                  <a:srgbClr val="FFFFFF"/>
                </a:solidFill>
              </a:defRPr>
            </a:pPr>
            <a:endParaRPr sz="2250"/>
          </a:p>
        </p:txBody>
      </p:sp>
      <p:sp>
        <p:nvSpPr>
          <p:cNvPr id="13" name="Shape">
            <a:extLst>
              <a:ext uri="{FF2B5EF4-FFF2-40B4-BE49-F238E27FC236}">
                <a16:creationId xmlns:a16="http://schemas.microsoft.com/office/drawing/2014/main" id="{3B905177-6F23-F2B0-0EFF-D7035448BF97}"/>
              </a:ext>
            </a:extLst>
          </p:cNvPr>
          <p:cNvSpPr/>
          <p:nvPr/>
        </p:nvSpPr>
        <p:spPr>
          <a:xfrm>
            <a:off x="2313829" y="2872401"/>
            <a:ext cx="1232180" cy="1113197"/>
          </a:xfrm>
          <a:custGeom>
            <a:avLst/>
            <a:gdLst/>
            <a:ahLst/>
            <a:cxnLst>
              <a:cxn ang="0">
                <a:pos x="wd2" y="hd2"/>
              </a:cxn>
              <a:cxn ang="5400000">
                <a:pos x="wd2" y="hd2"/>
              </a:cxn>
              <a:cxn ang="10800000">
                <a:pos x="wd2" y="hd2"/>
              </a:cxn>
              <a:cxn ang="16200000">
                <a:pos x="wd2" y="hd2"/>
              </a:cxn>
            </a:cxnLst>
            <a:rect l="0" t="0" r="r" b="b"/>
            <a:pathLst>
              <a:path w="20189" h="21055" extrusionOk="0">
                <a:moveTo>
                  <a:pt x="10106" y="21055"/>
                </a:moveTo>
                <a:lnTo>
                  <a:pt x="2833" y="21055"/>
                </a:lnTo>
                <a:cubicBezTo>
                  <a:pt x="656" y="21055"/>
                  <a:pt x="-706" y="18335"/>
                  <a:pt x="382" y="16166"/>
                </a:cubicBezTo>
                <a:lnTo>
                  <a:pt x="4015" y="8899"/>
                </a:lnTo>
                <a:lnTo>
                  <a:pt x="7647" y="1633"/>
                </a:lnTo>
                <a:cubicBezTo>
                  <a:pt x="8736" y="-545"/>
                  <a:pt x="11452" y="-545"/>
                  <a:pt x="12541" y="1633"/>
                </a:cubicBezTo>
                <a:lnTo>
                  <a:pt x="16173" y="8899"/>
                </a:lnTo>
                <a:lnTo>
                  <a:pt x="19806" y="16166"/>
                </a:lnTo>
                <a:cubicBezTo>
                  <a:pt x="20894" y="18344"/>
                  <a:pt x="19532" y="21055"/>
                  <a:pt x="17355" y="21055"/>
                </a:cubicBezTo>
                <a:lnTo>
                  <a:pt x="10106" y="21055"/>
                </a:lnTo>
                <a:close/>
              </a:path>
            </a:pathLst>
          </a:custGeom>
          <a:solidFill>
            <a:schemeClr val="accent2"/>
          </a:solidFill>
          <a:ln w="12700">
            <a:miter lim="400000"/>
          </a:ln>
        </p:spPr>
        <p:txBody>
          <a:bodyPr lIns="28575" tIns="28575" rIns="28575" bIns="28575" anchor="ctr"/>
          <a:lstStyle/>
          <a:p>
            <a:pPr>
              <a:defRPr sz="3000">
                <a:solidFill>
                  <a:srgbClr val="FFFFFF"/>
                </a:solidFill>
              </a:defRPr>
            </a:pPr>
            <a:endParaRPr sz="2250"/>
          </a:p>
        </p:txBody>
      </p:sp>
      <p:pic>
        <p:nvPicPr>
          <p:cNvPr id="14" name="Graphic 13" descr="Rocket">
            <a:extLst>
              <a:ext uri="{FF2B5EF4-FFF2-40B4-BE49-F238E27FC236}">
                <a16:creationId xmlns:a16="http://schemas.microsoft.com/office/drawing/2014/main" id="{0B3A0B0D-102D-8506-4AED-AC540B1DB7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25845" y="3234877"/>
            <a:ext cx="608147" cy="608147"/>
          </a:xfrm>
          <a:prstGeom prst="rect">
            <a:avLst/>
          </a:prstGeom>
        </p:spPr>
      </p:pic>
      <p:sp>
        <p:nvSpPr>
          <p:cNvPr id="15" name="Shape">
            <a:extLst>
              <a:ext uri="{FF2B5EF4-FFF2-40B4-BE49-F238E27FC236}">
                <a16:creationId xmlns:a16="http://schemas.microsoft.com/office/drawing/2014/main" id="{AE901A9F-DE6F-5999-79CB-FB35F188A100}"/>
              </a:ext>
            </a:extLst>
          </p:cNvPr>
          <p:cNvSpPr/>
          <p:nvPr/>
        </p:nvSpPr>
        <p:spPr>
          <a:xfrm>
            <a:off x="4244294" y="2872401"/>
            <a:ext cx="1232180" cy="1113197"/>
          </a:xfrm>
          <a:custGeom>
            <a:avLst/>
            <a:gdLst/>
            <a:ahLst/>
            <a:cxnLst>
              <a:cxn ang="0">
                <a:pos x="wd2" y="hd2"/>
              </a:cxn>
              <a:cxn ang="5400000">
                <a:pos x="wd2" y="hd2"/>
              </a:cxn>
              <a:cxn ang="10800000">
                <a:pos x="wd2" y="hd2"/>
              </a:cxn>
              <a:cxn ang="16200000">
                <a:pos x="wd2" y="hd2"/>
              </a:cxn>
            </a:cxnLst>
            <a:rect l="0" t="0" r="r" b="b"/>
            <a:pathLst>
              <a:path w="20189" h="21055" extrusionOk="0">
                <a:moveTo>
                  <a:pt x="10082" y="0"/>
                </a:moveTo>
                <a:lnTo>
                  <a:pt x="17355" y="0"/>
                </a:lnTo>
                <a:cubicBezTo>
                  <a:pt x="19532" y="0"/>
                  <a:pt x="20894" y="2720"/>
                  <a:pt x="19806" y="4889"/>
                </a:cubicBezTo>
                <a:lnTo>
                  <a:pt x="16173" y="12156"/>
                </a:lnTo>
                <a:lnTo>
                  <a:pt x="12541" y="19422"/>
                </a:lnTo>
                <a:cubicBezTo>
                  <a:pt x="11452" y="21600"/>
                  <a:pt x="8736" y="21600"/>
                  <a:pt x="7647" y="19422"/>
                </a:cubicBezTo>
                <a:lnTo>
                  <a:pt x="4015" y="12156"/>
                </a:lnTo>
                <a:lnTo>
                  <a:pt x="382" y="4889"/>
                </a:lnTo>
                <a:cubicBezTo>
                  <a:pt x="-706" y="2711"/>
                  <a:pt x="656" y="0"/>
                  <a:pt x="2833" y="0"/>
                </a:cubicBezTo>
                <a:lnTo>
                  <a:pt x="10082" y="0"/>
                </a:lnTo>
                <a:close/>
              </a:path>
            </a:pathLst>
          </a:custGeom>
          <a:solidFill>
            <a:schemeClr val="accent6"/>
          </a:solidFill>
          <a:ln w="12700">
            <a:miter lim="400000"/>
          </a:ln>
        </p:spPr>
        <p:txBody>
          <a:bodyPr lIns="28575" tIns="28575" rIns="28575" bIns="28575" anchor="ctr"/>
          <a:lstStyle/>
          <a:p>
            <a:pPr>
              <a:defRPr sz="3000">
                <a:solidFill>
                  <a:srgbClr val="FFFFFF"/>
                </a:solidFill>
              </a:defRPr>
            </a:pPr>
            <a:endParaRPr sz="2250"/>
          </a:p>
        </p:txBody>
      </p:sp>
      <p:pic>
        <p:nvPicPr>
          <p:cNvPr id="16" name="Graphic 15" descr="Users">
            <a:extLst>
              <a:ext uri="{FF2B5EF4-FFF2-40B4-BE49-F238E27FC236}">
                <a16:creationId xmlns:a16="http://schemas.microsoft.com/office/drawing/2014/main" id="{B0768BAE-3D4B-4CC4-6BFE-20EE863377D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56310" y="3014100"/>
            <a:ext cx="608147" cy="608147"/>
          </a:xfrm>
          <a:prstGeom prst="rect">
            <a:avLst/>
          </a:prstGeom>
        </p:spPr>
      </p:pic>
      <p:sp>
        <p:nvSpPr>
          <p:cNvPr id="17" name="Shape">
            <a:extLst>
              <a:ext uri="{FF2B5EF4-FFF2-40B4-BE49-F238E27FC236}">
                <a16:creationId xmlns:a16="http://schemas.microsoft.com/office/drawing/2014/main" id="{F75A044B-F720-5F19-7EDA-105BF1B61C60}"/>
              </a:ext>
            </a:extLst>
          </p:cNvPr>
          <p:cNvSpPr/>
          <p:nvPr/>
        </p:nvSpPr>
        <p:spPr>
          <a:xfrm>
            <a:off x="6242494" y="2872401"/>
            <a:ext cx="1232180" cy="1113197"/>
          </a:xfrm>
          <a:custGeom>
            <a:avLst/>
            <a:gdLst/>
            <a:ahLst/>
            <a:cxnLst>
              <a:cxn ang="0">
                <a:pos x="wd2" y="hd2"/>
              </a:cxn>
              <a:cxn ang="5400000">
                <a:pos x="wd2" y="hd2"/>
              </a:cxn>
              <a:cxn ang="10800000">
                <a:pos x="wd2" y="hd2"/>
              </a:cxn>
              <a:cxn ang="16200000">
                <a:pos x="wd2" y="hd2"/>
              </a:cxn>
            </a:cxnLst>
            <a:rect l="0" t="0" r="r" b="b"/>
            <a:pathLst>
              <a:path w="20189" h="21055" extrusionOk="0">
                <a:moveTo>
                  <a:pt x="10106" y="21055"/>
                </a:moveTo>
                <a:lnTo>
                  <a:pt x="2833" y="21055"/>
                </a:lnTo>
                <a:cubicBezTo>
                  <a:pt x="656" y="21055"/>
                  <a:pt x="-706" y="18335"/>
                  <a:pt x="382" y="16166"/>
                </a:cubicBezTo>
                <a:lnTo>
                  <a:pt x="4015" y="8899"/>
                </a:lnTo>
                <a:lnTo>
                  <a:pt x="7647" y="1633"/>
                </a:lnTo>
                <a:cubicBezTo>
                  <a:pt x="8736" y="-545"/>
                  <a:pt x="11452" y="-545"/>
                  <a:pt x="12541" y="1633"/>
                </a:cubicBezTo>
                <a:lnTo>
                  <a:pt x="16173" y="8899"/>
                </a:lnTo>
                <a:lnTo>
                  <a:pt x="19806" y="16166"/>
                </a:lnTo>
                <a:cubicBezTo>
                  <a:pt x="20894" y="18344"/>
                  <a:pt x="19532" y="21055"/>
                  <a:pt x="17355" y="21055"/>
                </a:cubicBezTo>
                <a:lnTo>
                  <a:pt x="10106" y="21055"/>
                </a:lnTo>
                <a:close/>
              </a:path>
            </a:pathLst>
          </a:custGeom>
          <a:solidFill>
            <a:schemeClr val="accent3"/>
          </a:solidFill>
          <a:ln w="12700">
            <a:miter lim="400000"/>
          </a:ln>
        </p:spPr>
        <p:txBody>
          <a:bodyPr lIns="28575" tIns="28575" rIns="28575" bIns="28575" anchor="ctr"/>
          <a:lstStyle/>
          <a:p>
            <a:pPr>
              <a:defRPr sz="3000">
                <a:solidFill>
                  <a:srgbClr val="FFFFFF"/>
                </a:solidFill>
              </a:defRPr>
            </a:pPr>
            <a:endParaRPr sz="2250"/>
          </a:p>
        </p:txBody>
      </p:sp>
      <p:pic>
        <p:nvPicPr>
          <p:cNvPr id="18" name="Graphic 17" descr="Puzzle">
            <a:extLst>
              <a:ext uri="{FF2B5EF4-FFF2-40B4-BE49-F238E27FC236}">
                <a16:creationId xmlns:a16="http://schemas.microsoft.com/office/drawing/2014/main" id="{08A2A6BB-0EB0-FFD0-4A43-537735698D9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54510" y="3292161"/>
            <a:ext cx="608147" cy="608147"/>
          </a:xfrm>
          <a:prstGeom prst="rect">
            <a:avLst/>
          </a:prstGeom>
        </p:spPr>
      </p:pic>
      <p:pic>
        <p:nvPicPr>
          <p:cNvPr id="27" name="Picture 26">
            <a:extLst>
              <a:ext uri="{FF2B5EF4-FFF2-40B4-BE49-F238E27FC236}">
                <a16:creationId xmlns:a16="http://schemas.microsoft.com/office/drawing/2014/main" id="{18F7C973-4FB6-CB53-AA14-6EA16AB4FC96}"/>
              </a:ext>
            </a:extLst>
          </p:cNvPr>
          <p:cNvPicPr>
            <a:picLocks noChangeAspect="1"/>
          </p:cNvPicPr>
          <p:nvPr/>
        </p:nvPicPr>
        <p:blipFill>
          <a:blip r:embed="rId8"/>
          <a:stretch>
            <a:fillRect/>
          </a:stretch>
        </p:blipFill>
        <p:spPr>
          <a:xfrm>
            <a:off x="8240694" y="2978069"/>
            <a:ext cx="1237595" cy="1121761"/>
          </a:xfrm>
          <a:prstGeom prst="rect">
            <a:avLst/>
          </a:prstGeom>
        </p:spPr>
      </p:pic>
      <p:sp>
        <p:nvSpPr>
          <p:cNvPr id="32" name="TextBox 31">
            <a:extLst>
              <a:ext uri="{FF2B5EF4-FFF2-40B4-BE49-F238E27FC236}">
                <a16:creationId xmlns:a16="http://schemas.microsoft.com/office/drawing/2014/main" id="{7D23463F-6089-AF9E-7EEC-BC6B4805BD30}"/>
              </a:ext>
            </a:extLst>
          </p:cNvPr>
          <p:cNvSpPr txBox="1"/>
          <p:nvPr/>
        </p:nvSpPr>
        <p:spPr>
          <a:xfrm>
            <a:off x="1832638" y="3943890"/>
            <a:ext cx="2194560" cy="523220"/>
          </a:xfrm>
          <a:prstGeom prst="rect">
            <a:avLst/>
          </a:prstGeom>
          <a:noFill/>
        </p:spPr>
        <p:txBody>
          <a:bodyPr wrap="square" lIns="0" rIns="0" rtlCol="0" anchor="b">
            <a:spAutoFit/>
          </a:bodyPr>
          <a:lstStyle/>
          <a:p>
            <a:pPr algn="ctr"/>
            <a:r>
              <a:rPr lang="en-US" sz="2800" b="1" noProof="1">
                <a:solidFill>
                  <a:srgbClr val="31D1FF"/>
                </a:solidFill>
                <a:latin typeface="Calibri" panose="020F0502020204030204"/>
              </a:rPr>
              <a:t>Scalablity</a:t>
            </a:r>
          </a:p>
        </p:txBody>
      </p:sp>
      <p:sp>
        <p:nvSpPr>
          <p:cNvPr id="33" name="TextBox 32">
            <a:extLst>
              <a:ext uri="{FF2B5EF4-FFF2-40B4-BE49-F238E27FC236}">
                <a16:creationId xmlns:a16="http://schemas.microsoft.com/office/drawing/2014/main" id="{9885A9B7-51A5-3C7B-D2E2-BCA06477A2D1}"/>
              </a:ext>
            </a:extLst>
          </p:cNvPr>
          <p:cNvSpPr txBox="1"/>
          <p:nvPr/>
        </p:nvSpPr>
        <p:spPr>
          <a:xfrm>
            <a:off x="3763103" y="1082054"/>
            <a:ext cx="2194560" cy="523220"/>
          </a:xfrm>
          <a:prstGeom prst="rect">
            <a:avLst/>
          </a:prstGeom>
          <a:noFill/>
        </p:spPr>
        <p:txBody>
          <a:bodyPr wrap="square" lIns="0" rIns="0" rtlCol="0" anchor="b">
            <a:spAutoFit/>
          </a:bodyPr>
          <a:lstStyle/>
          <a:p>
            <a:pPr algn="ctr"/>
            <a:r>
              <a:rPr lang="en-US" sz="2800" b="1" noProof="1">
                <a:solidFill>
                  <a:srgbClr val="FFB500"/>
                </a:solidFill>
                <a:latin typeface="Calibri" panose="020F0502020204030204"/>
              </a:rPr>
              <a:t>Resiliency</a:t>
            </a:r>
          </a:p>
        </p:txBody>
      </p:sp>
      <p:sp>
        <p:nvSpPr>
          <p:cNvPr id="34" name="TextBox 33">
            <a:extLst>
              <a:ext uri="{FF2B5EF4-FFF2-40B4-BE49-F238E27FC236}">
                <a16:creationId xmlns:a16="http://schemas.microsoft.com/office/drawing/2014/main" id="{1EE4B91F-1323-A131-205D-2C9E6AF2AF75}"/>
              </a:ext>
            </a:extLst>
          </p:cNvPr>
          <p:cNvSpPr txBox="1"/>
          <p:nvPr/>
        </p:nvSpPr>
        <p:spPr>
          <a:xfrm>
            <a:off x="5761303" y="3943890"/>
            <a:ext cx="2194560" cy="523220"/>
          </a:xfrm>
          <a:prstGeom prst="rect">
            <a:avLst/>
          </a:prstGeom>
          <a:noFill/>
        </p:spPr>
        <p:txBody>
          <a:bodyPr wrap="square" lIns="0" rIns="0" rtlCol="0" anchor="b">
            <a:spAutoFit/>
          </a:bodyPr>
          <a:lstStyle/>
          <a:p>
            <a:pPr algn="ctr"/>
            <a:r>
              <a:rPr lang="en-US" sz="2800" b="1" noProof="1">
                <a:solidFill>
                  <a:srgbClr val="EF5F17"/>
                </a:solidFill>
                <a:latin typeface="Calibri" panose="020F0502020204030204"/>
              </a:rPr>
              <a:t>Costing</a:t>
            </a:r>
          </a:p>
        </p:txBody>
      </p:sp>
      <p:sp>
        <p:nvSpPr>
          <p:cNvPr id="35" name="TextBox 34">
            <a:extLst>
              <a:ext uri="{FF2B5EF4-FFF2-40B4-BE49-F238E27FC236}">
                <a16:creationId xmlns:a16="http://schemas.microsoft.com/office/drawing/2014/main" id="{00178711-6713-2A02-1F62-4C28EF27CFFF}"/>
              </a:ext>
            </a:extLst>
          </p:cNvPr>
          <p:cNvSpPr txBox="1"/>
          <p:nvPr/>
        </p:nvSpPr>
        <p:spPr>
          <a:xfrm>
            <a:off x="7762211" y="1079143"/>
            <a:ext cx="2194560" cy="523220"/>
          </a:xfrm>
          <a:prstGeom prst="rect">
            <a:avLst/>
          </a:prstGeom>
          <a:noFill/>
        </p:spPr>
        <p:txBody>
          <a:bodyPr wrap="square" lIns="0" rIns="0" rtlCol="0" anchor="b">
            <a:spAutoFit/>
          </a:bodyPr>
          <a:lstStyle/>
          <a:p>
            <a:pPr algn="ctr"/>
            <a:r>
              <a:rPr lang="en-US" sz="2800" b="1" noProof="1">
                <a:solidFill>
                  <a:srgbClr val="C13018"/>
                </a:solidFill>
                <a:latin typeface="Calibri" panose="020F0502020204030204"/>
              </a:rPr>
              <a:t>Security</a:t>
            </a:r>
          </a:p>
        </p:txBody>
      </p:sp>
      <p:sp>
        <p:nvSpPr>
          <p:cNvPr id="36" name="TextBox 35">
            <a:extLst>
              <a:ext uri="{FF2B5EF4-FFF2-40B4-BE49-F238E27FC236}">
                <a16:creationId xmlns:a16="http://schemas.microsoft.com/office/drawing/2014/main" id="{E08CDD58-A8DA-245A-56ED-47605C45D96A}"/>
              </a:ext>
            </a:extLst>
          </p:cNvPr>
          <p:cNvSpPr txBox="1"/>
          <p:nvPr/>
        </p:nvSpPr>
        <p:spPr>
          <a:xfrm>
            <a:off x="1558318" y="4491320"/>
            <a:ext cx="2743200" cy="169277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b="1">
                <a:solidFill>
                  <a:srgbClr val="444444"/>
                </a:solidFill>
                <a:latin typeface="Calibri"/>
                <a:cs typeface="Arial"/>
              </a:rPr>
              <a:t>Auto-scaling </a:t>
            </a:r>
            <a:r>
              <a:rPr lang="en-US" sz="1100">
                <a:solidFill>
                  <a:srgbClr val="444444"/>
                </a:solidFill>
                <a:latin typeface="Calibri"/>
                <a:cs typeface="Arial"/>
              </a:rPr>
              <a:t>in Azure Data Explorer (ADX) and Azure Machine Learning ensures your system can </a:t>
            </a:r>
            <a:r>
              <a:rPr lang="en-US" sz="1100" b="1">
                <a:solidFill>
                  <a:srgbClr val="444444"/>
                </a:solidFill>
                <a:latin typeface="Calibri"/>
                <a:cs typeface="Arial"/>
              </a:rPr>
              <a:t>handle increased log volume </a:t>
            </a:r>
            <a:r>
              <a:rPr lang="en-US" sz="1100">
                <a:solidFill>
                  <a:srgbClr val="444444"/>
                </a:solidFill>
                <a:latin typeface="Calibri"/>
                <a:cs typeface="Arial"/>
              </a:rPr>
              <a:t>without manual intervention.</a:t>
            </a:r>
          </a:p>
          <a:p>
            <a:pPr marL="228600" lvl="1" indent="-228600">
              <a:buFont typeface=""/>
              <a:buChar char="•"/>
            </a:pPr>
            <a:r>
              <a:rPr lang="en-US" sz="1100" b="1">
                <a:solidFill>
                  <a:srgbClr val="444444"/>
                </a:solidFill>
                <a:latin typeface="Calibri"/>
                <a:cs typeface="Arial"/>
              </a:rPr>
              <a:t>Distributed architecture </a:t>
            </a:r>
            <a:r>
              <a:rPr lang="en-US" sz="1100">
                <a:solidFill>
                  <a:srgbClr val="444444"/>
                </a:solidFill>
                <a:latin typeface="Calibri"/>
                <a:cs typeface="Arial"/>
              </a:rPr>
              <a:t>for both ingestion and analytics, enabling </a:t>
            </a:r>
            <a:r>
              <a:rPr lang="en-US" sz="1100" b="1">
                <a:solidFill>
                  <a:srgbClr val="444444"/>
                </a:solidFill>
                <a:latin typeface="Calibri"/>
                <a:cs typeface="Arial"/>
              </a:rPr>
              <a:t>horizontal scaling </a:t>
            </a:r>
            <a:r>
              <a:rPr lang="en-US" sz="1100">
                <a:solidFill>
                  <a:srgbClr val="444444"/>
                </a:solidFill>
                <a:latin typeface="Calibri"/>
                <a:cs typeface="Arial"/>
              </a:rPr>
              <a:t>across services.</a:t>
            </a:r>
          </a:p>
          <a:p>
            <a:pPr marL="228600" lvl="1" indent="-228600">
              <a:buFont typeface=""/>
              <a:buChar char="•"/>
            </a:pPr>
            <a:r>
              <a:rPr lang="en-US" sz="1100" b="1">
                <a:solidFill>
                  <a:srgbClr val="444444"/>
                </a:solidFill>
                <a:latin typeface="Calibri"/>
                <a:cs typeface="Arial"/>
              </a:rPr>
              <a:t>Global deployment </a:t>
            </a:r>
            <a:r>
              <a:rPr lang="en-US" sz="1100">
                <a:solidFill>
                  <a:srgbClr val="444444"/>
                </a:solidFill>
                <a:latin typeface="Calibri"/>
                <a:cs typeface="Arial"/>
              </a:rPr>
              <a:t>across regions with </a:t>
            </a:r>
            <a:r>
              <a:rPr lang="en-US" sz="1100" b="1">
                <a:solidFill>
                  <a:srgbClr val="444444"/>
                </a:solidFill>
                <a:latin typeface="Calibri"/>
                <a:cs typeface="Arial"/>
              </a:rPr>
              <a:t>Azure AI Service</a:t>
            </a:r>
            <a:r>
              <a:rPr lang="en-US" sz="1100">
                <a:solidFill>
                  <a:srgbClr val="444444"/>
                </a:solidFill>
                <a:latin typeface="Calibri"/>
                <a:cs typeface="Arial"/>
              </a:rPr>
              <a:t>, allowing for </a:t>
            </a:r>
            <a:r>
              <a:rPr lang="en-US" sz="1100" b="1">
                <a:solidFill>
                  <a:srgbClr val="444444"/>
                </a:solidFill>
                <a:latin typeface="Calibri"/>
                <a:cs typeface="Arial"/>
              </a:rPr>
              <a:t>scaling user requests and AI-driven processing.</a:t>
            </a:r>
          </a:p>
        </p:txBody>
      </p:sp>
      <p:sp>
        <p:nvSpPr>
          <p:cNvPr id="37" name="TextBox 36">
            <a:extLst>
              <a:ext uri="{FF2B5EF4-FFF2-40B4-BE49-F238E27FC236}">
                <a16:creationId xmlns:a16="http://schemas.microsoft.com/office/drawing/2014/main" id="{61537DE9-4FF3-A66F-6B16-F8967C6FADFF}"/>
              </a:ext>
            </a:extLst>
          </p:cNvPr>
          <p:cNvSpPr txBox="1"/>
          <p:nvPr/>
        </p:nvSpPr>
        <p:spPr>
          <a:xfrm>
            <a:off x="3451963" y="1575546"/>
            <a:ext cx="2816839" cy="101566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b="1">
                <a:solidFill>
                  <a:srgbClr val="444444"/>
                </a:solidFill>
                <a:latin typeface="Calibri"/>
                <a:cs typeface="Arial"/>
              </a:rPr>
              <a:t>Built-in fault tolerance </a:t>
            </a:r>
            <a:r>
              <a:rPr lang="en-US" sz="1100">
                <a:solidFill>
                  <a:srgbClr val="444444"/>
                </a:solidFill>
                <a:latin typeface="Calibri"/>
                <a:cs typeface="Arial"/>
              </a:rPr>
              <a:t>across all Azure services with </a:t>
            </a:r>
            <a:r>
              <a:rPr lang="en-US" sz="1100" b="1">
                <a:solidFill>
                  <a:srgbClr val="444444"/>
                </a:solidFill>
                <a:latin typeface="Calibri"/>
                <a:cs typeface="Arial"/>
              </a:rPr>
              <a:t>high availability </a:t>
            </a:r>
            <a:r>
              <a:rPr lang="en-US" sz="1100">
                <a:solidFill>
                  <a:srgbClr val="444444"/>
                </a:solidFill>
                <a:latin typeface="Calibri"/>
                <a:cs typeface="Arial"/>
              </a:rPr>
              <a:t>(HA) zones and </a:t>
            </a:r>
            <a:r>
              <a:rPr lang="en-US" sz="1100" b="1">
                <a:solidFill>
                  <a:srgbClr val="444444"/>
                </a:solidFill>
                <a:latin typeface="Calibri"/>
                <a:cs typeface="Arial"/>
              </a:rPr>
              <a:t>redundancy</a:t>
            </a:r>
            <a:r>
              <a:rPr lang="en-US" sz="1100">
                <a:solidFill>
                  <a:srgbClr val="444444"/>
                </a:solidFill>
                <a:latin typeface="Calibri"/>
                <a:cs typeface="Arial"/>
              </a:rPr>
              <a:t> (ADX, Azure ML, AI Service).</a:t>
            </a:r>
          </a:p>
          <a:p>
            <a:pPr marL="228600" lvl="1" indent="-228600">
              <a:buFont typeface=""/>
              <a:buChar char="•"/>
            </a:pPr>
            <a:r>
              <a:rPr lang="en-US" sz="1100" b="1">
                <a:solidFill>
                  <a:srgbClr val="444444"/>
                </a:solidFill>
                <a:latin typeface="Calibri"/>
                <a:cs typeface="Arial"/>
              </a:rPr>
              <a:t>Disaster Recovery </a:t>
            </a:r>
            <a:r>
              <a:rPr lang="en-US" sz="1100">
                <a:solidFill>
                  <a:srgbClr val="444444"/>
                </a:solidFill>
                <a:latin typeface="Calibri"/>
                <a:cs typeface="Arial"/>
              </a:rPr>
              <a:t>options with </a:t>
            </a:r>
            <a:r>
              <a:rPr lang="en-US" sz="1100" b="1">
                <a:solidFill>
                  <a:srgbClr val="444444"/>
                </a:solidFill>
                <a:latin typeface="Calibri"/>
                <a:cs typeface="Arial"/>
              </a:rPr>
              <a:t>geo-replication</a:t>
            </a:r>
            <a:r>
              <a:rPr lang="en-US" sz="1100">
                <a:solidFill>
                  <a:srgbClr val="444444"/>
                </a:solidFill>
                <a:latin typeface="Calibri"/>
                <a:cs typeface="Arial"/>
              </a:rPr>
              <a:t> and </a:t>
            </a:r>
            <a:r>
              <a:rPr lang="en-US" sz="1100" b="1">
                <a:solidFill>
                  <a:srgbClr val="444444"/>
                </a:solidFill>
                <a:latin typeface="Calibri"/>
                <a:cs typeface="Arial"/>
              </a:rPr>
              <a:t>automated</a:t>
            </a:r>
            <a:r>
              <a:rPr lang="en-US" sz="1100">
                <a:solidFill>
                  <a:srgbClr val="444444"/>
                </a:solidFill>
                <a:latin typeface="Calibri"/>
                <a:cs typeface="Arial"/>
              </a:rPr>
              <a:t> </a:t>
            </a:r>
            <a:r>
              <a:rPr lang="en-US" sz="1100" b="1">
                <a:solidFill>
                  <a:srgbClr val="444444"/>
                </a:solidFill>
                <a:latin typeface="Calibri"/>
                <a:cs typeface="Arial"/>
              </a:rPr>
              <a:t>failover</a:t>
            </a:r>
            <a:r>
              <a:rPr lang="en-US" sz="1100">
                <a:solidFill>
                  <a:srgbClr val="444444"/>
                </a:solidFill>
                <a:latin typeface="Calibri"/>
                <a:cs typeface="Arial"/>
              </a:rPr>
              <a:t> in case of regional outages.</a:t>
            </a:r>
          </a:p>
        </p:txBody>
      </p:sp>
      <p:sp>
        <p:nvSpPr>
          <p:cNvPr id="38" name="TextBox 37">
            <a:extLst>
              <a:ext uri="{FF2B5EF4-FFF2-40B4-BE49-F238E27FC236}">
                <a16:creationId xmlns:a16="http://schemas.microsoft.com/office/drawing/2014/main" id="{C46BD7D4-6766-AE54-D43D-2BA7BBF82810}"/>
              </a:ext>
            </a:extLst>
          </p:cNvPr>
          <p:cNvSpPr txBox="1"/>
          <p:nvPr/>
        </p:nvSpPr>
        <p:spPr>
          <a:xfrm>
            <a:off x="7451071" y="1575546"/>
            <a:ext cx="2816839" cy="101566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b="1">
                <a:solidFill>
                  <a:srgbClr val="444444"/>
                </a:solidFill>
                <a:latin typeface="Calibri"/>
                <a:cs typeface="Arial"/>
              </a:rPr>
              <a:t>Azure Active Directory (AAD)</a:t>
            </a:r>
            <a:r>
              <a:rPr lang="en-US" sz="1100">
                <a:solidFill>
                  <a:srgbClr val="444444"/>
                </a:solidFill>
                <a:latin typeface="Calibri"/>
                <a:cs typeface="Arial"/>
              </a:rPr>
              <a:t> integration for </a:t>
            </a:r>
            <a:r>
              <a:rPr lang="en-US" sz="1100" b="1">
                <a:solidFill>
                  <a:srgbClr val="444444"/>
                </a:solidFill>
                <a:latin typeface="Calibri"/>
                <a:cs typeface="Arial"/>
              </a:rPr>
              <a:t>role-based access control </a:t>
            </a:r>
            <a:r>
              <a:rPr lang="en-US" sz="1100">
                <a:solidFill>
                  <a:srgbClr val="444444"/>
                </a:solidFill>
                <a:latin typeface="Calibri"/>
                <a:cs typeface="Arial"/>
              </a:rPr>
              <a:t>(RBAC) </a:t>
            </a:r>
            <a:r>
              <a:rPr lang="en-US" sz="1100" b="1">
                <a:solidFill>
                  <a:srgbClr val="444444"/>
                </a:solidFill>
                <a:latin typeface="Calibri"/>
                <a:cs typeface="Arial"/>
              </a:rPr>
              <a:t>to secure access</a:t>
            </a:r>
            <a:r>
              <a:rPr lang="en-US" sz="1100">
                <a:solidFill>
                  <a:srgbClr val="444444"/>
                </a:solidFill>
                <a:latin typeface="Calibri"/>
                <a:cs typeface="Arial"/>
              </a:rPr>
              <a:t> to data and logs.</a:t>
            </a:r>
          </a:p>
          <a:p>
            <a:pPr marL="228600" lvl="1" indent="-228600">
              <a:buFont typeface=""/>
              <a:buChar char="•"/>
            </a:pPr>
            <a:r>
              <a:rPr lang="en-US" sz="1100" b="1">
                <a:solidFill>
                  <a:srgbClr val="444444"/>
                </a:solidFill>
                <a:latin typeface="Calibri"/>
                <a:cs typeface="Arial"/>
              </a:rPr>
              <a:t>Data encryption</a:t>
            </a:r>
            <a:r>
              <a:rPr lang="en-US" sz="1100">
                <a:solidFill>
                  <a:srgbClr val="444444"/>
                </a:solidFill>
                <a:latin typeface="Calibri"/>
                <a:cs typeface="Arial"/>
              </a:rPr>
              <a:t> at rest and in transit, ensuring </a:t>
            </a:r>
            <a:r>
              <a:rPr lang="en-US" sz="1100" b="1">
                <a:solidFill>
                  <a:srgbClr val="444444"/>
                </a:solidFill>
                <a:latin typeface="Calibri"/>
                <a:cs typeface="Arial"/>
              </a:rPr>
              <a:t>secure log storage and transmission</a:t>
            </a:r>
            <a:r>
              <a:rPr lang="en-US" sz="1100">
                <a:solidFill>
                  <a:srgbClr val="444444"/>
                </a:solidFill>
                <a:latin typeface="Calibri"/>
                <a:cs typeface="Arial"/>
              </a:rPr>
              <a:t>.</a:t>
            </a:r>
          </a:p>
        </p:txBody>
      </p:sp>
      <p:sp>
        <p:nvSpPr>
          <p:cNvPr id="39" name="TextBox 38">
            <a:extLst>
              <a:ext uri="{FF2B5EF4-FFF2-40B4-BE49-F238E27FC236}">
                <a16:creationId xmlns:a16="http://schemas.microsoft.com/office/drawing/2014/main" id="{09FB33AE-619C-9D77-7121-7451D7231660}"/>
              </a:ext>
            </a:extLst>
          </p:cNvPr>
          <p:cNvSpPr txBox="1"/>
          <p:nvPr/>
        </p:nvSpPr>
        <p:spPr>
          <a:xfrm>
            <a:off x="5486983" y="4496246"/>
            <a:ext cx="2743200" cy="135421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b="1">
                <a:solidFill>
                  <a:srgbClr val="444444"/>
                </a:solidFill>
                <a:latin typeface="Calibri"/>
                <a:cs typeface="Arial"/>
              </a:rPr>
              <a:t>Auto-scaling reduces cost overhead</a:t>
            </a:r>
            <a:r>
              <a:rPr lang="en-US" sz="1100">
                <a:solidFill>
                  <a:srgbClr val="444444"/>
                </a:solidFill>
                <a:latin typeface="Calibri"/>
                <a:cs typeface="Arial"/>
              </a:rPr>
              <a:t>: Only pay for the resources used during peak times.</a:t>
            </a:r>
          </a:p>
          <a:p>
            <a:pPr marL="228600" lvl="1" indent="-228600">
              <a:buFont typeface=""/>
              <a:buChar char="•"/>
            </a:pPr>
            <a:r>
              <a:rPr lang="en-US" sz="1100" b="1">
                <a:solidFill>
                  <a:srgbClr val="444444"/>
                </a:solidFill>
                <a:latin typeface="Calibri"/>
                <a:cs typeface="Arial"/>
              </a:rPr>
              <a:t>Optimized storage in ADX </a:t>
            </a:r>
            <a:r>
              <a:rPr lang="en-US" sz="1100">
                <a:solidFill>
                  <a:srgbClr val="444444"/>
                </a:solidFill>
                <a:latin typeface="Calibri"/>
                <a:cs typeface="Arial"/>
              </a:rPr>
              <a:t>for large datasets with </a:t>
            </a:r>
            <a:r>
              <a:rPr lang="en-US" sz="1100" b="1">
                <a:solidFill>
                  <a:srgbClr val="444444"/>
                </a:solidFill>
                <a:latin typeface="Calibri"/>
                <a:cs typeface="Arial"/>
              </a:rPr>
              <a:t>tiered data storage</a:t>
            </a:r>
            <a:r>
              <a:rPr lang="en-US" sz="1100">
                <a:solidFill>
                  <a:srgbClr val="444444"/>
                </a:solidFill>
                <a:latin typeface="Calibri"/>
                <a:cs typeface="Arial"/>
              </a:rPr>
              <a:t> (hot, cold) based on usage.</a:t>
            </a:r>
          </a:p>
          <a:p>
            <a:pPr marL="228600" lvl="1" indent="-228600">
              <a:buFont typeface=""/>
              <a:buChar char="•"/>
            </a:pPr>
            <a:r>
              <a:rPr lang="en-US" sz="1100" b="1">
                <a:solidFill>
                  <a:srgbClr val="444444"/>
                </a:solidFill>
                <a:latin typeface="Calibri"/>
                <a:cs typeface="Arial"/>
              </a:rPr>
              <a:t>Reduces</a:t>
            </a:r>
            <a:r>
              <a:rPr lang="en-US" sz="1100">
                <a:solidFill>
                  <a:srgbClr val="444444"/>
                </a:solidFill>
                <a:latin typeface="Calibri"/>
                <a:cs typeface="Arial"/>
              </a:rPr>
              <a:t> </a:t>
            </a:r>
            <a:r>
              <a:rPr lang="en-US" sz="1100" b="1">
                <a:solidFill>
                  <a:srgbClr val="444444"/>
                </a:solidFill>
                <a:latin typeface="Calibri"/>
                <a:cs typeface="Arial"/>
              </a:rPr>
              <a:t>Manual</a:t>
            </a:r>
            <a:r>
              <a:rPr lang="en-US" sz="1100">
                <a:solidFill>
                  <a:srgbClr val="444444"/>
                </a:solidFill>
                <a:latin typeface="Calibri"/>
                <a:cs typeface="Arial"/>
              </a:rPr>
              <a:t> </a:t>
            </a:r>
            <a:r>
              <a:rPr lang="en-US" sz="1100" b="1">
                <a:solidFill>
                  <a:srgbClr val="444444"/>
                </a:solidFill>
                <a:latin typeface="Calibri"/>
                <a:cs typeface="Arial"/>
              </a:rPr>
              <a:t>effort</a:t>
            </a:r>
            <a:r>
              <a:rPr lang="en-US" sz="1100">
                <a:solidFill>
                  <a:srgbClr val="444444"/>
                </a:solidFill>
                <a:latin typeface="Calibri"/>
                <a:cs typeface="Arial"/>
              </a:rPr>
              <a:t> for root cause analysis</a:t>
            </a:r>
          </a:p>
        </p:txBody>
      </p:sp>
    </p:spTree>
    <p:extLst>
      <p:ext uri="{BB962C8B-B14F-4D97-AF65-F5344CB8AC3E}">
        <p14:creationId xmlns:p14="http://schemas.microsoft.com/office/powerpoint/2010/main" val="8176555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E5E2FABB-2FEC-9FDB-6547-5311DF1051C3}"/>
              </a:ext>
            </a:extLst>
          </p:cNvPr>
          <p:cNvSpPr txBox="1"/>
          <p:nvPr/>
        </p:nvSpPr>
        <p:spPr>
          <a:xfrm>
            <a:off x="439031" y="428625"/>
            <a:ext cx="10459464" cy="5621029"/>
          </a:xfrm>
          <a:prstGeom prst="rect">
            <a:avLst/>
          </a:prstGeom>
          <a:noFill/>
        </p:spPr>
        <p:txBody>
          <a:bodyPr wrap="square" lIns="0" tIns="45720" rIns="0" bIns="45720" rtlCol="0" anchor="t">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a:ln>
                  <a:noFill/>
                </a:ln>
                <a:solidFill>
                  <a:srgbClr val="2C6DF6"/>
                </a:solidFill>
                <a:effectLst/>
                <a:uLnTx/>
                <a:uFillTx/>
                <a:latin typeface="Arial" panose="020B0604020202020204"/>
                <a:ea typeface="+mn-ea"/>
                <a:cs typeface="+mn-cs"/>
              </a:rPr>
              <a:t>Mention about tools leveraged from training and tools that you have explored</a:t>
            </a:r>
            <a:endParaRPr lang="en-US" sz="1600" i="0" u="none" strike="noStrike" kern="1200" cap="none" spc="0" normalizeH="0" baseline="0" noProof="0">
              <a:ln>
                <a:noFill/>
              </a:ln>
              <a:solidFill>
                <a:srgbClr val="2C6DF6"/>
              </a:solidFill>
              <a:effectLst/>
              <a:uLnTx/>
              <a:uFillTx/>
              <a:latin typeface="Arial" panose="020B0604020202020204"/>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srgbClr val="2C6DF6"/>
                </a:solidFill>
                <a:latin typeface="Arial" panose="020B0604020202020204"/>
              </a:rPr>
              <a:t>Allocate time for each slide</a:t>
            </a:r>
            <a:endParaRPr lang="en-US" sz="1600">
              <a:solidFill>
                <a:srgbClr val="2C6DF6"/>
              </a:solidFill>
              <a:latin typeface="Arial" panose="020B0604020202020204"/>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a:ln>
                  <a:noFill/>
                </a:ln>
                <a:solidFill>
                  <a:srgbClr val="2C6DF6"/>
                </a:solidFill>
                <a:effectLst/>
                <a:uLnTx/>
                <a:uFillTx/>
                <a:latin typeface="Arial" panose="020B0604020202020204"/>
                <a:ea typeface="+mn-ea"/>
                <a:cs typeface="+mn-cs"/>
              </a:rPr>
              <a:t>Do all changes </a:t>
            </a:r>
            <a:r>
              <a:rPr lang="en-US" sz="1600">
                <a:solidFill>
                  <a:srgbClr val="2C6DF6"/>
                </a:solidFill>
                <a:latin typeface="Arial" panose="020B0604020202020204"/>
              </a:rPr>
              <a:t>discussed</a:t>
            </a:r>
            <a:endParaRPr lang="en-US" sz="1600">
              <a:solidFill>
                <a:srgbClr val="2C6DF6"/>
              </a:solidFill>
              <a:latin typeface="Arial" panose="020B0604020202020204"/>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a:ln>
                  <a:noFill/>
                </a:ln>
                <a:solidFill>
                  <a:srgbClr val="2C6DF6"/>
                </a:solidFill>
                <a:effectLst/>
                <a:uLnTx/>
                <a:uFillTx/>
                <a:latin typeface="Arial" panose="020B0604020202020204"/>
                <a:ea typeface="+mn-ea"/>
                <a:cs typeface="+mn-cs"/>
              </a:rPr>
              <a:t>Mention about k-means</a:t>
            </a:r>
            <a:endParaRPr lang="en-US" sz="1600" i="0" u="none" strike="noStrike" kern="1200" cap="none" spc="0" normalizeH="0" baseline="0" noProof="0">
              <a:ln>
                <a:noFill/>
              </a:ln>
              <a:solidFill>
                <a:srgbClr val="2C6DF6"/>
              </a:solidFill>
              <a:effectLst/>
              <a:uLnTx/>
              <a:uFillTx/>
              <a:latin typeface="Arial" panose="020B0604020202020204"/>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srgbClr val="2C6DF6"/>
                </a:solidFill>
                <a:latin typeface="Arial" panose="020B0604020202020204"/>
              </a:rPr>
              <a:t>Include in heading above graph – which use case is being solved in the </a:t>
            </a:r>
            <a:r>
              <a:rPr lang="en-US" sz="1600" err="1">
                <a:solidFill>
                  <a:srgbClr val="2C6DF6"/>
                </a:solidFill>
                <a:latin typeface="Arial" panose="020B0604020202020204"/>
              </a:rPr>
              <a:t>grap</a:t>
            </a:r>
            <a:endParaRPr lang="en-US" sz="1600">
              <a:solidFill>
                <a:srgbClr val="2C6DF6"/>
              </a:solidFill>
              <a:latin typeface="Arial"/>
              <a:cs typeface="Arial"/>
            </a:endParaRPr>
          </a:p>
          <a:p>
            <a:pPr marL="285750" indent="-285750" defTabSz="914400">
              <a:buFont typeface="Arial" panose="020B0604020202020204" pitchFamily="34" charset="0"/>
              <a:buChar char="•"/>
              <a:defRPr/>
            </a:pPr>
            <a:r>
              <a:rPr lang="en-US" sz="1600">
                <a:solidFill>
                  <a:srgbClr val="2C6DF6"/>
                </a:solidFill>
                <a:latin typeface="Arial"/>
                <a:cs typeface="Arial"/>
              </a:rPr>
              <a:t>Highlight key coding sections in different color</a:t>
            </a:r>
          </a:p>
          <a:p>
            <a:pPr marL="285750" indent="-285750" defTabSz="914400">
              <a:buFont typeface="Arial" panose="020B0604020202020204" pitchFamily="34" charset="0"/>
              <a:buChar char="•"/>
              <a:defRPr/>
            </a:pPr>
            <a:r>
              <a:rPr lang="en-US" sz="1600">
                <a:solidFill>
                  <a:srgbClr val="4775E7"/>
                </a:solidFill>
                <a:latin typeface="Verdana Pro"/>
              </a:rPr>
              <a:t>Our Thought Process, Implementation </a:t>
            </a:r>
            <a:r>
              <a:rPr lang="en-US" sz="1600">
                <a:solidFill>
                  <a:srgbClr val="2C6DF6"/>
                </a:solidFill>
                <a:latin typeface="Arial" panose="020B0604020202020204"/>
                <a:cs typeface="Arial"/>
              </a:rPr>
              <a:t> - remove content in top</a:t>
            </a:r>
            <a:endParaRPr lang="en-US" sz="1600" i="0" u="none" strike="noStrike" kern="1200" cap="none" spc="0" normalizeH="0" baseline="0" noProof="0">
              <a:ln>
                <a:noFill/>
              </a:ln>
              <a:solidFill>
                <a:srgbClr val="2C6DF6"/>
              </a:solidFill>
              <a:effectLst/>
              <a:uLnTx/>
              <a:uFillTx/>
              <a:latin typeface="Arial" panose="020B0604020202020204"/>
              <a:cs typeface="Arial"/>
            </a:endParaRPr>
          </a:p>
          <a:p>
            <a:pPr marL="342900" indent="-342900">
              <a:spcBef>
                <a:spcPct val="0"/>
              </a:spcBef>
              <a:spcAft>
                <a:spcPts val="450"/>
              </a:spcAft>
              <a:buFont typeface="Arial" panose="020B0604020202020204" pitchFamily="34" charset="0"/>
              <a:buChar char="•"/>
              <a:defRPr/>
            </a:pPr>
            <a:r>
              <a:rPr lang="en-US" sz="1600">
                <a:solidFill>
                  <a:srgbClr val="4775E7"/>
                </a:solidFill>
                <a:latin typeface="Arial" panose="020B0604020202020204"/>
              </a:rPr>
              <a:t>Change format of </a:t>
            </a:r>
            <a:r>
              <a:rPr lang="en-US" sz="1600" err="1">
                <a:solidFill>
                  <a:srgbClr val="4775E7"/>
                </a:solidFill>
                <a:latin typeface="Arial" panose="020B0604020202020204"/>
              </a:rPr>
              <a:t>roadahead</a:t>
            </a:r>
            <a:endParaRPr lang="en-US" sz="1600">
              <a:solidFill>
                <a:srgbClr val="4775E7"/>
              </a:solidFill>
              <a:latin typeface="Arial" panose="020B0604020202020204"/>
              <a:cs typeface="Arial" panose="020B0604020202020204"/>
            </a:endParaRPr>
          </a:p>
          <a:p>
            <a:pPr marL="342900" indent="-342900">
              <a:spcBef>
                <a:spcPct val="0"/>
              </a:spcBef>
              <a:spcAft>
                <a:spcPts val="450"/>
              </a:spcAft>
              <a:buFont typeface="Arial" panose="020B0604020202020204" pitchFamily="34" charset="0"/>
              <a:buChar char="•"/>
              <a:defRPr/>
            </a:pPr>
            <a:r>
              <a:rPr lang="en-US" sz="1600">
                <a:solidFill>
                  <a:srgbClr val="4775E7"/>
                </a:solidFill>
                <a:latin typeface="Arial" panose="020B0604020202020204"/>
                <a:cs typeface="Arial" panose="020B0604020202020204"/>
              </a:rPr>
              <a:t>Mention about cost as follows(indirectly help in following)</a:t>
            </a:r>
            <a:br>
              <a:rPr lang="en-US" sz="1600">
                <a:latin typeface="Arial" panose="020B0604020202020204"/>
                <a:cs typeface="Arial" panose="020B0604020202020204"/>
              </a:rPr>
            </a:br>
            <a:r>
              <a:rPr lang="en-US" sz="1600" err="1">
                <a:solidFill>
                  <a:srgbClr val="4775E7"/>
                </a:solidFill>
                <a:latin typeface="Arial" panose="020B0604020202020204"/>
                <a:cs typeface="Arial" panose="020B0604020202020204"/>
              </a:rPr>
              <a:t>a.Reduce</a:t>
            </a:r>
            <a:r>
              <a:rPr lang="en-US" sz="1600">
                <a:solidFill>
                  <a:srgbClr val="4775E7"/>
                </a:solidFill>
                <a:latin typeface="Arial" panose="020B0604020202020204"/>
                <a:cs typeface="Arial" panose="020B0604020202020204"/>
              </a:rPr>
              <a:t> manual efforts on log triage, troubleshooting</a:t>
            </a:r>
            <a:br>
              <a:rPr lang="en-US" sz="1600">
                <a:latin typeface="Arial" panose="020B0604020202020204"/>
                <a:cs typeface="Arial" panose="020B0604020202020204"/>
              </a:rPr>
            </a:br>
            <a:r>
              <a:rPr lang="en-US" sz="1600" err="1">
                <a:solidFill>
                  <a:srgbClr val="4775E7"/>
                </a:solidFill>
                <a:latin typeface="Arial" panose="020B0604020202020204"/>
                <a:cs typeface="Arial" panose="020B0604020202020204"/>
              </a:rPr>
              <a:t>b.Clustering</a:t>
            </a:r>
            <a:r>
              <a:rPr lang="en-US" sz="1600">
                <a:solidFill>
                  <a:srgbClr val="4775E7"/>
                </a:solidFill>
                <a:latin typeface="Arial" panose="020B0604020202020204"/>
                <a:cs typeface="Arial" panose="020B0604020202020204"/>
              </a:rPr>
              <a:t> can help to build </a:t>
            </a:r>
            <a:r>
              <a:rPr lang="en-US" sz="1600" err="1">
                <a:solidFill>
                  <a:srgbClr val="4775E7"/>
                </a:solidFill>
                <a:latin typeface="Arial" panose="020B0604020202020204"/>
                <a:cs typeface="Arial" panose="020B0604020202020204"/>
              </a:rPr>
              <a:t>Build</a:t>
            </a:r>
            <a:r>
              <a:rPr lang="en-US" sz="1600">
                <a:solidFill>
                  <a:srgbClr val="4775E7"/>
                </a:solidFill>
                <a:latin typeface="Arial" panose="020B0604020202020204"/>
                <a:cs typeface="Arial" panose="020B0604020202020204"/>
              </a:rPr>
              <a:t> repository with log analysis. This can be training data for </a:t>
            </a:r>
            <a:r>
              <a:rPr lang="en-US" sz="1600" err="1">
                <a:solidFill>
                  <a:srgbClr val="4775E7"/>
                </a:solidFill>
                <a:latin typeface="Arial" panose="020B0604020202020204"/>
                <a:cs typeface="Arial" panose="020B0604020202020204"/>
              </a:rPr>
              <a:t>GenAI</a:t>
            </a:r>
            <a:r>
              <a:rPr lang="en-US" sz="1600">
                <a:solidFill>
                  <a:srgbClr val="4775E7"/>
                </a:solidFill>
                <a:latin typeface="Arial" panose="020B0604020202020204"/>
                <a:cs typeface="Arial" panose="020B0604020202020204"/>
              </a:rPr>
              <a:t> </a:t>
            </a:r>
            <a:r>
              <a:rPr lang="en-US" sz="1600" err="1">
                <a:solidFill>
                  <a:srgbClr val="4775E7"/>
                </a:solidFill>
                <a:latin typeface="Arial" panose="020B0604020202020204"/>
                <a:cs typeface="Arial" panose="020B0604020202020204"/>
              </a:rPr>
              <a:t>usecases</a:t>
            </a:r>
            <a:br>
              <a:rPr lang="en-US" sz="1600">
                <a:latin typeface="Arial" panose="020B0604020202020204"/>
                <a:cs typeface="Arial" panose="020B0604020202020204"/>
              </a:rPr>
            </a:br>
            <a:r>
              <a:rPr lang="en-US" sz="1600">
                <a:solidFill>
                  <a:srgbClr val="4775E7"/>
                </a:solidFill>
                <a:latin typeface="Arial" panose="020B0604020202020204"/>
                <a:cs typeface="Arial" panose="020B0604020202020204"/>
              </a:rPr>
              <a:t>c. Actionable insights</a:t>
            </a:r>
          </a:p>
          <a:p>
            <a:pPr marL="342900" indent="-342900">
              <a:spcBef>
                <a:spcPct val="0"/>
              </a:spcBef>
              <a:spcAft>
                <a:spcPts val="450"/>
              </a:spcAft>
              <a:buFont typeface="Arial" panose="020B0604020202020204" pitchFamily="34" charset="0"/>
              <a:buChar char="•"/>
              <a:defRPr/>
            </a:pPr>
            <a:r>
              <a:rPr lang="en-US" sz="1600">
                <a:solidFill>
                  <a:srgbClr val="4775E7"/>
                </a:solidFill>
                <a:latin typeface="Arial" panose="020B0604020202020204"/>
                <a:cs typeface="Arial" panose="020B0604020202020204"/>
              </a:rPr>
              <a:t>Mention security as follows</a:t>
            </a:r>
            <a:br>
              <a:rPr lang="en-US" sz="1600">
                <a:latin typeface="Arial" panose="020B0604020202020204"/>
                <a:cs typeface="Arial" panose="020B0604020202020204"/>
              </a:rPr>
            </a:br>
            <a:r>
              <a:rPr lang="en-US" sz="1600">
                <a:solidFill>
                  <a:srgbClr val="4775E7"/>
                </a:solidFill>
                <a:latin typeface="Arial" panose="020B0604020202020204"/>
                <a:cs typeface="Arial" panose="020B0604020202020204"/>
              </a:rPr>
              <a:t>All in Azure setup so can leverage security of Azure Infra</a:t>
            </a:r>
          </a:p>
          <a:p>
            <a:pPr marL="342900" indent="-342900">
              <a:spcBef>
                <a:spcPct val="0"/>
              </a:spcBef>
              <a:spcAft>
                <a:spcPts val="450"/>
              </a:spcAft>
              <a:buFont typeface="Arial" panose="020B0604020202020204" pitchFamily="34" charset="0"/>
              <a:buChar char="•"/>
              <a:defRPr/>
            </a:pPr>
            <a:r>
              <a:rPr lang="en-US" sz="1600">
                <a:solidFill>
                  <a:srgbClr val="4775E7"/>
                </a:solidFill>
                <a:highlight>
                  <a:srgbClr val="FFFF00"/>
                </a:highlight>
                <a:latin typeface="Arial" panose="020B0604020202020204"/>
                <a:cs typeface="Arial" panose="020B0604020202020204"/>
              </a:rPr>
              <a:t>Incase of k-means – how did we come up with number of clusters . Did we use something like elbow point ?</a:t>
            </a:r>
          </a:p>
          <a:p>
            <a:pPr marL="342900" indent="-342900">
              <a:spcBef>
                <a:spcPct val="0"/>
              </a:spcBef>
              <a:spcAft>
                <a:spcPts val="450"/>
              </a:spcAft>
              <a:buFont typeface="Arial" panose="020B0604020202020204" pitchFamily="34" charset="0"/>
              <a:buChar char="•"/>
              <a:defRPr/>
            </a:pPr>
            <a:r>
              <a:rPr lang="en-US" sz="1600">
                <a:solidFill>
                  <a:srgbClr val="4775E7"/>
                </a:solidFill>
                <a:highlight>
                  <a:srgbClr val="FFFF00"/>
                </a:highlight>
                <a:latin typeface="Arial" panose="020B0604020202020204"/>
                <a:cs typeface="Arial" panose="020B0604020202020204"/>
              </a:rPr>
              <a:t>Scalability -&gt; </a:t>
            </a:r>
            <a:r>
              <a:rPr lang="en-US" sz="1200">
                <a:solidFill>
                  <a:srgbClr val="51565E"/>
                </a:solidFill>
                <a:highlight>
                  <a:srgbClr val="FFFF00"/>
                </a:highlight>
                <a:latin typeface="Roboto"/>
                <a:ea typeface="Roboto"/>
                <a:cs typeface="Roboto"/>
              </a:rPr>
              <a:t>Scalability: K-means can handle large datasets with many data points and can be easily scaled to handle even larger datasets.</a:t>
            </a:r>
            <a:endParaRPr lang="en-US" sz="1600">
              <a:solidFill>
                <a:srgbClr val="4775E7"/>
              </a:solidFill>
              <a:highlight>
                <a:srgbClr val="FFFF00"/>
              </a:highlight>
              <a:latin typeface="Arial" panose="020B0604020202020204"/>
              <a:cs typeface="Arial" panose="020B0604020202020204"/>
            </a:endParaRPr>
          </a:p>
          <a:p>
            <a:pPr marL="342900" indent="-342900">
              <a:spcBef>
                <a:spcPct val="0"/>
              </a:spcBef>
              <a:spcAft>
                <a:spcPts val="450"/>
              </a:spcAft>
              <a:buFont typeface="Arial" panose="020B0604020202020204" pitchFamily="34" charset="0"/>
              <a:buChar char="•"/>
              <a:defRPr/>
            </a:pPr>
            <a:r>
              <a:rPr lang="en-US" sz="1600">
                <a:solidFill>
                  <a:srgbClr val="4775E7"/>
                </a:solidFill>
                <a:highlight>
                  <a:srgbClr val="FFFF00"/>
                </a:highlight>
                <a:latin typeface="Arial" panose="020B0604020202020204"/>
                <a:cs typeface="Arial" panose="020B0604020202020204"/>
              </a:rPr>
              <a:t>Resiliency -&gt; mention how it will be</a:t>
            </a:r>
          </a:p>
          <a:p>
            <a:pPr marL="342900" indent="-342900">
              <a:spcBef>
                <a:spcPct val="0"/>
              </a:spcBef>
              <a:spcAft>
                <a:spcPts val="450"/>
              </a:spcAft>
              <a:buFont typeface="Arial" panose="020B0604020202020204" pitchFamily="34" charset="0"/>
              <a:buChar char="•"/>
              <a:defRPr/>
            </a:pPr>
            <a:r>
              <a:rPr lang="en-US" sz="1600">
                <a:solidFill>
                  <a:srgbClr val="4775E7"/>
                </a:solidFill>
                <a:highlight>
                  <a:srgbClr val="FFFF00"/>
                </a:highlight>
                <a:latin typeface="Arial" panose="020B0604020202020204"/>
                <a:cs typeface="Arial" panose="020B0604020202020204"/>
              </a:rPr>
              <a:t>Costing -&gt; mention about manual effort reduction plus solution built will offer new features that can be useful in Ask Arthur(potentially), can give recommendation in discover </a:t>
            </a:r>
            <a:r>
              <a:rPr lang="en-US" sz="1600" err="1">
                <a:solidFill>
                  <a:srgbClr val="4775E7"/>
                </a:solidFill>
                <a:highlight>
                  <a:srgbClr val="FFFF00"/>
                </a:highlight>
                <a:latin typeface="Arial" panose="020B0604020202020204"/>
                <a:cs typeface="Arial" panose="020B0604020202020204"/>
              </a:rPr>
              <a:t>etc</a:t>
            </a:r>
            <a:endParaRPr lang="en-US" sz="1600">
              <a:solidFill>
                <a:srgbClr val="4775E7"/>
              </a:solidFill>
              <a:highlight>
                <a:srgbClr val="FFFF00"/>
              </a:highlight>
              <a:latin typeface="Arial" panose="020B0604020202020204"/>
              <a:cs typeface="Arial" panose="020B0604020202020204"/>
            </a:endParaRPr>
          </a:p>
          <a:p>
            <a:pPr marL="342900" indent="-342900">
              <a:spcBef>
                <a:spcPct val="0"/>
              </a:spcBef>
              <a:spcAft>
                <a:spcPts val="450"/>
              </a:spcAft>
              <a:buFont typeface="Arial" panose="020B0604020202020204" pitchFamily="34" charset="0"/>
              <a:buChar char="•"/>
              <a:defRPr/>
            </a:pPr>
            <a:r>
              <a:rPr lang="en-US" sz="1600">
                <a:solidFill>
                  <a:srgbClr val="4775E7"/>
                </a:solidFill>
                <a:highlight>
                  <a:srgbClr val="FFFF00"/>
                </a:highlight>
                <a:latin typeface="Arial" panose="020B0604020202020204"/>
                <a:cs typeface="Arial" panose="020B0604020202020204"/>
              </a:rPr>
              <a:t>Security -&gt; mention its all within azure so secure</a:t>
            </a:r>
          </a:p>
        </p:txBody>
      </p:sp>
    </p:spTree>
    <p:extLst>
      <p:ext uri="{BB962C8B-B14F-4D97-AF65-F5344CB8AC3E}">
        <p14:creationId xmlns:p14="http://schemas.microsoft.com/office/powerpoint/2010/main" val="42268969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01E76F1F-250A-088D-7ACC-9178E1B02C22}"/>
              </a:ext>
              <a:ext uri="{C183D7F6-B498-43B3-948B-1728B52AA6E4}">
                <adec:decorative xmlns:adec="http://schemas.microsoft.com/office/drawing/2017/decorative" val="1"/>
              </a:ext>
            </a:extLst>
          </p:cNvPr>
          <p:cNvCxnSpPr>
            <a:cxnSpLocks/>
          </p:cNvCxnSpPr>
          <p:nvPr/>
        </p:nvCxnSpPr>
        <p:spPr>
          <a:xfrm>
            <a:off x="488191" y="1088493"/>
            <a:ext cx="10761492"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pic>
        <p:nvPicPr>
          <p:cNvPr id="16" name="Picture 15" descr="A screenshot of a computer&#10;&#10;Description automatically generated">
            <a:extLst>
              <a:ext uri="{FF2B5EF4-FFF2-40B4-BE49-F238E27FC236}">
                <a16:creationId xmlns:a16="http://schemas.microsoft.com/office/drawing/2014/main" id="{5E9633D3-2C8C-67AB-E020-7ADC0B81424B}"/>
              </a:ext>
            </a:extLst>
          </p:cNvPr>
          <p:cNvPicPr>
            <a:picLocks noChangeAspect="1"/>
          </p:cNvPicPr>
          <p:nvPr/>
        </p:nvPicPr>
        <p:blipFill>
          <a:blip r:embed="rId2"/>
          <a:stretch>
            <a:fillRect/>
          </a:stretch>
        </p:blipFill>
        <p:spPr>
          <a:xfrm>
            <a:off x="5867852" y="1324801"/>
            <a:ext cx="5315389" cy="1901355"/>
          </a:xfrm>
          <a:prstGeom prst="rect">
            <a:avLst/>
          </a:prstGeom>
        </p:spPr>
      </p:pic>
      <p:pic>
        <p:nvPicPr>
          <p:cNvPr id="39" name="Picture 38" descr="A graph of data with orange and blue bars&#10;&#10;Description automatically generated">
            <a:extLst>
              <a:ext uri="{FF2B5EF4-FFF2-40B4-BE49-F238E27FC236}">
                <a16:creationId xmlns:a16="http://schemas.microsoft.com/office/drawing/2014/main" id="{7A19C577-F0B4-2A18-5EF3-80FF04BB8A17}"/>
              </a:ext>
            </a:extLst>
          </p:cNvPr>
          <p:cNvPicPr>
            <a:picLocks noChangeAspect="1"/>
          </p:cNvPicPr>
          <p:nvPr/>
        </p:nvPicPr>
        <p:blipFill>
          <a:blip r:embed="rId3"/>
          <a:stretch>
            <a:fillRect/>
          </a:stretch>
        </p:blipFill>
        <p:spPr>
          <a:xfrm>
            <a:off x="5862910" y="3233830"/>
            <a:ext cx="5301200" cy="3005890"/>
          </a:xfrm>
          <a:prstGeom prst="rect">
            <a:avLst/>
          </a:prstGeom>
        </p:spPr>
      </p:pic>
      <p:graphicFrame>
        <p:nvGraphicFramePr>
          <p:cNvPr id="31" name="Diagram 30">
            <a:extLst>
              <a:ext uri="{FF2B5EF4-FFF2-40B4-BE49-F238E27FC236}">
                <a16:creationId xmlns:a16="http://schemas.microsoft.com/office/drawing/2014/main" id="{B5FAFF1D-59EF-EB73-5588-090B2BFF7229}"/>
              </a:ext>
            </a:extLst>
          </p:cNvPr>
          <p:cNvGraphicFramePr/>
          <p:nvPr>
            <p:extLst>
              <p:ext uri="{D42A27DB-BD31-4B8C-83A1-F6EECF244321}">
                <p14:modId xmlns:p14="http://schemas.microsoft.com/office/powerpoint/2010/main" val="1453729751"/>
              </p:ext>
            </p:extLst>
          </p:nvPr>
        </p:nvGraphicFramePr>
        <p:xfrm>
          <a:off x="631371" y="1328057"/>
          <a:ext cx="5083627" cy="478971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90" name="TextBox 489">
            <a:extLst>
              <a:ext uri="{FF2B5EF4-FFF2-40B4-BE49-F238E27FC236}">
                <a16:creationId xmlns:a16="http://schemas.microsoft.com/office/drawing/2014/main" id="{E62D3F79-CF65-530E-B249-C5A246299A14}"/>
              </a:ext>
            </a:extLst>
          </p:cNvPr>
          <p:cNvSpPr txBox="1"/>
          <p:nvPr/>
        </p:nvSpPr>
        <p:spPr>
          <a:xfrm>
            <a:off x="487179" y="543118"/>
            <a:ext cx="9843542" cy="892552"/>
          </a:xfrm>
          <a:prstGeom prst="rect">
            <a:avLst/>
          </a:prstGeom>
          <a:noFill/>
        </p:spPr>
        <p:txBody>
          <a:bodyPr wrap="square" lIns="91440" tIns="45720" rIns="91440" bIns="45720" anchor="t">
            <a:spAutoFit/>
          </a:bodyPr>
          <a:lstStyle/>
          <a:p>
            <a:r>
              <a:rPr lang="en-US" sz="2600" b="1">
                <a:solidFill>
                  <a:schemeClr val="tx1">
                    <a:lumMod val="75000"/>
                    <a:lumOff val="25000"/>
                  </a:schemeClr>
                </a:solidFill>
                <a:latin typeface="Montserrat"/>
              </a:rPr>
              <a:t>Automated Root Cause Detection </a:t>
            </a:r>
            <a:endParaRPr lang="en-US" sz="2600" b="1">
              <a:solidFill>
                <a:schemeClr val="tx1">
                  <a:lumMod val="75000"/>
                  <a:lumOff val="25000"/>
                </a:schemeClr>
              </a:solidFill>
              <a:highlight>
                <a:srgbClr val="FFFF00"/>
              </a:highlight>
              <a:latin typeface="Montserrat"/>
            </a:endParaRPr>
          </a:p>
          <a:p>
            <a:endParaRPr lang="en-US" sz="2600" b="1">
              <a:solidFill>
                <a:schemeClr val="tx1">
                  <a:lumMod val="75000"/>
                  <a:lumOff val="25000"/>
                </a:schemeClr>
              </a:solidFill>
              <a:latin typeface="Montserrat"/>
            </a:endParaRPr>
          </a:p>
        </p:txBody>
      </p:sp>
    </p:spTree>
    <p:extLst>
      <p:ext uri="{BB962C8B-B14F-4D97-AF65-F5344CB8AC3E}">
        <p14:creationId xmlns:p14="http://schemas.microsoft.com/office/powerpoint/2010/main" val="27118040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01E76F1F-250A-088D-7ACC-9178E1B02C22}"/>
              </a:ext>
              <a:ext uri="{C183D7F6-B498-43B3-948B-1728B52AA6E4}">
                <adec:decorative xmlns:adec="http://schemas.microsoft.com/office/drawing/2017/decorative" val="1"/>
              </a:ext>
            </a:extLst>
          </p:cNvPr>
          <p:cNvCxnSpPr>
            <a:cxnSpLocks/>
          </p:cNvCxnSpPr>
          <p:nvPr/>
        </p:nvCxnSpPr>
        <p:spPr>
          <a:xfrm>
            <a:off x="488191" y="1088493"/>
            <a:ext cx="10761492"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graphicFrame>
        <p:nvGraphicFramePr>
          <p:cNvPr id="31" name="Diagram 30">
            <a:extLst>
              <a:ext uri="{FF2B5EF4-FFF2-40B4-BE49-F238E27FC236}">
                <a16:creationId xmlns:a16="http://schemas.microsoft.com/office/drawing/2014/main" id="{B5FAFF1D-59EF-EB73-5588-090B2BFF7229}"/>
              </a:ext>
            </a:extLst>
          </p:cNvPr>
          <p:cNvGraphicFramePr/>
          <p:nvPr/>
        </p:nvGraphicFramePr>
        <p:xfrm>
          <a:off x="631371" y="1328057"/>
          <a:ext cx="5083627" cy="47897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90" name="TextBox 489">
            <a:extLst>
              <a:ext uri="{FF2B5EF4-FFF2-40B4-BE49-F238E27FC236}">
                <a16:creationId xmlns:a16="http://schemas.microsoft.com/office/drawing/2014/main" id="{E62D3F79-CF65-530E-B249-C5A246299A14}"/>
              </a:ext>
            </a:extLst>
          </p:cNvPr>
          <p:cNvSpPr txBox="1"/>
          <p:nvPr/>
        </p:nvSpPr>
        <p:spPr>
          <a:xfrm>
            <a:off x="487179" y="543118"/>
            <a:ext cx="9843542" cy="492443"/>
          </a:xfrm>
          <a:prstGeom prst="rect">
            <a:avLst/>
          </a:prstGeom>
          <a:noFill/>
        </p:spPr>
        <p:txBody>
          <a:bodyPr wrap="square" lIns="91440" tIns="45720" rIns="91440" bIns="45720" anchor="t">
            <a:spAutoFit/>
          </a:bodyPr>
          <a:lstStyle/>
          <a:p>
            <a:r>
              <a:rPr lang="en-US" sz="2600" b="1">
                <a:solidFill>
                  <a:schemeClr val="tx1">
                    <a:lumMod val="75000"/>
                    <a:lumOff val="25000"/>
                  </a:schemeClr>
                </a:solidFill>
                <a:latin typeface="Montserrat"/>
              </a:rPr>
              <a:t>Log Categorization – Azure AI</a:t>
            </a:r>
            <a:endParaRPr lang="en-US">
              <a:solidFill>
                <a:schemeClr val="tx1">
                  <a:lumMod val="75000"/>
                  <a:lumOff val="25000"/>
                </a:schemeClr>
              </a:solidFill>
            </a:endParaRPr>
          </a:p>
        </p:txBody>
      </p:sp>
      <p:pic>
        <p:nvPicPr>
          <p:cNvPr id="757" name="Picture 756" descr="A screenshot of a graph&#10;&#10;Description automatically generated">
            <a:extLst>
              <a:ext uri="{FF2B5EF4-FFF2-40B4-BE49-F238E27FC236}">
                <a16:creationId xmlns:a16="http://schemas.microsoft.com/office/drawing/2014/main" id="{D3B9E183-2A3E-363F-F578-48680433BBE5}"/>
              </a:ext>
            </a:extLst>
          </p:cNvPr>
          <p:cNvPicPr>
            <a:picLocks noChangeAspect="1"/>
          </p:cNvPicPr>
          <p:nvPr/>
        </p:nvPicPr>
        <p:blipFill>
          <a:blip r:embed="rId7"/>
          <a:stretch>
            <a:fillRect/>
          </a:stretch>
        </p:blipFill>
        <p:spPr>
          <a:xfrm>
            <a:off x="5875481" y="1328292"/>
            <a:ext cx="6100620" cy="1759393"/>
          </a:xfrm>
          <a:prstGeom prst="rect">
            <a:avLst/>
          </a:prstGeom>
        </p:spPr>
      </p:pic>
      <p:pic>
        <p:nvPicPr>
          <p:cNvPr id="759" name="Picture 758" descr="A screenshot of a service&#10;&#10;Description automatically generated">
            <a:extLst>
              <a:ext uri="{FF2B5EF4-FFF2-40B4-BE49-F238E27FC236}">
                <a16:creationId xmlns:a16="http://schemas.microsoft.com/office/drawing/2014/main" id="{87E91F59-DF98-4494-7498-92E707EA81D3}"/>
              </a:ext>
            </a:extLst>
          </p:cNvPr>
          <p:cNvPicPr>
            <a:picLocks noChangeAspect="1"/>
          </p:cNvPicPr>
          <p:nvPr/>
        </p:nvPicPr>
        <p:blipFill>
          <a:blip r:embed="rId8"/>
          <a:stretch>
            <a:fillRect/>
          </a:stretch>
        </p:blipFill>
        <p:spPr>
          <a:xfrm>
            <a:off x="5881348" y="3078818"/>
            <a:ext cx="6078367" cy="1565513"/>
          </a:xfrm>
          <a:prstGeom prst="rect">
            <a:avLst/>
          </a:prstGeom>
        </p:spPr>
      </p:pic>
      <p:pic>
        <p:nvPicPr>
          <p:cNvPr id="761" name="Picture 760" descr="A screenshot of a service&#10;&#10;Description automatically generated">
            <a:extLst>
              <a:ext uri="{FF2B5EF4-FFF2-40B4-BE49-F238E27FC236}">
                <a16:creationId xmlns:a16="http://schemas.microsoft.com/office/drawing/2014/main" id="{6AD29BD1-DFE4-BAB9-B7C6-D361F6956A3D}"/>
              </a:ext>
            </a:extLst>
          </p:cNvPr>
          <p:cNvPicPr>
            <a:picLocks noChangeAspect="1"/>
          </p:cNvPicPr>
          <p:nvPr/>
        </p:nvPicPr>
        <p:blipFill>
          <a:blip r:embed="rId9"/>
          <a:stretch>
            <a:fillRect/>
          </a:stretch>
        </p:blipFill>
        <p:spPr>
          <a:xfrm>
            <a:off x="5864445" y="4673533"/>
            <a:ext cx="6087420" cy="1617382"/>
          </a:xfrm>
          <a:prstGeom prst="rect">
            <a:avLst/>
          </a:prstGeom>
        </p:spPr>
      </p:pic>
    </p:spTree>
    <p:extLst>
      <p:ext uri="{BB962C8B-B14F-4D97-AF65-F5344CB8AC3E}">
        <p14:creationId xmlns:p14="http://schemas.microsoft.com/office/powerpoint/2010/main" val="19312807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5" name="Picture 1104" descr="A blue and white arrow&#10;&#10;Description automatically generated">
            <a:extLst>
              <a:ext uri="{FF2B5EF4-FFF2-40B4-BE49-F238E27FC236}">
                <a16:creationId xmlns:a16="http://schemas.microsoft.com/office/drawing/2014/main" id="{BF6241AC-B4F9-250D-AB0B-B053DC9B9543}"/>
              </a:ext>
            </a:extLst>
          </p:cNvPr>
          <p:cNvPicPr>
            <a:picLocks noChangeAspect="1"/>
          </p:cNvPicPr>
          <p:nvPr/>
        </p:nvPicPr>
        <p:blipFill>
          <a:blip r:embed="rId2"/>
          <a:stretch>
            <a:fillRect/>
          </a:stretch>
        </p:blipFill>
        <p:spPr>
          <a:xfrm>
            <a:off x="636726" y="2273830"/>
            <a:ext cx="1899092" cy="1151165"/>
          </a:xfrm>
          <a:prstGeom prst="rect">
            <a:avLst/>
          </a:prstGeom>
        </p:spPr>
      </p:pic>
      <p:sp>
        <p:nvSpPr>
          <p:cNvPr id="5" name="TextBox 4">
            <a:extLst>
              <a:ext uri="{FF2B5EF4-FFF2-40B4-BE49-F238E27FC236}">
                <a16:creationId xmlns:a16="http://schemas.microsoft.com/office/drawing/2014/main" id="{87B1A019-C14B-DBFC-1DBE-1935FF84F3C8}"/>
              </a:ext>
            </a:extLst>
          </p:cNvPr>
          <p:cNvSpPr txBox="1"/>
          <p:nvPr/>
        </p:nvSpPr>
        <p:spPr>
          <a:xfrm>
            <a:off x="487180" y="316578"/>
            <a:ext cx="9853839" cy="492443"/>
          </a:xfrm>
          <a:prstGeom prst="rect">
            <a:avLst/>
          </a:prstGeom>
          <a:noFill/>
        </p:spPr>
        <p:txBody>
          <a:bodyPr wrap="square" lIns="91440" tIns="45720" rIns="91440" bIns="45720" anchor="t">
            <a:spAutoFit/>
          </a:bodyPr>
          <a:lstStyle/>
          <a:p>
            <a:r>
              <a:rPr lang="en-US" sz="2600" b="1">
                <a:solidFill>
                  <a:schemeClr val="tx1">
                    <a:lumMod val="75000"/>
                    <a:lumOff val="25000"/>
                  </a:schemeClr>
                </a:solidFill>
                <a:latin typeface="Montserrat"/>
              </a:rPr>
              <a:t>Intelligent Monitoring &amp; Proactive Troubleshooting</a:t>
            </a:r>
            <a:endParaRPr lang="en-IN" sz="2600" b="1">
              <a:solidFill>
                <a:schemeClr val="tx1">
                  <a:lumMod val="75000"/>
                  <a:lumOff val="25000"/>
                </a:schemeClr>
              </a:solidFill>
              <a:latin typeface="Montserrat"/>
            </a:endParaRPr>
          </a:p>
        </p:txBody>
      </p:sp>
      <p:grpSp>
        <p:nvGrpSpPr>
          <p:cNvPr id="1045" name="Group 1044">
            <a:extLst>
              <a:ext uri="{FF2B5EF4-FFF2-40B4-BE49-F238E27FC236}">
                <a16:creationId xmlns:a16="http://schemas.microsoft.com/office/drawing/2014/main" id="{EF98A9BD-2A1C-38B3-44D3-81197353C36C}"/>
              </a:ext>
            </a:extLst>
          </p:cNvPr>
          <p:cNvGrpSpPr/>
          <p:nvPr/>
        </p:nvGrpSpPr>
        <p:grpSpPr>
          <a:xfrm>
            <a:off x="2663687" y="2276061"/>
            <a:ext cx="8685077" cy="3952370"/>
            <a:chOff x="463909" y="1667288"/>
            <a:chExt cx="10871603" cy="3372749"/>
          </a:xfrm>
        </p:grpSpPr>
        <p:grpSp>
          <p:nvGrpSpPr>
            <p:cNvPr id="1044" name="Group 1043">
              <a:extLst>
                <a:ext uri="{FF2B5EF4-FFF2-40B4-BE49-F238E27FC236}">
                  <a16:creationId xmlns:a16="http://schemas.microsoft.com/office/drawing/2014/main" id="{6A391DB5-8649-5E71-4E3B-0ACB3777B50A}"/>
                </a:ext>
              </a:extLst>
            </p:cNvPr>
            <p:cNvGrpSpPr/>
            <p:nvPr/>
          </p:nvGrpSpPr>
          <p:grpSpPr>
            <a:xfrm>
              <a:off x="463909" y="1667288"/>
              <a:ext cx="2390212" cy="3372749"/>
              <a:chOff x="463909" y="1667288"/>
              <a:chExt cx="2390212" cy="3372749"/>
            </a:xfrm>
          </p:grpSpPr>
          <p:sp>
            <p:nvSpPr>
              <p:cNvPr id="9" name="Freeform: Shape 8">
                <a:extLst>
                  <a:ext uri="{FF2B5EF4-FFF2-40B4-BE49-F238E27FC236}">
                    <a16:creationId xmlns:a16="http://schemas.microsoft.com/office/drawing/2014/main" id="{A200A361-CB29-90A0-BBA7-95EE3AB27FA4}"/>
                  </a:ext>
                </a:extLst>
              </p:cNvPr>
              <p:cNvSpPr/>
              <p:nvPr/>
            </p:nvSpPr>
            <p:spPr>
              <a:xfrm>
                <a:off x="650871" y="1667288"/>
                <a:ext cx="2067980" cy="3372749"/>
              </a:xfrm>
              <a:custGeom>
                <a:avLst/>
                <a:gdLst>
                  <a:gd name="connsiteX0" fmla="*/ 544830 w 1088707"/>
                  <a:gd name="connsiteY0" fmla="*/ 2895600 h 2895600"/>
                  <a:gd name="connsiteX1" fmla="*/ 544830 w 1088707"/>
                  <a:gd name="connsiteY1" fmla="*/ 2895600 h 2895600"/>
                  <a:gd name="connsiteX2" fmla="*/ 0 w 1088707"/>
                  <a:gd name="connsiteY2" fmla="*/ 2350770 h 2895600"/>
                  <a:gd name="connsiteX3" fmla="*/ 0 w 1088707"/>
                  <a:gd name="connsiteY3" fmla="*/ 0 h 2895600"/>
                  <a:gd name="connsiteX4" fmla="*/ 1088708 w 1088707"/>
                  <a:gd name="connsiteY4" fmla="*/ 0 h 2895600"/>
                  <a:gd name="connsiteX5" fmla="*/ 1088708 w 1088707"/>
                  <a:gd name="connsiteY5" fmla="*/ 2350770 h 2895600"/>
                  <a:gd name="connsiteX6" fmla="*/ 544830 w 1088707"/>
                  <a:gd name="connsiteY6" fmla="*/ 2895600 h 289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8707" h="2895600">
                    <a:moveTo>
                      <a:pt x="544830" y="2895600"/>
                    </a:moveTo>
                    <a:lnTo>
                      <a:pt x="544830" y="2895600"/>
                    </a:lnTo>
                    <a:cubicBezTo>
                      <a:pt x="243840" y="2895600"/>
                      <a:pt x="0" y="2651760"/>
                      <a:pt x="0" y="2350770"/>
                    </a:cubicBezTo>
                    <a:lnTo>
                      <a:pt x="0" y="0"/>
                    </a:lnTo>
                    <a:lnTo>
                      <a:pt x="1088708" y="0"/>
                    </a:lnTo>
                    <a:lnTo>
                      <a:pt x="1088708" y="2350770"/>
                    </a:lnTo>
                    <a:cubicBezTo>
                      <a:pt x="1088708" y="2651760"/>
                      <a:pt x="844868" y="2895600"/>
                      <a:pt x="544830" y="2895600"/>
                    </a:cubicBezTo>
                    <a:close/>
                  </a:path>
                </a:pathLst>
              </a:custGeom>
              <a:solidFill>
                <a:srgbClr val="FFFFFF"/>
              </a:solidFill>
              <a:ln w="9525" cap="flat">
                <a:noFill/>
                <a:prstDash val="solid"/>
                <a:miter/>
              </a:ln>
              <a:effectLst>
                <a:outerShdw blurRad="127000" dist="38100" dir="5400000" algn="t" rotWithShape="0">
                  <a:prstClr val="black">
                    <a:alpha val="10000"/>
                  </a:prstClr>
                </a:outerShdw>
              </a:effectLst>
            </p:spPr>
            <p:txBody>
              <a:bodyPr rtlCol="0" anchor="ctr"/>
              <a:lstStyle/>
              <a:p>
                <a:endParaRPr lang="en-IN"/>
              </a:p>
            </p:txBody>
          </p:sp>
          <p:sp>
            <p:nvSpPr>
              <p:cNvPr id="10" name="Freeform: Shape 9">
                <a:extLst>
                  <a:ext uri="{FF2B5EF4-FFF2-40B4-BE49-F238E27FC236}">
                    <a16:creationId xmlns:a16="http://schemas.microsoft.com/office/drawing/2014/main" id="{5C145B52-AC15-66C0-5551-1995B34C68BA}"/>
                  </a:ext>
                </a:extLst>
              </p:cNvPr>
              <p:cNvSpPr/>
              <p:nvPr/>
            </p:nvSpPr>
            <p:spPr>
              <a:xfrm>
                <a:off x="463909" y="1941068"/>
                <a:ext cx="2390212" cy="522797"/>
              </a:xfrm>
              <a:custGeom>
                <a:avLst/>
                <a:gdLst>
                  <a:gd name="connsiteX0" fmla="*/ 1383030 w 1383029"/>
                  <a:gd name="connsiteY0" fmla="*/ 361950 h 361950"/>
                  <a:gd name="connsiteX1" fmla="*/ 0 w 1383029"/>
                  <a:gd name="connsiteY1" fmla="*/ 361950 h 361950"/>
                  <a:gd name="connsiteX2" fmla="*/ 127635 w 1383029"/>
                  <a:gd name="connsiteY2" fmla="*/ 180975 h 361950"/>
                  <a:gd name="connsiteX3" fmla="*/ 0 w 1383029"/>
                  <a:gd name="connsiteY3" fmla="*/ 0 h 361950"/>
                  <a:gd name="connsiteX4" fmla="*/ 1383030 w 1383029"/>
                  <a:gd name="connsiteY4" fmla="*/ 0 h 36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029" h="361950">
                    <a:moveTo>
                      <a:pt x="1383030" y="361950"/>
                    </a:moveTo>
                    <a:lnTo>
                      <a:pt x="0" y="361950"/>
                    </a:lnTo>
                    <a:lnTo>
                      <a:pt x="127635" y="180975"/>
                    </a:lnTo>
                    <a:lnTo>
                      <a:pt x="0" y="0"/>
                    </a:lnTo>
                    <a:lnTo>
                      <a:pt x="1383030" y="0"/>
                    </a:lnTo>
                    <a:close/>
                  </a:path>
                </a:pathLst>
              </a:custGeom>
              <a:solidFill>
                <a:schemeClr val="accent2"/>
              </a:solidFill>
              <a:ln w="9525" cap="flat">
                <a:noFill/>
                <a:prstDash val="solid"/>
                <a:miter/>
              </a:ln>
            </p:spPr>
            <p:txBody>
              <a:bodyPr rtlCol="0" anchor="ctr"/>
              <a:lstStyle/>
              <a:p>
                <a:endParaRPr lang="en-IN"/>
              </a:p>
            </p:txBody>
          </p:sp>
          <p:sp>
            <p:nvSpPr>
              <p:cNvPr id="11" name="Freeform: Shape 10">
                <a:extLst>
                  <a:ext uri="{FF2B5EF4-FFF2-40B4-BE49-F238E27FC236}">
                    <a16:creationId xmlns:a16="http://schemas.microsoft.com/office/drawing/2014/main" id="{86D25D69-CF46-7159-810D-933E7C188554}"/>
                  </a:ext>
                </a:extLst>
              </p:cNvPr>
              <p:cNvSpPr/>
              <p:nvPr/>
            </p:nvSpPr>
            <p:spPr>
              <a:xfrm>
                <a:off x="2675269" y="2463865"/>
                <a:ext cx="178852" cy="202239"/>
              </a:xfrm>
              <a:custGeom>
                <a:avLst/>
                <a:gdLst>
                  <a:gd name="connsiteX0" fmla="*/ 123825 w 123825"/>
                  <a:gd name="connsiteY0" fmla="*/ 0 h 140017"/>
                  <a:gd name="connsiteX1" fmla="*/ 0 w 123825"/>
                  <a:gd name="connsiteY1" fmla="*/ 140017 h 140017"/>
                  <a:gd name="connsiteX2" fmla="*/ 0 w 123825"/>
                  <a:gd name="connsiteY2" fmla="*/ 0 h 140017"/>
                </a:gdLst>
                <a:ahLst/>
                <a:cxnLst>
                  <a:cxn ang="0">
                    <a:pos x="connsiteX0" y="connsiteY0"/>
                  </a:cxn>
                  <a:cxn ang="0">
                    <a:pos x="connsiteX1" y="connsiteY1"/>
                  </a:cxn>
                  <a:cxn ang="0">
                    <a:pos x="connsiteX2" y="connsiteY2"/>
                  </a:cxn>
                </a:cxnLst>
                <a:rect l="l" t="t" r="r" b="b"/>
                <a:pathLst>
                  <a:path w="123825" h="140017">
                    <a:moveTo>
                      <a:pt x="123825" y="0"/>
                    </a:moveTo>
                    <a:lnTo>
                      <a:pt x="0" y="140017"/>
                    </a:lnTo>
                    <a:lnTo>
                      <a:pt x="0" y="0"/>
                    </a:lnTo>
                    <a:close/>
                  </a:path>
                </a:pathLst>
              </a:custGeom>
              <a:gradFill>
                <a:gsLst>
                  <a:gs pos="0">
                    <a:srgbClr val="D50000"/>
                  </a:gs>
                  <a:gs pos="50000">
                    <a:srgbClr val="D53E00"/>
                  </a:gs>
                  <a:gs pos="100000">
                    <a:srgbClr val="D57C00"/>
                  </a:gs>
                </a:gsLst>
                <a:lin ang="5400000" scaled="1"/>
              </a:gradFill>
              <a:ln w="9525" cap="flat">
                <a:noFill/>
                <a:prstDash val="solid"/>
                <a:miter/>
              </a:ln>
            </p:spPr>
            <p:txBody>
              <a:bodyPr rtlCol="0" anchor="ctr"/>
              <a:lstStyle/>
              <a:p>
                <a:endParaRPr lang="en-IN"/>
              </a:p>
            </p:txBody>
          </p:sp>
          <p:sp>
            <p:nvSpPr>
              <p:cNvPr id="12" name="Freeform: Shape 11">
                <a:extLst>
                  <a:ext uri="{FF2B5EF4-FFF2-40B4-BE49-F238E27FC236}">
                    <a16:creationId xmlns:a16="http://schemas.microsoft.com/office/drawing/2014/main" id="{0E8BEA68-BA9A-5640-16B3-40CDE8FF1BF5}"/>
                  </a:ext>
                </a:extLst>
              </p:cNvPr>
              <p:cNvSpPr/>
              <p:nvPr/>
            </p:nvSpPr>
            <p:spPr>
              <a:xfrm>
                <a:off x="2675269" y="2463865"/>
                <a:ext cx="178852" cy="202239"/>
              </a:xfrm>
              <a:custGeom>
                <a:avLst/>
                <a:gdLst>
                  <a:gd name="connsiteX0" fmla="*/ 123825 w 123825"/>
                  <a:gd name="connsiteY0" fmla="*/ 0 h 140017"/>
                  <a:gd name="connsiteX1" fmla="*/ 0 w 123825"/>
                  <a:gd name="connsiteY1" fmla="*/ 140017 h 140017"/>
                  <a:gd name="connsiteX2" fmla="*/ 0 w 123825"/>
                  <a:gd name="connsiteY2" fmla="*/ 0 h 140017"/>
                </a:gdLst>
                <a:ahLst/>
                <a:cxnLst>
                  <a:cxn ang="0">
                    <a:pos x="connsiteX0" y="connsiteY0"/>
                  </a:cxn>
                  <a:cxn ang="0">
                    <a:pos x="connsiteX1" y="connsiteY1"/>
                  </a:cxn>
                  <a:cxn ang="0">
                    <a:pos x="connsiteX2" y="connsiteY2"/>
                  </a:cxn>
                </a:cxnLst>
                <a:rect l="l" t="t" r="r" b="b"/>
                <a:pathLst>
                  <a:path w="123825" h="140017">
                    <a:moveTo>
                      <a:pt x="123825" y="0"/>
                    </a:moveTo>
                    <a:lnTo>
                      <a:pt x="0" y="140017"/>
                    </a:lnTo>
                    <a:lnTo>
                      <a:pt x="0" y="0"/>
                    </a:lnTo>
                    <a:close/>
                  </a:path>
                </a:pathLst>
              </a:custGeom>
              <a:solidFill>
                <a:schemeClr val="accent2">
                  <a:lumMod val="75000"/>
                </a:schemeClr>
              </a:solidFill>
              <a:ln w="9525" cap="flat">
                <a:noFill/>
                <a:prstDash val="solid"/>
                <a:miter/>
              </a:ln>
            </p:spPr>
            <p:txBody>
              <a:bodyPr rtlCol="0" anchor="ctr"/>
              <a:lstStyle/>
              <a:p>
                <a:endParaRPr lang="en-IN"/>
              </a:p>
            </p:txBody>
          </p:sp>
          <p:sp>
            <p:nvSpPr>
              <p:cNvPr id="1024" name="TextBox 1023">
                <a:extLst>
                  <a:ext uri="{FF2B5EF4-FFF2-40B4-BE49-F238E27FC236}">
                    <a16:creationId xmlns:a16="http://schemas.microsoft.com/office/drawing/2014/main" id="{5DA20023-6353-D499-27D4-BEDE666213FC}"/>
                  </a:ext>
                </a:extLst>
              </p:cNvPr>
              <p:cNvSpPr txBox="1"/>
              <p:nvPr/>
            </p:nvSpPr>
            <p:spPr>
              <a:xfrm>
                <a:off x="628777" y="2645001"/>
                <a:ext cx="2048539" cy="1444524"/>
              </a:xfrm>
              <a:prstGeom prst="rect">
                <a:avLst/>
              </a:prstGeom>
              <a:noFill/>
            </p:spPr>
            <p:txBody>
              <a:bodyPr wrap="square" lIns="91440" tIns="45720" rIns="91440" bIns="45720" anchor="t">
                <a:spAutoFit/>
              </a:bodyPr>
              <a:lstStyle/>
              <a:p>
                <a:pPr algn="ctr">
                  <a:spcAft>
                    <a:spcPts val="600"/>
                  </a:spcAft>
                </a:pPr>
                <a:r>
                  <a:rPr lang="en-US" sz="1300">
                    <a:solidFill>
                      <a:schemeClr val="tx1">
                        <a:lumMod val="75000"/>
                        <a:lumOff val="25000"/>
                      </a:schemeClr>
                    </a:solidFill>
                    <a:latin typeface="Montserrat"/>
                  </a:rPr>
                  <a:t>Automated clustering of log pattern</a:t>
                </a:r>
                <a:br>
                  <a:rPr lang="en-US" sz="1300">
                    <a:solidFill>
                      <a:schemeClr val="tx1">
                        <a:lumMod val="75000"/>
                        <a:lumOff val="25000"/>
                      </a:schemeClr>
                    </a:solidFill>
                    <a:latin typeface="Montserrat"/>
                  </a:rPr>
                </a:br>
                <a:br>
                  <a:rPr lang="en-US" sz="1300">
                    <a:solidFill>
                      <a:schemeClr val="tx1">
                        <a:lumMod val="75000"/>
                        <a:lumOff val="25000"/>
                      </a:schemeClr>
                    </a:solidFill>
                    <a:latin typeface="Montserrat"/>
                  </a:rPr>
                </a:br>
                <a:r>
                  <a:rPr lang="en-US" sz="1300">
                    <a:solidFill>
                      <a:schemeClr val="tx1">
                        <a:lumMod val="75000"/>
                        <a:lumOff val="25000"/>
                      </a:schemeClr>
                    </a:solidFill>
                    <a:latin typeface="Montserrat"/>
                  </a:rPr>
                  <a:t>Accelerates the identification of underlying issues</a:t>
                </a:r>
                <a:r>
                  <a:rPr lang="en-US" sz="1300">
                    <a:solidFill>
                      <a:schemeClr val="tx1">
                        <a:lumMod val="75000"/>
                        <a:lumOff val="25000"/>
                      </a:schemeClr>
                    </a:solidFill>
                    <a:ea typeface="+mn-lt"/>
                    <a:cs typeface="+mn-lt"/>
                  </a:rPr>
                  <a:t>.</a:t>
                </a:r>
                <a:endParaRPr lang="en-IN" sz="1300">
                  <a:solidFill>
                    <a:schemeClr val="tx1">
                      <a:lumMod val="75000"/>
                      <a:lumOff val="25000"/>
                    </a:schemeClr>
                  </a:solidFill>
                  <a:latin typeface="Montserrat"/>
                </a:endParaRPr>
              </a:p>
            </p:txBody>
          </p:sp>
          <p:sp>
            <p:nvSpPr>
              <p:cNvPr id="1031" name="TextBox 1030">
                <a:extLst>
                  <a:ext uri="{FF2B5EF4-FFF2-40B4-BE49-F238E27FC236}">
                    <a16:creationId xmlns:a16="http://schemas.microsoft.com/office/drawing/2014/main" id="{D229A7F5-BA5E-7D2C-4E06-7F729772215F}"/>
                  </a:ext>
                </a:extLst>
              </p:cNvPr>
              <p:cNvSpPr txBox="1"/>
              <p:nvPr/>
            </p:nvSpPr>
            <p:spPr>
              <a:xfrm>
                <a:off x="752311" y="1936688"/>
                <a:ext cx="2002574" cy="446489"/>
              </a:xfrm>
              <a:prstGeom prst="rect">
                <a:avLst/>
              </a:prstGeom>
              <a:noFill/>
            </p:spPr>
            <p:txBody>
              <a:bodyPr wrap="square" lIns="91440" tIns="45720" rIns="91440" bIns="45720" anchor="t">
                <a:spAutoFit/>
              </a:bodyPr>
              <a:lstStyle/>
              <a:p>
                <a:pPr algn="ctr"/>
                <a:r>
                  <a:rPr lang="en-US" sz="1400" b="1">
                    <a:solidFill>
                      <a:schemeClr val="bg1"/>
                    </a:solidFill>
                    <a:latin typeface="Montserrat"/>
                  </a:rPr>
                  <a:t>Automated </a:t>
                </a:r>
              </a:p>
              <a:p>
                <a:pPr algn="ctr"/>
                <a:r>
                  <a:rPr lang="en-US" sz="1400" b="1">
                    <a:solidFill>
                      <a:schemeClr val="bg1"/>
                    </a:solidFill>
                    <a:latin typeface="Montserrat"/>
                    <a:cs typeface="Arial"/>
                  </a:rPr>
                  <a:t>RCA</a:t>
                </a:r>
              </a:p>
            </p:txBody>
          </p:sp>
        </p:grpSp>
        <p:grpSp>
          <p:nvGrpSpPr>
            <p:cNvPr id="1043" name="Group 1042">
              <a:extLst>
                <a:ext uri="{FF2B5EF4-FFF2-40B4-BE49-F238E27FC236}">
                  <a16:creationId xmlns:a16="http://schemas.microsoft.com/office/drawing/2014/main" id="{53A8EC61-3B59-27F2-987E-A0C9680184E3}"/>
                </a:ext>
              </a:extLst>
            </p:cNvPr>
            <p:cNvGrpSpPr/>
            <p:nvPr/>
          </p:nvGrpSpPr>
          <p:grpSpPr>
            <a:xfrm>
              <a:off x="3291039" y="1667288"/>
              <a:ext cx="2390212" cy="3372749"/>
              <a:chOff x="3291039" y="1667288"/>
              <a:chExt cx="2390212" cy="3372749"/>
            </a:xfrm>
          </p:grpSpPr>
          <p:sp>
            <p:nvSpPr>
              <p:cNvPr id="42" name="Freeform: Shape 41">
                <a:extLst>
                  <a:ext uri="{FF2B5EF4-FFF2-40B4-BE49-F238E27FC236}">
                    <a16:creationId xmlns:a16="http://schemas.microsoft.com/office/drawing/2014/main" id="{5CB7D81A-CED2-3EB6-B80C-731EDE5E6D4D}"/>
                  </a:ext>
                </a:extLst>
              </p:cNvPr>
              <p:cNvSpPr/>
              <p:nvPr/>
            </p:nvSpPr>
            <p:spPr>
              <a:xfrm>
                <a:off x="3498121" y="1667288"/>
                <a:ext cx="2067980" cy="3372749"/>
              </a:xfrm>
              <a:custGeom>
                <a:avLst/>
                <a:gdLst>
                  <a:gd name="connsiteX0" fmla="*/ 544830 w 1088707"/>
                  <a:gd name="connsiteY0" fmla="*/ 2895600 h 2895600"/>
                  <a:gd name="connsiteX1" fmla="*/ 544830 w 1088707"/>
                  <a:gd name="connsiteY1" fmla="*/ 2895600 h 2895600"/>
                  <a:gd name="connsiteX2" fmla="*/ 0 w 1088707"/>
                  <a:gd name="connsiteY2" fmla="*/ 2350770 h 2895600"/>
                  <a:gd name="connsiteX3" fmla="*/ 0 w 1088707"/>
                  <a:gd name="connsiteY3" fmla="*/ 0 h 2895600"/>
                  <a:gd name="connsiteX4" fmla="*/ 1088708 w 1088707"/>
                  <a:gd name="connsiteY4" fmla="*/ 0 h 2895600"/>
                  <a:gd name="connsiteX5" fmla="*/ 1088708 w 1088707"/>
                  <a:gd name="connsiteY5" fmla="*/ 2350770 h 2895600"/>
                  <a:gd name="connsiteX6" fmla="*/ 544830 w 1088707"/>
                  <a:gd name="connsiteY6" fmla="*/ 2895600 h 289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8707" h="2895600">
                    <a:moveTo>
                      <a:pt x="544830" y="2895600"/>
                    </a:moveTo>
                    <a:lnTo>
                      <a:pt x="544830" y="2895600"/>
                    </a:lnTo>
                    <a:cubicBezTo>
                      <a:pt x="243840" y="2895600"/>
                      <a:pt x="0" y="2651760"/>
                      <a:pt x="0" y="2350770"/>
                    </a:cubicBezTo>
                    <a:lnTo>
                      <a:pt x="0" y="0"/>
                    </a:lnTo>
                    <a:lnTo>
                      <a:pt x="1088708" y="0"/>
                    </a:lnTo>
                    <a:lnTo>
                      <a:pt x="1088708" y="2350770"/>
                    </a:lnTo>
                    <a:cubicBezTo>
                      <a:pt x="1088708" y="2651760"/>
                      <a:pt x="844868" y="2895600"/>
                      <a:pt x="544830" y="2895600"/>
                    </a:cubicBezTo>
                    <a:close/>
                  </a:path>
                </a:pathLst>
              </a:custGeom>
              <a:solidFill>
                <a:srgbClr val="FFFFFF"/>
              </a:solidFill>
              <a:ln w="9525" cap="flat">
                <a:noFill/>
                <a:prstDash val="solid"/>
                <a:miter/>
              </a:ln>
              <a:effectLst>
                <a:outerShdw blurRad="127000" dist="38100" dir="5400000" algn="t" rotWithShape="0">
                  <a:prstClr val="black">
                    <a:alpha val="10000"/>
                  </a:prstClr>
                </a:outerShdw>
              </a:effectLst>
            </p:spPr>
            <p:txBody>
              <a:bodyPr rtlCol="0" anchor="ctr"/>
              <a:lstStyle/>
              <a:p>
                <a:endParaRPr lang="en-IN"/>
              </a:p>
            </p:txBody>
          </p:sp>
          <p:sp>
            <p:nvSpPr>
              <p:cNvPr id="43" name="Freeform: Shape 42">
                <a:extLst>
                  <a:ext uri="{FF2B5EF4-FFF2-40B4-BE49-F238E27FC236}">
                    <a16:creationId xmlns:a16="http://schemas.microsoft.com/office/drawing/2014/main" id="{35B2B49F-59C5-12E1-A992-A6557C4AE86F}"/>
                  </a:ext>
                </a:extLst>
              </p:cNvPr>
              <p:cNvSpPr/>
              <p:nvPr/>
            </p:nvSpPr>
            <p:spPr>
              <a:xfrm>
                <a:off x="3291039" y="1941068"/>
                <a:ext cx="2390212" cy="522797"/>
              </a:xfrm>
              <a:custGeom>
                <a:avLst/>
                <a:gdLst>
                  <a:gd name="connsiteX0" fmla="*/ 1383030 w 1383029"/>
                  <a:gd name="connsiteY0" fmla="*/ 361950 h 361950"/>
                  <a:gd name="connsiteX1" fmla="*/ 0 w 1383029"/>
                  <a:gd name="connsiteY1" fmla="*/ 361950 h 361950"/>
                  <a:gd name="connsiteX2" fmla="*/ 127635 w 1383029"/>
                  <a:gd name="connsiteY2" fmla="*/ 180975 h 361950"/>
                  <a:gd name="connsiteX3" fmla="*/ 0 w 1383029"/>
                  <a:gd name="connsiteY3" fmla="*/ 0 h 361950"/>
                  <a:gd name="connsiteX4" fmla="*/ 1383030 w 1383029"/>
                  <a:gd name="connsiteY4" fmla="*/ 0 h 36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029" h="361950">
                    <a:moveTo>
                      <a:pt x="1383030" y="361950"/>
                    </a:moveTo>
                    <a:lnTo>
                      <a:pt x="0" y="361950"/>
                    </a:lnTo>
                    <a:lnTo>
                      <a:pt x="127635" y="180975"/>
                    </a:lnTo>
                    <a:lnTo>
                      <a:pt x="0" y="0"/>
                    </a:lnTo>
                    <a:lnTo>
                      <a:pt x="1383030" y="0"/>
                    </a:lnTo>
                    <a:close/>
                  </a:path>
                </a:pathLst>
              </a:custGeom>
              <a:solidFill>
                <a:srgbClr val="ED8D1E"/>
              </a:solidFill>
              <a:ln w="9525" cap="flat">
                <a:noFill/>
                <a:prstDash val="solid"/>
                <a:miter/>
              </a:ln>
            </p:spPr>
            <p:txBody>
              <a:bodyPr rtlCol="0" anchor="ctr"/>
              <a:lstStyle/>
              <a:p>
                <a:endParaRPr lang="en-IN"/>
              </a:p>
            </p:txBody>
          </p:sp>
          <p:sp>
            <p:nvSpPr>
              <p:cNvPr id="44" name="Freeform: Shape 43">
                <a:extLst>
                  <a:ext uri="{FF2B5EF4-FFF2-40B4-BE49-F238E27FC236}">
                    <a16:creationId xmlns:a16="http://schemas.microsoft.com/office/drawing/2014/main" id="{D1492B5D-D0C6-BF02-B62E-57494DDF6A36}"/>
                  </a:ext>
                </a:extLst>
              </p:cNvPr>
              <p:cNvSpPr/>
              <p:nvPr/>
            </p:nvSpPr>
            <p:spPr>
              <a:xfrm>
                <a:off x="5502399" y="2463865"/>
                <a:ext cx="178852" cy="202239"/>
              </a:xfrm>
              <a:custGeom>
                <a:avLst/>
                <a:gdLst>
                  <a:gd name="connsiteX0" fmla="*/ 123825 w 123825"/>
                  <a:gd name="connsiteY0" fmla="*/ 0 h 140017"/>
                  <a:gd name="connsiteX1" fmla="*/ 0 w 123825"/>
                  <a:gd name="connsiteY1" fmla="*/ 140017 h 140017"/>
                  <a:gd name="connsiteX2" fmla="*/ 0 w 123825"/>
                  <a:gd name="connsiteY2" fmla="*/ 0 h 140017"/>
                </a:gdLst>
                <a:ahLst/>
                <a:cxnLst>
                  <a:cxn ang="0">
                    <a:pos x="connsiteX0" y="connsiteY0"/>
                  </a:cxn>
                  <a:cxn ang="0">
                    <a:pos x="connsiteX1" y="connsiteY1"/>
                  </a:cxn>
                  <a:cxn ang="0">
                    <a:pos x="connsiteX2" y="connsiteY2"/>
                  </a:cxn>
                </a:cxnLst>
                <a:rect l="l" t="t" r="r" b="b"/>
                <a:pathLst>
                  <a:path w="123825" h="140017">
                    <a:moveTo>
                      <a:pt x="123825" y="0"/>
                    </a:moveTo>
                    <a:lnTo>
                      <a:pt x="0" y="140017"/>
                    </a:lnTo>
                    <a:lnTo>
                      <a:pt x="0" y="0"/>
                    </a:lnTo>
                    <a:close/>
                  </a:path>
                </a:pathLst>
              </a:custGeom>
              <a:gradFill>
                <a:gsLst>
                  <a:gs pos="0">
                    <a:srgbClr val="D50000"/>
                  </a:gs>
                  <a:gs pos="50000">
                    <a:srgbClr val="D53E00"/>
                  </a:gs>
                  <a:gs pos="100000">
                    <a:srgbClr val="D57C00"/>
                  </a:gs>
                </a:gsLst>
                <a:lin ang="5400000" scaled="1"/>
              </a:gradFill>
              <a:ln w="9525" cap="flat">
                <a:noFill/>
                <a:prstDash val="solid"/>
                <a:miter/>
              </a:ln>
            </p:spPr>
            <p:txBody>
              <a:bodyPr rtlCol="0" anchor="ctr"/>
              <a:lstStyle/>
              <a:p>
                <a:endParaRPr lang="en-IN"/>
              </a:p>
            </p:txBody>
          </p:sp>
          <p:sp>
            <p:nvSpPr>
              <p:cNvPr id="45" name="Freeform: Shape 44">
                <a:extLst>
                  <a:ext uri="{FF2B5EF4-FFF2-40B4-BE49-F238E27FC236}">
                    <a16:creationId xmlns:a16="http://schemas.microsoft.com/office/drawing/2014/main" id="{36131FF6-78DB-DA88-F788-EE831E61A882}"/>
                  </a:ext>
                </a:extLst>
              </p:cNvPr>
              <p:cNvSpPr/>
              <p:nvPr/>
            </p:nvSpPr>
            <p:spPr>
              <a:xfrm>
                <a:off x="5502399" y="2463865"/>
                <a:ext cx="178852" cy="202239"/>
              </a:xfrm>
              <a:custGeom>
                <a:avLst/>
                <a:gdLst>
                  <a:gd name="connsiteX0" fmla="*/ 123825 w 123825"/>
                  <a:gd name="connsiteY0" fmla="*/ 0 h 140017"/>
                  <a:gd name="connsiteX1" fmla="*/ 0 w 123825"/>
                  <a:gd name="connsiteY1" fmla="*/ 140017 h 140017"/>
                  <a:gd name="connsiteX2" fmla="*/ 0 w 123825"/>
                  <a:gd name="connsiteY2" fmla="*/ 0 h 140017"/>
                </a:gdLst>
                <a:ahLst/>
                <a:cxnLst>
                  <a:cxn ang="0">
                    <a:pos x="connsiteX0" y="connsiteY0"/>
                  </a:cxn>
                  <a:cxn ang="0">
                    <a:pos x="connsiteX1" y="connsiteY1"/>
                  </a:cxn>
                  <a:cxn ang="0">
                    <a:pos x="connsiteX2" y="connsiteY2"/>
                  </a:cxn>
                </a:cxnLst>
                <a:rect l="l" t="t" r="r" b="b"/>
                <a:pathLst>
                  <a:path w="123825" h="140017">
                    <a:moveTo>
                      <a:pt x="123825" y="0"/>
                    </a:moveTo>
                    <a:lnTo>
                      <a:pt x="0" y="140017"/>
                    </a:lnTo>
                    <a:lnTo>
                      <a:pt x="0" y="0"/>
                    </a:lnTo>
                    <a:close/>
                  </a:path>
                </a:pathLst>
              </a:custGeom>
              <a:solidFill>
                <a:schemeClr val="accent3"/>
              </a:solidFill>
              <a:ln w="9525" cap="flat">
                <a:noFill/>
                <a:prstDash val="solid"/>
                <a:miter/>
              </a:ln>
            </p:spPr>
            <p:txBody>
              <a:bodyPr rtlCol="0" anchor="ctr"/>
              <a:lstStyle/>
              <a:p>
                <a:endParaRPr lang="en-IN"/>
              </a:p>
            </p:txBody>
          </p:sp>
          <p:sp>
            <p:nvSpPr>
              <p:cNvPr id="1025" name="TextBox 1024">
                <a:extLst>
                  <a:ext uri="{FF2B5EF4-FFF2-40B4-BE49-F238E27FC236}">
                    <a16:creationId xmlns:a16="http://schemas.microsoft.com/office/drawing/2014/main" id="{64758194-84AC-D789-DCE6-EA60BB4C06DB}"/>
                  </a:ext>
                </a:extLst>
              </p:cNvPr>
              <p:cNvSpPr txBox="1"/>
              <p:nvPr/>
            </p:nvSpPr>
            <p:spPr>
              <a:xfrm>
                <a:off x="3450841" y="2645001"/>
                <a:ext cx="2084408" cy="1785956"/>
              </a:xfrm>
              <a:prstGeom prst="rect">
                <a:avLst/>
              </a:prstGeom>
              <a:noFill/>
            </p:spPr>
            <p:txBody>
              <a:bodyPr wrap="square" lIns="91440" tIns="45720" rIns="91440" bIns="45720" anchor="t">
                <a:spAutoFit/>
              </a:bodyPr>
              <a:lstStyle/>
              <a:p>
                <a:pPr algn="ctr"/>
                <a:r>
                  <a:rPr lang="en-US" sz="1300">
                    <a:solidFill>
                      <a:schemeClr val="tx1">
                        <a:lumMod val="75000"/>
                        <a:lumOff val="25000"/>
                      </a:schemeClr>
                    </a:solidFill>
                    <a:latin typeface="Montserrat"/>
                  </a:rPr>
                  <a:t>Implement NLP-based log categorization</a:t>
                </a:r>
                <a:endParaRPr lang="en-US">
                  <a:solidFill>
                    <a:schemeClr val="tx1">
                      <a:lumMod val="75000"/>
                      <a:lumOff val="25000"/>
                    </a:schemeClr>
                  </a:solidFill>
                  <a:latin typeface="Arial" panose="020B0604020202020204"/>
                  <a:cs typeface="Arial" panose="020B0604020202020204"/>
                </a:endParaRPr>
              </a:p>
              <a:p>
                <a:pPr algn="ctr"/>
                <a:endParaRPr lang="en-US" sz="1300">
                  <a:solidFill>
                    <a:schemeClr val="tx1">
                      <a:lumMod val="75000"/>
                      <a:lumOff val="25000"/>
                    </a:schemeClr>
                  </a:solidFill>
                  <a:latin typeface="Montserrat"/>
                </a:endParaRPr>
              </a:p>
              <a:p>
                <a:pPr algn="ctr"/>
                <a:r>
                  <a:rPr lang="en-US" sz="1300">
                    <a:solidFill>
                      <a:schemeClr val="tx1">
                        <a:lumMod val="75000"/>
                        <a:lumOff val="25000"/>
                      </a:schemeClr>
                    </a:solidFill>
                    <a:latin typeface="Montserrat"/>
                  </a:rPr>
                  <a:t>Leverage Azure Cognitive Services and ML to improve log categorization. </a:t>
                </a:r>
                <a:endParaRPr lang="en-US">
                  <a:solidFill>
                    <a:schemeClr val="tx1">
                      <a:lumMod val="75000"/>
                      <a:lumOff val="25000"/>
                    </a:schemeClr>
                  </a:solidFill>
                  <a:cs typeface="Arial"/>
                </a:endParaRPr>
              </a:p>
              <a:p>
                <a:pPr algn="ctr">
                  <a:spcAft>
                    <a:spcPts val="600"/>
                  </a:spcAft>
                </a:pPr>
                <a:endParaRPr lang="en-US" sz="1300">
                  <a:solidFill>
                    <a:schemeClr val="tx1">
                      <a:lumMod val="75000"/>
                      <a:lumOff val="25000"/>
                    </a:schemeClr>
                  </a:solidFill>
                  <a:latin typeface="Montserrat"/>
                </a:endParaRPr>
              </a:p>
            </p:txBody>
          </p:sp>
          <p:sp>
            <p:nvSpPr>
              <p:cNvPr id="1032" name="TextBox 1031">
                <a:extLst>
                  <a:ext uri="{FF2B5EF4-FFF2-40B4-BE49-F238E27FC236}">
                    <a16:creationId xmlns:a16="http://schemas.microsoft.com/office/drawing/2014/main" id="{2FFF950C-9093-BBAF-B6B0-B800429C8B76}"/>
                  </a:ext>
                </a:extLst>
              </p:cNvPr>
              <p:cNvSpPr txBox="1"/>
              <p:nvPr/>
            </p:nvSpPr>
            <p:spPr>
              <a:xfrm>
                <a:off x="3525902" y="1934434"/>
                <a:ext cx="2018688" cy="446489"/>
              </a:xfrm>
              <a:prstGeom prst="rect">
                <a:avLst/>
              </a:prstGeom>
              <a:noFill/>
            </p:spPr>
            <p:txBody>
              <a:bodyPr wrap="square" lIns="91440" tIns="45720" rIns="91440" bIns="45720" anchor="t">
                <a:spAutoFit/>
              </a:bodyPr>
              <a:lstStyle/>
              <a:p>
                <a:pPr algn="ctr"/>
                <a:r>
                  <a:rPr lang="en-US" sz="1400" b="1">
                    <a:solidFill>
                      <a:schemeClr val="bg1"/>
                    </a:solidFill>
                    <a:latin typeface="Montserrat"/>
                  </a:rPr>
                  <a:t>Log </a:t>
                </a:r>
                <a:r>
                  <a:rPr lang="en-US" sz="1400" b="1">
                    <a:solidFill>
                      <a:schemeClr val="bg1"/>
                    </a:solidFill>
                    <a:latin typeface="Montserrat"/>
                    <a:ea typeface="+mn-lt"/>
                    <a:cs typeface="+mn-lt"/>
                  </a:rPr>
                  <a:t>Categorization</a:t>
                </a:r>
                <a:endParaRPr lang="en-US" sz="1400" b="1">
                  <a:solidFill>
                    <a:schemeClr val="bg1"/>
                  </a:solidFill>
                  <a:latin typeface="Montserrat"/>
                  <a:cs typeface="Arial"/>
                </a:endParaRPr>
              </a:p>
            </p:txBody>
          </p:sp>
        </p:grpSp>
        <p:grpSp>
          <p:nvGrpSpPr>
            <p:cNvPr id="1041" name="Group 1040">
              <a:extLst>
                <a:ext uri="{FF2B5EF4-FFF2-40B4-BE49-F238E27FC236}">
                  <a16:creationId xmlns:a16="http://schemas.microsoft.com/office/drawing/2014/main" id="{9793635A-D45D-528E-1234-3E8155D61188}"/>
                </a:ext>
              </a:extLst>
            </p:cNvPr>
            <p:cNvGrpSpPr/>
            <p:nvPr/>
          </p:nvGrpSpPr>
          <p:grpSpPr>
            <a:xfrm>
              <a:off x="6150076" y="1667288"/>
              <a:ext cx="2358306" cy="3372749"/>
              <a:chOff x="6150076" y="1667288"/>
              <a:chExt cx="2358306" cy="3372749"/>
            </a:xfrm>
          </p:grpSpPr>
          <p:sp>
            <p:nvSpPr>
              <p:cNvPr id="49" name="Freeform: Shape 48">
                <a:extLst>
                  <a:ext uri="{FF2B5EF4-FFF2-40B4-BE49-F238E27FC236}">
                    <a16:creationId xmlns:a16="http://schemas.microsoft.com/office/drawing/2014/main" id="{157BA08A-EB24-7516-958F-80F97A37C41E}"/>
                  </a:ext>
                </a:extLst>
              </p:cNvPr>
              <p:cNvSpPr/>
              <p:nvPr/>
            </p:nvSpPr>
            <p:spPr>
              <a:xfrm>
                <a:off x="6339626" y="1667288"/>
                <a:ext cx="2039710" cy="3372749"/>
              </a:xfrm>
              <a:custGeom>
                <a:avLst/>
                <a:gdLst>
                  <a:gd name="connsiteX0" fmla="*/ 544830 w 1088707"/>
                  <a:gd name="connsiteY0" fmla="*/ 2895600 h 2895600"/>
                  <a:gd name="connsiteX1" fmla="*/ 544830 w 1088707"/>
                  <a:gd name="connsiteY1" fmla="*/ 2895600 h 2895600"/>
                  <a:gd name="connsiteX2" fmla="*/ 0 w 1088707"/>
                  <a:gd name="connsiteY2" fmla="*/ 2350770 h 2895600"/>
                  <a:gd name="connsiteX3" fmla="*/ 0 w 1088707"/>
                  <a:gd name="connsiteY3" fmla="*/ 0 h 2895600"/>
                  <a:gd name="connsiteX4" fmla="*/ 1088708 w 1088707"/>
                  <a:gd name="connsiteY4" fmla="*/ 0 h 2895600"/>
                  <a:gd name="connsiteX5" fmla="*/ 1088708 w 1088707"/>
                  <a:gd name="connsiteY5" fmla="*/ 2350770 h 2895600"/>
                  <a:gd name="connsiteX6" fmla="*/ 544830 w 1088707"/>
                  <a:gd name="connsiteY6" fmla="*/ 2895600 h 289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8707" h="2895600">
                    <a:moveTo>
                      <a:pt x="544830" y="2895600"/>
                    </a:moveTo>
                    <a:lnTo>
                      <a:pt x="544830" y="2895600"/>
                    </a:lnTo>
                    <a:cubicBezTo>
                      <a:pt x="243840" y="2895600"/>
                      <a:pt x="0" y="2651760"/>
                      <a:pt x="0" y="2350770"/>
                    </a:cubicBezTo>
                    <a:lnTo>
                      <a:pt x="0" y="0"/>
                    </a:lnTo>
                    <a:lnTo>
                      <a:pt x="1088708" y="0"/>
                    </a:lnTo>
                    <a:lnTo>
                      <a:pt x="1088708" y="2350770"/>
                    </a:lnTo>
                    <a:cubicBezTo>
                      <a:pt x="1088708" y="2651760"/>
                      <a:pt x="844868" y="2895600"/>
                      <a:pt x="544830" y="2895600"/>
                    </a:cubicBezTo>
                    <a:close/>
                  </a:path>
                </a:pathLst>
              </a:custGeom>
              <a:solidFill>
                <a:srgbClr val="FFFFFF"/>
              </a:solidFill>
              <a:ln w="9525" cap="flat">
                <a:noFill/>
                <a:prstDash val="solid"/>
                <a:miter/>
              </a:ln>
              <a:effectLst>
                <a:outerShdw blurRad="127000" dist="38100" dir="5400000" algn="t" rotWithShape="0">
                  <a:prstClr val="black">
                    <a:alpha val="10000"/>
                  </a:prstClr>
                </a:outerShdw>
              </a:effectLst>
            </p:spPr>
            <p:txBody>
              <a:bodyPr rtlCol="0" anchor="ctr"/>
              <a:lstStyle/>
              <a:p>
                <a:endParaRPr lang="en-IN"/>
              </a:p>
            </p:txBody>
          </p:sp>
          <p:sp>
            <p:nvSpPr>
              <p:cNvPr id="50" name="Freeform: Shape 49">
                <a:extLst>
                  <a:ext uri="{FF2B5EF4-FFF2-40B4-BE49-F238E27FC236}">
                    <a16:creationId xmlns:a16="http://schemas.microsoft.com/office/drawing/2014/main" id="{CD039EF9-3CF9-8935-01BB-9BEC3B64F5BA}"/>
                  </a:ext>
                </a:extLst>
              </p:cNvPr>
              <p:cNvSpPr/>
              <p:nvPr/>
            </p:nvSpPr>
            <p:spPr>
              <a:xfrm>
                <a:off x="6150076" y="1941068"/>
                <a:ext cx="2358306" cy="522797"/>
              </a:xfrm>
              <a:custGeom>
                <a:avLst/>
                <a:gdLst>
                  <a:gd name="connsiteX0" fmla="*/ 1383030 w 1383029"/>
                  <a:gd name="connsiteY0" fmla="*/ 361950 h 361950"/>
                  <a:gd name="connsiteX1" fmla="*/ 0 w 1383029"/>
                  <a:gd name="connsiteY1" fmla="*/ 361950 h 361950"/>
                  <a:gd name="connsiteX2" fmla="*/ 127635 w 1383029"/>
                  <a:gd name="connsiteY2" fmla="*/ 180975 h 361950"/>
                  <a:gd name="connsiteX3" fmla="*/ 0 w 1383029"/>
                  <a:gd name="connsiteY3" fmla="*/ 0 h 361950"/>
                  <a:gd name="connsiteX4" fmla="*/ 1383030 w 1383029"/>
                  <a:gd name="connsiteY4" fmla="*/ 0 h 36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029" h="361950">
                    <a:moveTo>
                      <a:pt x="1383030" y="361950"/>
                    </a:moveTo>
                    <a:lnTo>
                      <a:pt x="0" y="361950"/>
                    </a:lnTo>
                    <a:lnTo>
                      <a:pt x="127635" y="180975"/>
                    </a:lnTo>
                    <a:lnTo>
                      <a:pt x="0" y="0"/>
                    </a:lnTo>
                    <a:lnTo>
                      <a:pt x="1383030" y="0"/>
                    </a:lnTo>
                    <a:close/>
                  </a:path>
                </a:pathLst>
              </a:custGeom>
              <a:solidFill>
                <a:schemeClr val="accent6"/>
              </a:solidFill>
              <a:ln w="9525" cap="flat">
                <a:noFill/>
                <a:prstDash val="solid"/>
                <a:miter/>
              </a:ln>
            </p:spPr>
            <p:txBody>
              <a:bodyPr rtlCol="0" anchor="ctr"/>
              <a:lstStyle/>
              <a:p>
                <a:endParaRPr lang="en-IN"/>
              </a:p>
            </p:txBody>
          </p:sp>
          <p:sp>
            <p:nvSpPr>
              <p:cNvPr id="51" name="Freeform: Shape 50">
                <a:extLst>
                  <a:ext uri="{FF2B5EF4-FFF2-40B4-BE49-F238E27FC236}">
                    <a16:creationId xmlns:a16="http://schemas.microsoft.com/office/drawing/2014/main" id="{993EBFEB-AB47-857C-4DEB-369E0B88DB75}"/>
                  </a:ext>
                </a:extLst>
              </p:cNvPr>
              <p:cNvSpPr/>
              <p:nvPr/>
            </p:nvSpPr>
            <p:spPr>
              <a:xfrm>
                <a:off x="8329529" y="2463865"/>
                <a:ext cx="178852" cy="202239"/>
              </a:xfrm>
              <a:custGeom>
                <a:avLst/>
                <a:gdLst>
                  <a:gd name="connsiteX0" fmla="*/ 123825 w 123825"/>
                  <a:gd name="connsiteY0" fmla="*/ 0 h 140017"/>
                  <a:gd name="connsiteX1" fmla="*/ 0 w 123825"/>
                  <a:gd name="connsiteY1" fmla="*/ 140017 h 140017"/>
                  <a:gd name="connsiteX2" fmla="*/ 0 w 123825"/>
                  <a:gd name="connsiteY2" fmla="*/ 0 h 140017"/>
                </a:gdLst>
                <a:ahLst/>
                <a:cxnLst>
                  <a:cxn ang="0">
                    <a:pos x="connsiteX0" y="connsiteY0"/>
                  </a:cxn>
                  <a:cxn ang="0">
                    <a:pos x="connsiteX1" y="connsiteY1"/>
                  </a:cxn>
                  <a:cxn ang="0">
                    <a:pos x="connsiteX2" y="connsiteY2"/>
                  </a:cxn>
                </a:cxnLst>
                <a:rect l="l" t="t" r="r" b="b"/>
                <a:pathLst>
                  <a:path w="123825" h="140017">
                    <a:moveTo>
                      <a:pt x="123825" y="0"/>
                    </a:moveTo>
                    <a:lnTo>
                      <a:pt x="0" y="140017"/>
                    </a:lnTo>
                    <a:lnTo>
                      <a:pt x="0" y="0"/>
                    </a:lnTo>
                    <a:close/>
                  </a:path>
                </a:pathLst>
              </a:custGeom>
              <a:gradFill>
                <a:gsLst>
                  <a:gs pos="0">
                    <a:srgbClr val="D50000"/>
                  </a:gs>
                  <a:gs pos="50000">
                    <a:srgbClr val="D53E00"/>
                  </a:gs>
                  <a:gs pos="100000">
                    <a:srgbClr val="D57C00"/>
                  </a:gs>
                </a:gsLst>
                <a:lin ang="5400000" scaled="1"/>
              </a:gradFill>
              <a:ln w="9525" cap="flat">
                <a:noFill/>
                <a:prstDash val="solid"/>
                <a:miter/>
              </a:ln>
            </p:spPr>
            <p:txBody>
              <a:bodyPr rtlCol="0" anchor="ctr"/>
              <a:lstStyle/>
              <a:p>
                <a:endParaRPr lang="en-IN"/>
              </a:p>
            </p:txBody>
          </p:sp>
          <p:sp>
            <p:nvSpPr>
              <p:cNvPr id="52" name="Freeform: Shape 51">
                <a:extLst>
                  <a:ext uri="{FF2B5EF4-FFF2-40B4-BE49-F238E27FC236}">
                    <a16:creationId xmlns:a16="http://schemas.microsoft.com/office/drawing/2014/main" id="{51B086AA-DD93-3359-8A18-4356E6F54135}"/>
                  </a:ext>
                </a:extLst>
              </p:cNvPr>
              <p:cNvSpPr/>
              <p:nvPr/>
            </p:nvSpPr>
            <p:spPr>
              <a:xfrm>
                <a:off x="8329529" y="2463865"/>
                <a:ext cx="178852" cy="202239"/>
              </a:xfrm>
              <a:custGeom>
                <a:avLst/>
                <a:gdLst>
                  <a:gd name="connsiteX0" fmla="*/ 123825 w 123825"/>
                  <a:gd name="connsiteY0" fmla="*/ 0 h 140017"/>
                  <a:gd name="connsiteX1" fmla="*/ 0 w 123825"/>
                  <a:gd name="connsiteY1" fmla="*/ 140017 h 140017"/>
                  <a:gd name="connsiteX2" fmla="*/ 0 w 123825"/>
                  <a:gd name="connsiteY2" fmla="*/ 0 h 140017"/>
                </a:gdLst>
                <a:ahLst/>
                <a:cxnLst>
                  <a:cxn ang="0">
                    <a:pos x="connsiteX0" y="connsiteY0"/>
                  </a:cxn>
                  <a:cxn ang="0">
                    <a:pos x="connsiteX1" y="connsiteY1"/>
                  </a:cxn>
                  <a:cxn ang="0">
                    <a:pos x="connsiteX2" y="connsiteY2"/>
                  </a:cxn>
                </a:cxnLst>
                <a:rect l="l" t="t" r="r" b="b"/>
                <a:pathLst>
                  <a:path w="123825" h="140017">
                    <a:moveTo>
                      <a:pt x="123825" y="0"/>
                    </a:moveTo>
                    <a:lnTo>
                      <a:pt x="0" y="140017"/>
                    </a:lnTo>
                    <a:lnTo>
                      <a:pt x="0" y="0"/>
                    </a:lnTo>
                    <a:close/>
                  </a:path>
                </a:pathLst>
              </a:custGeom>
              <a:solidFill>
                <a:schemeClr val="accent6">
                  <a:lumMod val="75000"/>
                </a:schemeClr>
              </a:solidFill>
              <a:ln w="9525" cap="flat">
                <a:noFill/>
                <a:prstDash val="solid"/>
                <a:miter/>
              </a:ln>
            </p:spPr>
            <p:txBody>
              <a:bodyPr rtlCol="0" anchor="ctr"/>
              <a:lstStyle/>
              <a:p>
                <a:endParaRPr lang="en-IN"/>
              </a:p>
            </p:txBody>
          </p:sp>
          <p:sp>
            <p:nvSpPr>
              <p:cNvPr id="1027" name="TextBox 1026">
                <a:extLst>
                  <a:ext uri="{FF2B5EF4-FFF2-40B4-BE49-F238E27FC236}">
                    <a16:creationId xmlns:a16="http://schemas.microsoft.com/office/drawing/2014/main" id="{5BFC3218-2E20-ED1F-C9D3-7E809BF62B73}"/>
                  </a:ext>
                </a:extLst>
              </p:cNvPr>
              <p:cNvSpPr txBox="1"/>
              <p:nvPr/>
            </p:nvSpPr>
            <p:spPr>
              <a:xfrm>
                <a:off x="6331046" y="2649919"/>
                <a:ext cx="2067981" cy="2284974"/>
              </a:xfrm>
              <a:prstGeom prst="rect">
                <a:avLst/>
              </a:prstGeom>
              <a:noFill/>
            </p:spPr>
            <p:txBody>
              <a:bodyPr wrap="square" lIns="91440" tIns="45720" rIns="91440" bIns="45720" anchor="t">
                <a:spAutoFit/>
              </a:bodyPr>
              <a:lstStyle/>
              <a:p>
                <a:pPr algn="ctr"/>
                <a:r>
                  <a:rPr lang="en-US" sz="1300">
                    <a:solidFill>
                      <a:schemeClr val="tx1">
                        <a:lumMod val="75000"/>
                        <a:lumOff val="25000"/>
                      </a:schemeClr>
                    </a:solidFill>
                    <a:latin typeface="Montserrat"/>
                  </a:rPr>
                  <a:t>Critical context and predictive insights from logs</a:t>
                </a:r>
                <a:br>
                  <a:rPr lang="en-US" sz="1300">
                    <a:solidFill>
                      <a:schemeClr val="tx1">
                        <a:lumMod val="75000"/>
                        <a:lumOff val="25000"/>
                      </a:schemeClr>
                    </a:solidFill>
                    <a:latin typeface="Montserrat"/>
                  </a:rPr>
                </a:br>
                <a:r>
                  <a:rPr lang="en-US" sz="1300">
                    <a:solidFill>
                      <a:schemeClr val="tx1">
                        <a:lumMod val="75000"/>
                        <a:lumOff val="25000"/>
                      </a:schemeClr>
                    </a:solidFill>
                    <a:latin typeface="Montserrat"/>
                  </a:rPr>
                  <a:t> </a:t>
                </a:r>
              </a:p>
              <a:p>
                <a:pPr algn="ctr"/>
                <a:r>
                  <a:rPr lang="en-US" sz="1300">
                    <a:solidFill>
                      <a:schemeClr val="tx1">
                        <a:lumMod val="75000"/>
                        <a:lumOff val="25000"/>
                      </a:schemeClr>
                    </a:solidFill>
                    <a:latin typeface="Montserrat"/>
                  </a:rPr>
                  <a:t>Based on the insights, logs are clustered using K means clustering with silhouette score. </a:t>
                </a:r>
                <a:br>
                  <a:rPr lang="en-US" sz="1300">
                    <a:latin typeface="Montserrat"/>
                  </a:rPr>
                </a:br>
                <a:endParaRPr lang="en-US" sz="1300">
                  <a:solidFill>
                    <a:schemeClr val="tx1">
                      <a:lumMod val="75000"/>
                      <a:lumOff val="25000"/>
                    </a:schemeClr>
                  </a:solidFill>
                  <a:latin typeface="Montserrat"/>
                </a:endParaRPr>
              </a:p>
              <a:p>
                <a:pPr algn="ctr"/>
                <a:r>
                  <a:rPr lang="en-US" sz="1200">
                    <a:solidFill>
                      <a:schemeClr val="tx1">
                        <a:lumMod val="75000"/>
                        <a:lumOff val="25000"/>
                      </a:schemeClr>
                    </a:solidFill>
                    <a:latin typeface="Montserrat"/>
                  </a:rPr>
                  <a:t> </a:t>
                </a:r>
                <a:endParaRPr lang="en-US" sz="1200">
                  <a:solidFill>
                    <a:schemeClr val="tx1">
                      <a:lumMod val="75000"/>
                      <a:lumOff val="25000"/>
                    </a:schemeClr>
                  </a:solidFill>
                  <a:cs typeface="Arial"/>
                </a:endParaRPr>
              </a:p>
            </p:txBody>
          </p:sp>
          <p:sp>
            <p:nvSpPr>
              <p:cNvPr id="1033" name="TextBox 1032">
                <a:extLst>
                  <a:ext uri="{FF2B5EF4-FFF2-40B4-BE49-F238E27FC236}">
                    <a16:creationId xmlns:a16="http://schemas.microsoft.com/office/drawing/2014/main" id="{029D9C61-303E-B377-3BA0-B2C521277BE8}"/>
                  </a:ext>
                </a:extLst>
              </p:cNvPr>
              <p:cNvSpPr txBox="1"/>
              <p:nvPr/>
            </p:nvSpPr>
            <p:spPr>
              <a:xfrm>
                <a:off x="6315359" y="1969278"/>
                <a:ext cx="2048948" cy="446489"/>
              </a:xfrm>
              <a:prstGeom prst="rect">
                <a:avLst/>
              </a:prstGeom>
              <a:noFill/>
            </p:spPr>
            <p:txBody>
              <a:bodyPr wrap="square" lIns="91440" tIns="45720" rIns="91440" bIns="45720" anchor="t">
                <a:spAutoFit/>
              </a:bodyPr>
              <a:lstStyle/>
              <a:p>
                <a:pPr algn="ctr"/>
                <a:r>
                  <a:rPr lang="en-US" sz="1400" b="1">
                    <a:solidFill>
                      <a:schemeClr val="bg1"/>
                    </a:solidFill>
                    <a:latin typeface="Montserrat"/>
                  </a:rPr>
                  <a:t>Contextual</a:t>
                </a:r>
                <a:r>
                  <a:rPr lang="en-US" sz="1400" b="1" cap="all">
                    <a:solidFill>
                      <a:srgbClr val="555555"/>
                    </a:solidFill>
                    <a:latin typeface="Arial"/>
                    <a:cs typeface="Arial"/>
                  </a:rPr>
                  <a:t> </a:t>
                </a:r>
                <a:r>
                  <a:rPr lang="en-US" sz="1400" b="1">
                    <a:solidFill>
                      <a:schemeClr val="bg1"/>
                    </a:solidFill>
                    <a:latin typeface="Montserrat"/>
                  </a:rPr>
                  <a:t>Insights</a:t>
                </a:r>
                <a:r>
                  <a:rPr lang="en-US" sz="1400">
                    <a:solidFill>
                      <a:srgbClr val="000000"/>
                    </a:solidFill>
                    <a:latin typeface="Arial"/>
                    <a:cs typeface="Arial"/>
                  </a:rPr>
                  <a:t> </a:t>
                </a:r>
                <a:endParaRPr lang="en-IN" sz="1400">
                  <a:solidFill>
                    <a:srgbClr val="555555"/>
                  </a:solidFill>
                  <a:latin typeface="Arial"/>
                  <a:cs typeface="Arial"/>
                </a:endParaRPr>
              </a:p>
            </p:txBody>
          </p:sp>
        </p:grpSp>
        <p:grpSp>
          <p:nvGrpSpPr>
            <p:cNvPr id="1040" name="Group 1039">
              <a:extLst>
                <a:ext uri="{FF2B5EF4-FFF2-40B4-BE49-F238E27FC236}">
                  <a16:creationId xmlns:a16="http://schemas.microsoft.com/office/drawing/2014/main" id="{802CE8DB-2D74-0E00-3DB0-0A42B229420D}"/>
                </a:ext>
              </a:extLst>
            </p:cNvPr>
            <p:cNvGrpSpPr/>
            <p:nvPr/>
          </p:nvGrpSpPr>
          <p:grpSpPr>
            <a:xfrm>
              <a:off x="8973254" y="1667288"/>
              <a:ext cx="2362258" cy="3372749"/>
              <a:chOff x="8973254" y="1667288"/>
              <a:chExt cx="2362258" cy="3372749"/>
            </a:xfrm>
          </p:grpSpPr>
          <p:sp>
            <p:nvSpPr>
              <p:cNvPr id="56" name="Freeform: Shape 55">
                <a:extLst>
                  <a:ext uri="{FF2B5EF4-FFF2-40B4-BE49-F238E27FC236}">
                    <a16:creationId xmlns:a16="http://schemas.microsoft.com/office/drawing/2014/main" id="{05DCC1FE-975C-7512-86C1-256D861DC527}"/>
                  </a:ext>
                </a:extLst>
              </p:cNvPr>
              <p:cNvSpPr/>
              <p:nvPr/>
            </p:nvSpPr>
            <p:spPr>
              <a:xfrm>
                <a:off x="9166758" y="1667288"/>
                <a:ext cx="2092655" cy="3372749"/>
              </a:xfrm>
              <a:custGeom>
                <a:avLst/>
                <a:gdLst>
                  <a:gd name="connsiteX0" fmla="*/ 544830 w 1088707"/>
                  <a:gd name="connsiteY0" fmla="*/ 2895600 h 2895600"/>
                  <a:gd name="connsiteX1" fmla="*/ 544830 w 1088707"/>
                  <a:gd name="connsiteY1" fmla="*/ 2895600 h 2895600"/>
                  <a:gd name="connsiteX2" fmla="*/ 0 w 1088707"/>
                  <a:gd name="connsiteY2" fmla="*/ 2350770 h 2895600"/>
                  <a:gd name="connsiteX3" fmla="*/ 0 w 1088707"/>
                  <a:gd name="connsiteY3" fmla="*/ 0 h 2895600"/>
                  <a:gd name="connsiteX4" fmla="*/ 1088708 w 1088707"/>
                  <a:gd name="connsiteY4" fmla="*/ 0 h 2895600"/>
                  <a:gd name="connsiteX5" fmla="*/ 1088708 w 1088707"/>
                  <a:gd name="connsiteY5" fmla="*/ 2350770 h 2895600"/>
                  <a:gd name="connsiteX6" fmla="*/ 544830 w 1088707"/>
                  <a:gd name="connsiteY6" fmla="*/ 2895600 h 289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8707" h="2895600">
                    <a:moveTo>
                      <a:pt x="544830" y="2895600"/>
                    </a:moveTo>
                    <a:lnTo>
                      <a:pt x="544830" y="2895600"/>
                    </a:lnTo>
                    <a:cubicBezTo>
                      <a:pt x="243840" y="2895600"/>
                      <a:pt x="0" y="2651760"/>
                      <a:pt x="0" y="2350770"/>
                    </a:cubicBezTo>
                    <a:lnTo>
                      <a:pt x="0" y="0"/>
                    </a:lnTo>
                    <a:lnTo>
                      <a:pt x="1088708" y="0"/>
                    </a:lnTo>
                    <a:lnTo>
                      <a:pt x="1088708" y="2350770"/>
                    </a:lnTo>
                    <a:cubicBezTo>
                      <a:pt x="1088708" y="2651760"/>
                      <a:pt x="844868" y="2895600"/>
                      <a:pt x="544830" y="2895600"/>
                    </a:cubicBezTo>
                    <a:close/>
                  </a:path>
                </a:pathLst>
              </a:custGeom>
              <a:solidFill>
                <a:srgbClr val="FFFFFF"/>
              </a:solidFill>
              <a:ln w="9525" cap="flat">
                <a:noFill/>
                <a:prstDash val="solid"/>
                <a:miter/>
              </a:ln>
              <a:effectLst>
                <a:outerShdw blurRad="127000" dist="38100" dir="5400000" algn="t" rotWithShape="0">
                  <a:prstClr val="black">
                    <a:alpha val="10000"/>
                  </a:prstClr>
                </a:outerShdw>
              </a:effectLst>
            </p:spPr>
            <p:txBody>
              <a:bodyPr rtlCol="0" anchor="ctr"/>
              <a:lstStyle/>
              <a:p>
                <a:endParaRPr lang="en-IN"/>
              </a:p>
            </p:txBody>
          </p:sp>
          <p:sp>
            <p:nvSpPr>
              <p:cNvPr id="57" name="Freeform: Shape 56">
                <a:extLst>
                  <a:ext uri="{FF2B5EF4-FFF2-40B4-BE49-F238E27FC236}">
                    <a16:creationId xmlns:a16="http://schemas.microsoft.com/office/drawing/2014/main" id="{8F89316F-6484-1A1B-7A6E-886FAAECC679}"/>
                  </a:ext>
                </a:extLst>
              </p:cNvPr>
              <p:cNvSpPr/>
              <p:nvPr/>
            </p:nvSpPr>
            <p:spPr>
              <a:xfrm>
                <a:off x="8973254" y="1941068"/>
                <a:ext cx="2362258" cy="522797"/>
              </a:xfrm>
              <a:custGeom>
                <a:avLst/>
                <a:gdLst>
                  <a:gd name="connsiteX0" fmla="*/ 1383030 w 1383029"/>
                  <a:gd name="connsiteY0" fmla="*/ 361950 h 361950"/>
                  <a:gd name="connsiteX1" fmla="*/ 0 w 1383029"/>
                  <a:gd name="connsiteY1" fmla="*/ 361950 h 361950"/>
                  <a:gd name="connsiteX2" fmla="*/ 127635 w 1383029"/>
                  <a:gd name="connsiteY2" fmla="*/ 180975 h 361950"/>
                  <a:gd name="connsiteX3" fmla="*/ 0 w 1383029"/>
                  <a:gd name="connsiteY3" fmla="*/ 0 h 361950"/>
                  <a:gd name="connsiteX4" fmla="*/ 1383030 w 1383029"/>
                  <a:gd name="connsiteY4" fmla="*/ 0 h 36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029" h="361950">
                    <a:moveTo>
                      <a:pt x="1383030" y="361950"/>
                    </a:moveTo>
                    <a:lnTo>
                      <a:pt x="0" y="361950"/>
                    </a:lnTo>
                    <a:lnTo>
                      <a:pt x="127635" y="180975"/>
                    </a:lnTo>
                    <a:lnTo>
                      <a:pt x="0" y="0"/>
                    </a:lnTo>
                    <a:lnTo>
                      <a:pt x="1383030" y="0"/>
                    </a:lnTo>
                    <a:close/>
                  </a:path>
                </a:pathLst>
              </a:custGeom>
              <a:solidFill>
                <a:srgbClr val="FFCD2F"/>
              </a:solidFill>
              <a:ln w="9525" cap="flat">
                <a:noFill/>
                <a:prstDash val="solid"/>
                <a:miter/>
              </a:ln>
            </p:spPr>
            <p:txBody>
              <a:bodyPr rtlCol="0" anchor="ctr"/>
              <a:lstStyle/>
              <a:p>
                <a:endParaRPr lang="en-IN"/>
              </a:p>
            </p:txBody>
          </p:sp>
          <p:sp>
            <p:nvSpPr>
              <p:cNvPr id="58" name="Freeform: Shape 57">
                <a:extLst>
                  <a:ext uri="{FF2B5EF4-FFF2-40B4-BE49-F238E27FC236}">
                    <a16:creationId xmlns:a16="http://schemas.microsoft.com/office/drawing/2014/main" id="{F9F2DE18-B253-DA1E-41F8-74EB4EFA849E}"/>
                  </a:ext>
                </a:extLst>
              </p:cNvPr>
              <p:cNvSpPr/>
              <p:nvPr/>
            </p:nvSpPr>
            <p:spPr>
              <a:xfrm>
                <a:off x="11156660" y="2463865"/>
                <a:ext cx="178852" cy="202239"/>
              </a:xfrm>
              <a:custGeom>
                <a:avLst/>
                <a:gdLst>
                  <a:gd name="connsiteX0" fmla="*/ 123825 w 123825"/>
                  <a:gd name="connsiteY0" fmla="*/ 0 h 140017"/>
                  <a:gd name="connsiteX1" fmla="*/ 0 w 123825"/>
                  <a:gd name="connsiteY1" fmla="*/ 140017 h 140017"/>
                  <a:gd name="connsiteX2" fmla="*/ 0 w 123825"/>
                  <a:gd name="connsiteY2" fmla="*/ 0 h 140017"/>
                </a:gdLst>
                <a:ahLst/>
                <a:cxnLst>
                  <a:cxn ang="0">
                    <a:pos x="connsiteX0" y="connsiteY0"/>
                  </a:cxn>
                  <a:cxn ang="0">
                    <a:pos x="connsiteX1" y="connsiteY1"/>
                  </a:cxn>
                  <a:cxn ang="0">
                    <a:pos x="connsiteX2" y="connsiteY2"/>
                  </a:cxn>
                </a:cxnLst>
                <a:rect l="l" t="t" r="r" b="b"/>
                <a:pathLst>
                  <a:path w="123825" h="140017">
                    <a:moveTo>
                      <a:pt x="123825" y="0"/>
                    </a:moveTo>
                    <a:lnTo>
                      <a:pt x="0" y="140017"/>
                    </a:lnTo>
                    <a:lnTo>
                      <a:pt x="0" y="0"/>
                    </a:lnTo>
                    <a:close/>
                  </a:path>
                </a:pathLst>
              </a:custGeom>
              <a:solidFill>
                <a:schemeClr val="accent6">
                  <a:lumMod val="75000"/>
                </a:schemeClr>
              </a:solidFill>
              <a:ln w="9525" cap="flat">
                <a:noFill/>
                <a:prstDash val="solid"/>
                <a:miter/>
              </a:ln>
            </p:spPr>
            <p:txBody>
              <a:bodyPr rtlCol="0" anchor="ctr"/>
              <a:lstStyle/>
              <a:p>
                <a:endParaRPr lang="en-IN"/>
              </a:p>
            </p:txBody>
          </p:sp>
          <p:sp>
            <p:nvSpPr>
              <p:cNvPr id="1028" name="TextBox 1027">
                <a:extLst>
                  <a:ext uri="{FF2B5EF4-FFF2-40B4-BE49-F238E27FC236}">
                    <a16:creationId xmlns:a16="http://schemas.microsoft.com/office/drawing/2014/main" id="{14F1AC83-A6B6-BDA2-A4D1-31A52D0E0666}"/>
                  </a:ext>
                </a:extLst>
              </p:cNvPr>
              <p:cNvSpPr txBox="1"/>
              <p:nvPr/>
            </p:nvSpPr>
            <p:spPr>
              <a:xfrm>
                <a:off x="9139628" y="2652784"/>
                <a:ext cx="2057174" cy="1917276"/>
              </a:xfrm>
              <a:prstGeom prst="rect">
                <a:avLst/>
              </a:prstGeom>
              <a:noFill/>
            </p:spPr>
            <p:txBody>
              <a:bodyPr wrap="square" lIns="91440" tIns="45720" rIns="91440" bIns="45720" anchor="t">
                <a:spAutoFit/>
              </a:bodyPr>
              <a:lstStyle/>
              <a:p>
                <a:pPr algn="ctr">
                  <a:spcAft>
                    <a:spcPts val="600"/>
                  </a:spcAft>
                </a:pPr>
                <a:r>
                  <a:rPr lang="en-US" sz="1300">
                    <a:solidFill>
                      <a:schemeClr val="tx1">
                        <a:lumMod val="75000"/>
                        <a:lumOff val="25000"/>
                      </a:schemeClr>
                    </a:solidFill>
                    <a:latin typeface="Montserrat"/>
                  </a:rPr>
                  <a:t>Leverage Azure Monitor and Azure ML to create a model </a:t>
                </a:r>
                <a:endParaRPr lang="en-IN" sz="1300">
                  <a:solidFill>
                    <a:schemeClr val="tx1">
                      <a:lumMod val="75000"/>
                      <a:lumOff val="25000"/>
                    </a:schemeClr>
                  </a:solidFill>
                  <a:latin typeface="Montserrat"/>
                </a:endParaRPr>
              </a:p>
              <a:p>
                <a:pPr algn="ctr">
                  <a:spcAft>
                    <a:spcPts val="600"/>
                  </a:spcAft>
                </a:pPr>
                <a:endParaRPr lang="en-US" sz="1300">
                  <a:solidFill>
                    <a:schemeClr val="tx1">
                      <a:lumMod val="75000"/>
                      <a:lumOff val="25000"/>
                    </a:schemeClr>
                  </a:solidFill>
                  <a:latin typeface="Montserrat"/>
                </a:endParaRPr>
              </a:p>
              <a:p>
                <a:pPr algn="ctr">
                  <a:spcAft>
                    <a:spcPts val="600"/>
                  </a:spcAft>
                </a:pPr>
                <a:r>
                  <a:rPr lang="en-US" sz="1300">
                    <a:solidFill>
                      <a:schemeClr val="tx1">
                        <a:lumMod val="75000"/>
                        <a:lumOff val="25000"/>
                      </a:schemeClr>
                    </a:solidFill>
                    <a:latin typeface="Montserrat"/>
                  </a:rPr>
                  <a:t>Alert thresholds with KQL based on logs patterns with historical data</a:t>
                </a:r>
                <a:endParaRPr lang="en-IN" sz="1300">
                  <a:solidFill>
                    <a:schemeClr val="tx1">
                      <a:lumMod val="75000"/>
                      <a:lumOff val="25000"/>
                    </a:schemeClr>
                  </a:solidFill>
                  <a:latin typeface="Montserrat"/>
                </a:endParaRPr>
              </a:p>
            </p:txBody>
          </p:sp>
          <p:sp>
            <p:nvSpPr>
              <p:cNvPr id="1034" name="TextBox 1033">
                <a:extLst>
                  <a:ext uri="{FF2B5EF4-FFF2-40B4-BE49-F238E27FC236}">
                    <a16:creationId xmlns:a16="http://schemas.microsoft.com/office/drawing/2014/main" id="{64D39417-8FAA-541F-1FD7-42C3FA8D5334}"/>
                  </a:ext>
                </a:extLst>
              </p:cNvPr>
              <p:cNvSpPr txBox="1"/>
              <p:nvPr/>
            </p:nvSpPr>
            <p:spPr>
              <a:xfrm>
                <a:off x="9175622" y="1970023"/>
                <a:ext cx="2146917" cy="446489"/>
              </a:xfrm>
              <a:prstGeom prst="rect">
                <a:avLst/>
              </a:prstGeom>
              <a:noFill/>
            </p:spPr>
            <p:txBody>
              <a:bodyPr wrap="square" lIns="91440" tIns="45720" rIns="91440" bIns="45720" anchor="t">
                <a:spAutoFit/>
              </a:bodyPr>
              <a:lstStyle/>
              <a:p>
                <a:pPr algn="ctr"/>
                <a:r>
                  <a:rPr lang="en-US" sz="1400" b="1">
                    <a:solidFill>
                      <a:schemeClr val="bg1"/>
                    </a:solidFill>
                    <a:latin typeface="Montserrat"/>
                  </a:rPr>
                  <a:t>Proactive Monitoring​</a:t>
                </a:r>
                <a:endParaRPr lang="en-IN" sz="1400" b="1">
                  <a:solidFill>
                    <a:schemeClr val="bg1"/>
                  </a:solidFill>
                  <a:latin typeface="Montserrat"/>
                </a:endParaRPr>
              </a:p>
            </p:txBody>
          </p:sp>
        </p:grpSp>
      </p:grpSp>
      <p:cxnSp>
        <p:nvCxnSpPr>
          <p:cNvPr id="6" name="Straight Connector 5">
            <a:extLst>
              <a:ext uri="{FF2B5EF4-FFF2-40B4-BE49-F238E27FC236}">
                <a16:creationId xmlns:a16="http://schemas.microsoft.com/office/drawing/2014/main" id="{37712A53-FD77-1BE9-8C02-A4E66ACA38A6}"/>
              </a:ext>
              <a:ext uri="{C183D7F6-B498-43B3-948B-1728B52AA6E4}">
                <adec:decorative xmlns:adec="http://schemas.microsoft.com/office/drawing/2017/decorative" val="1"/>
              </a:ext>
            </a:extLst>
          </p:cNvPr>
          <p:cNvCxnSpPr>
            <a:cxnSpLocks/>
          </p:cNvCxnSpPr>
          <p:nvPr/>
        </p:nvCxnSpPr>
        <p:spPr>
          <a:xfrm>
            <a:off x="488191" y="923736"/>
            <a:ext cx="10855834"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sp>
        <p:nvSpPr>
          <p:cNvPr id="1094" name="Rectangle: Rounded Corners 1093">
            <a:extLst>
              <a:ext uri="{FF2B5EF4-FFF2-40B4-BE49-F238E27FC236}">
                <a16:creationId xmlns:a16="http://schemas.microsoft.com/office/drawing/2014/main" id="{14568D27-3E4A-26F5-A1B5-99C8E06F6204}"/>
              </a:ext>
            </a:extLst>
          </p:cNvPr>
          <p:cNvSpPr/>
          <p:nvPr/>
        </p:nvSpPr>
        <p:spPr>
          <a:xfrm>
            <a:off x="491591" y="1097018"/>
            <a:ext cx="10859277" cy="1056240"/>
          </a:xfrm>
          <a:prstGeom prst="roundRect">
            <a:avLst/>
          </a:prstGeom>
          <a:solidFill>
            <a:schemeClr val="bg2">
              <a:lumMod val="95000"/>
            </a:schemeClr>
          </a:solidFill>
          <a:ln>
            <a:solidFill>
              <a:schemeClr val="accent3">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700" b="1">
                <a:solidFill>
                  <a:schemeClr val="tx1"/>
                </a:solidFill>
                <a:latin typeface="Cambria"/>
                <a:ea typeface="Cambria"/>
                <a:cs typeface="Arial"/>
              </a:rPr>
              <a:t>  Challenges</a:t>
            </a:r>
            <a:r>
              <a:rPr lang="en-US" sz="1700">
                <a:solidFill>
                  <a:schemeClr val="tx1"/>
                </a:solidFill>
                <a:latin typeface="Cambria"/>
                <a:ea typeface="Cambria"/>
                <a:cs typeface="Arial"/>
              </a:rPr>
              <a:t>  : </a:t>
            </a:r>
            <a:r>
              <a:rPr lang="en-US" sz="1700">
                <a:solidFill>
                  <a:schemeClr val="tx1"/>
                </a:solidFill>
                <a:latin typeface="Cambria"/>
                <a:ea typeface="Cambria"/>
                <a:cs typeface="+mn-lt"/>
              </a:rPr>
              <a:t>Datadog demands substantial manual work for log categorization and root cause analysis, causing delays in resolving system issues.</a:t>
            </a:r>
          </a:p>
          <a:p>
            <a:pPr algn="ctr">
              <a:lnSpc>
                <a:spcPct val="150000"/>
              </a:lnSpc>
            </a:pPr>
            <a:r>
              <a:rPr lang="en-US" sz="1700" b="1">
                <a:solidFill>
                  <a:schemeClr val="tx1"/>
                </a:solidFill>
                <a:latin typeface="Cambria"/>
                <a:ea typeface="Cambria"/>
                <a:cs typeface="Arial"/>
              </a:rPr>
              <a:t>  Solution: </a:t>
            </a:r>
            <a:r>
              <a:rPr lang="en-US" sz="1700">
                <a:solidFill>
                  <a:schemeClr val="tx1"/>
                </a:solidFill>
                <a:latin typeface="Cambria"/>
                <a:ea typeface="Cambria"/>
                <a:cs typeface="+mn-lt"/>
              </a:rPr>
              <a:t>Leverage Azure Log Analytics to analyze, group, and extract insights from logs using AI/ML.</a:t>
            </a:r>
          </a:p>
        </p:txBody>
      </p:sp>
      <p:sp>
        <p:nvSpPr>
          <p:cNvPr id="1097" name="Rectangle: Rounded Corners 1096">
            <a:extLst>
              <a:ext uri="{FF2B5EF4-FFF2-40B4-BE49-F238E27FC236}">
                <a16:creationId xmlns:a16="http://schemas.microsoft.com/office/drawing/2014/main" id="{6E980E02-E91C-EB7E-9BF2-50614CBC5CB6}"/>
              </a:ext>
            </a:extLst>
          </p:cNvPr>
          <p:cNvSpPr/>
          <p:nvPr/>
        </p:nvSpPr>
        <p:spPr>
          <a:xfrm>
            <a:off x="496639" y="4047724"/>
            <a:ext cx="2047741" cy="2159066"/>
          </a:xfrm>
          <a:prstGeom prst="roundRect">
            <a:avLst/>
          </a:prstGeom>
          <a:solidFill>
            <a:schemeClr val="bg2">
              <a:lumMod val="95000"/>
            </a:schemeClr>
          </a:solidFill>
          <a:ln>
            <a:solidFill>
              <a:schemeClr val="accent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555555"/>
                </a:solidFill>
                <a:latin typeface="Arial" panose="020B0604020202020204"/>
                <a:ea typeface="Cambria"/>
                <a:cs typeface="Arial"/>
              </a:rPr>
              <a:t>Key Microsoft Azure Components</a:t>
            </a:r>
            <a:r>
              <a:rPr lang="en-US" sz="1400" b="1" dirty="0">
                <a:solidFill>
                  <a:srgbClr val="555555"/>
                </a:solidFill>
                <a:ea typeface="+mn-lt"/>
                <a:cs typeface="+mn-lt"/>
              </a:rPr>
              <a:t> </a:t>
            </a:r>
            <a:endParaRPr lang="en-US" sz="1400" b="1" dirty="0">
              <a:solidFill>
                <a:srgbClr val="FFFFFF"/>
              </a:solidFill>
              <a:latin typeface="Arial" panose="020B0604020202020204"/>
              <a:ea typeface="Cambria"/>
              <a:cs typeface="Arial"/>
            </a:endParaRPr>
          </a:p>
          <a:p>
            <a:endParaRPr lang="en-US" sz="1400" b="1" dirty="0">
              <a:solidFill>
                <a:srgbClr val="555555"/>
              </a:solidFill>
              <a:latin typeface="Arial"/>
              <a:ea typeface="Cambria"/>
              <a:cs typeface="Arial"/>
            </a:endParaRPr>
          </a:p>
          <a:p>
            <a:pPr marL="285750" indent="-285750">
              <a:buFont typeface="Wingdings"/>
              <a:buChar char="ü"/>
            </a:pPr>
            <a:r>
              <a:rPr lang="en-US" sz="1400" dirty="0">
                <a:solidFill>
                  <a:srgbClr val="555555"/>
                </a:solidFill>
                <a:latin typeface="Cambria"/>
                <a:ea typeface="Cambria"/>
                <a:cs typeface="Arial"/>
              </a:rPr>
              <a:t>Azure Data Explorer/Log Analytics</a:t>
            </a:r>
            <a:endParaRPr lang="en-US" sz="1400" dirty="0">
              <a:solidFill>
                <a:srgbClr val="FFFFFF"/>
              </a:solidFill>
              <a:latin typeface="Arial" panose="020B0604020202020204"/>
              <a:ea typeface="Cambria"/>
              <a:cs typeface="Arial"/>
            </a:endParaRPr>
          </a:p>
          <a:p>
            <a:pPr marL="285750" indent="-285750">
              <a:buFont typeface="Wingdings"/>
              <a:buChar char="ü"/>
            </a:pPr>
            <a:r>
              <a:rPr lang="en-US" sz="1400" dirty="0">
                <a:solidFill>
                  <a:srgbClr val="555555"/>
                </a:solidFill>
                <a:latin typeface="Cambria"/>
                <a:ea typeface="Cambria"/>
                <a:cs typeface="Arial"/>
              </a:rPr>
              <a:t>Azure AI Service</a:t>
            </a:r>
            <a:endParaRPr lang="en-US" sz="1400" dirty="0">
              <a:solidFill>
                <a:srgbClr val="FFFFFF"/>
              </a:solidFill>
              <a:latin typeface="Arial" panose="020B0604020202020204"/>
              <a:ea typeface="Cambria"/>
              <a:cs typeface="Arial"/>
            </a:endParaRPr>
          </a:p>
          <a:p>
            <a:pPr marL="285750" indent="-285750">
              <a:buFont typeface="Wingdings"/>
              <a:buChar char="ü"/>
            </a:pPr>
            <a:r>
              <a:rPr lang="en-US" sz="1400" dirty="0">
                <a:solidFill>
                  <a:srgbClr val="555555"/>
                </a:solidFill>
                <a:latin typeface="Cambria"/>
                <a:ea typeface="Cambria"/>
                <a:cs typeface="Arial"/>
              </a:rPr>
              <a:t>Azure ML</a:t>
            </a:r>
          </a:p>
          <a:p>
            <a:pPr marL="285750" indent="-285750">
              <a:buFont typeface="Wingdings"/>
              <a:buChar char="ü"/>
            </a:pPr>
            <a:r>
              <a:rPr lang="en-US" sz="1400" dirty="0">
                <a:solidFill>
                  <a:srgbClr val="555555"/>
                </a:solidFill>
                <a:latin typeface="Cambria"/>
                <a:ea typeface="Cambria"/>
                <a:cs typeface="Arial"/>
              </a:rPr>
              <a:t>KQL</a:t>
            </a:r>
            <a:endParaRPr lang="en-US" sz="1400" dirty="0">
              <a:cs typeface="Arial" panose="020B0604020202020204"/>
            </a:endParaRPr>
          </a:p>
        </p:txBody>
      </p:sp>
      <p:pic>
        <p:nvPicPr>
          <p:cNvPr id="1103" name="Picture Placeholder 118" descr="Blueprint outline">
            <a:extLst>
              <a:ext uri="{FF2B5EF4-FFF2-40B4-BE49-F238E27FC236}">
                <a16:creationId xmlns:a16="http://schemas.microsoft.com/office/drawing/2014/main" id="{9EA24AEC-0314-FA4F-FB2D-66833DA4579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33736" y="1485425"/>
            <a:ext cx="457200" cy="457200"/>
          </a:xfrm>
          <a:prstGeom prst="ellipse">
            <a:avLst/>
          </a:prstGeom>
        </p:spPr>
      </p:pic>
      <p:sp>
        <p:nvSpPr>
          <p:cNvPr id="1104" name="TextBox 1103">
            <a:extLst>
              <a:ext uri="{FF2B5EF4-FFF2-40B4-BE49-F238E27FC236}">
                <a16:creationId xmlns:a16="http://schemas.microsoft.com/office/drawing/2014/main" id="{B322AF53-5B50-ED74-A960-5472FE9CEACC}"/>
              </a:ext>
            </a:extLst>
          </p:cNvPr>
          <p:cNvSpPr txBox="1"/>
          <p:nvPr/>
        </p:nvSpPr>
        <p:spPr>
          <a:xfrm>
            <a:off x="691918" y="2676760"/>
            <a:ext cx="673592" cy="43088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1400">
                <a:latin typeface="Cambria"/>
                <a:ea typeface="Cambria"/>
              </a:rPr>
              <a:t>Key </a:t>
            </a:r>
            <a:endParaRPr lang="en-US" sz="1400">
              <a:latin typeface="Cambria"/>
              <a:ea typeface="Cambria"/>
              <a:cs typeface="Arial"/>
            </a:endParaRPr>
          </a:p>
          <a:p>
            <a:pPr algn="ctr"/>
            <a:r>
              <a:rPr lang="en-US" sz="1400">
                <a:latin typeface="Cambria"/>
                <a:ea typeface="Cambria"/>
              </a:rPr>
              <a:t>Benefits</a:t>
            </a:r>
            <a:endParaRPr lang="en-US" sz="1400">
              <a:latin typeface="Cambria"/>
              <a:ea typeface="Cambria"/>
              <a:cs typeface="Arial"/>
            </a:endParaRPr>
          </a:p>
        </p:txBody>
      </p:sp>
    </p:spTree>
    <p:extLst>
      <p:ext uri="{BB962C8B-B14F-4D97-AF65-F5344CB8AC3E}">
        <p14:creationId xmlns:p14="http://schemas.microsoft.com/office/powerpoint/2010/main" val="644911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01E76F1F-250A-088D-7ACC-9178E1B02C22}"/>
              </a:ext>
              <a:ext uri="{C183D7F6-B498-43B3-948B-1728B52AA6E4}">
                <adec:decorative xmlns:adec="http://schemas.microsoft.com/office/drawing/2017/decorative" val="1"/>
              </a:ext>
            </a:extLst>
          </p:cNvPr>
          <p:cNvCxnSpPr>
            <a:cxnSpLocks/>
          </p:cNvCxnSpPr>
          <p:nvPr/>
        </p:nvCxnSpPr>
        <p:spPr>
          <a:xfrm>
            <a:off x="488191" y="1088493"/>
            <a:ext cx="10761492"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graphicFrame>
        <p:nvGraphicFramePr>
          <p:cNvPr id="31" name="Diagram 30">
            <a:extLst>
              <a:ext uri="{FF2B5EF4-FFF2-40B4-BE49-F238E27FC236}">
                <a16:creationId xmlns:a16="http://schemas.microsoft.com/office/drawing/2014/main" id="{B5FAFF1D-59EF-EB73-5588-090B2BFF7229}"/>
              </a:ext>
            </a:extLst>
          </p:cNvPr>
          <p:cNvGraphicFramePr/>
          <p:nvPr/>
        </p:nvGraphicFramePr>
        <p:xfrm>
          <a:off x="631371" y="1328057"/>
          <a:ext cx="5083627" cy="47897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90" name="TextBox 489">
            <a:extLst>
              <a:ext uri="{FF2B5EF4-FFF2-40B4-BE49-F238E27FC236}">
                <a16:creationId xmlns:a16="http://schemas.microsoft.com/office/drawing/2014/main" id="{E62D3F79-CF65-530E-B249-C5A246299A14}"/>
              </a:ext>
            </a:extLst>
          </p:cNvPr>
          <p:cNvSpPr txBox="1"/>
          <p:nvPr/>
        </p:nvSpPr>
        <p:spPr>
          <a:xfrm>
            <a:off x="487179" y="543118"/>
            <a:ext cx="9843542" cy="492443"/>
          </a:xfrm>
          <a:prstGeom prst="rect">
            <a:avLst/>
          </a:prstGeom>
          <a:noFill/>
        </p:spPr>
        <p:txBody>
          <a:bodyPr wrap="square" lIns="91440" tIns="45720" rIns="91440" bIns="45720" anchor="t">
            <a:spAutoFit/>
          </a:bodyPr>
          <a:lstStyle/>
          <a:p>
            <a:r>
              <a:rPr lang="en-US" sz="2600" b="1">
                <a:solidFill>
                  <a:schemeClr val="tx1">
                    <a:lumMod val="75000"/>
                    <a:lumOff val="25000"/>
                  </a:schemeClr>
                </a:solidFill>
                <a:latin typeface="Montserrat"/>
              </a:rPr>
              <a:t>Log Categorization – Azure AI</a:t>
            </a:r>
            <a:endParaRPr lang="en-US">
              <a:solidFill>
                <a:schemeClr val="tx1">
                  <a:lumMod val="75000"/>
                  <a:lumOff val="25000"/>
                </a:schemeClr>
              </a:solidFill>
            </a:endParaRPr>
          </a:p>
        </p:txBody>
      </p:sp>
      <p:pic>
        <p:nvPicPr>
          <p:cNvPr id="757" name="Picture 756" descr="A screenshot of a graph&#10;&#10;Description automatically generated">
            <a:extLst>
              <a:ext uri="{FF2B5EF4-FFF2-40B4-BE49-F238E27FC236}">
                <a16:creationId xmlns:a16="http://schemas.microsoft.com/office/drawing/2014/main" id="{D3B9E183-2A3E-363F-F578-48680433BBE5}"/>
              </a:ext>
            </a:extLst>
          </p:cNvPr>
          <p:cNvPicPr>
            <a:picLocks noChangeAspect="1"/>
          </p:cNvPicPr>
          <p:nvPr/>
        </p:nvPicPr>
        <p:blipFill>
          <a:blip r:embed="rId7"/>
          <a:stretch>
            <a:fillRect/>
          </a:stretch>
        </p:blipFill>
        <p:spPr>
          <a:xfrm>
            <a:off x="5875481" y="1328292"/>
            <a:ext cx="6100620" cy="1759393"/>
          </a:xfrm>
          <a:prstGeom prst="rect">
            <a:avLst/>
          </a:prstGeom>
        </p:spPr>
      </p:pic>
      <p:pic>
        <p:nvPicPr>
          <p:cNvPr id="759" name="Picture 758" descr="A screenshot of a service&#10;&#10;Description automatically generated">
            <a:extLst>
              <a:ext uri="{FF2B5EF4-FFF2-40B4-BE49-F238E27FC236}">
                <a16:creationId xmlns:a16="http://schemas.microsoft.com/office/drawing/2014/main" id="{87E91F59-DF98-4494-7498-92E707EA81D3}"/>
              </a:ext>
            </a:extLst>
          </p:cNvPr>
          <p:cNvPicPr>
            <a:picLocks noChangeAspect="1"/>
          </p:cNvPicPr>
          <p:nvPr/>
        </p:nvPicPr>
        <p:blipFill>
          <a:blip r:embed="rId8"/>
          <a:stretch>
            <a:fillRect/>
          </a:stretch>
        </p:blipFill>
        <p:spPr>
          <a:xfrm>
            <a:off x="5881348" y="3078818"/>
            <a:ext cx="6078367" cy="1565513"/>
          </a:xfrm>
          <a:prstGeom prst="rect">
            <a:avLst/>
          </a:prstGeom>
        </p:spPr>
      </p:pic>
      <p:pic>
        <p:nvPicPr>
          <p:cNvPr id="761" name="Picture 760" descr="A screenshot of a service&#10;&#10;Description automatically generated">
            <a:extLst>
              <a:ext uri="{FF2B5EF4-FFF2-40B4-BE49-F238E27FC236}">
                <a16:creationId xmlns:a16="http://schemas.microsoft.com/office/drawing/2014/main" id="{6AD29BD1-DFE4-BAB9-B7C6-D361F6956A3D}"/>
              </a:ext>
            </a:extLst>
          </p:cNvPr>
          <p:cNvPicPr>
            <a:picLocks noChangeAspect="1"/>
          </p:cNvPicPr>
          <p:nvPr/>
        </p:nvPicPr>
        <p:blipFill>
          <a:blip r:embed="rId9"/>
          <a:stretch>
            <a:fillRect/>
          </a:stretch>
        </p:blipFill>
        <p:spPr>
          <a:xfrm>
            <a:off x="5864445" y="4673533"/>
            <a:ext cx="6087420" cy="1617382"/>
          </a:xfrm>
          <a:prstGeom prst="rect">
            <a:avLst/>
          </a:prstGeom>
        </p:spPr>
      </p:pic>
    </p:spTree>
    <p:extLst>
      <p:ext uri="{BB962C8B-B14F-4D97-AF65-F5344CB8AC3E}">
        <p14:creationId xmlns:p14="http://schemas.microsoft.com/office/powerpoint/2010/main" val="21386639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01E76F1F-250A-088D-7ACC-9178E1B02C22}"/>
              </a:ext>
              <a:ext uri="{C183D7F6-B498-43B3-948B-1728B52AA6E4}">
                <adec:decorative xmlns:adec="http://schemas.microsoft.com/office/drawing/2017/decorative" val="1"/>
              </a:ext>
            </a:extLst>
          </p:cNvPr>
          <p:cNvCxnSpPr>
            <a:cxnSpLocks/>
          </p:cNvCxnSpPr>
          <p:nvPr/>
        </p:nvCxnSpPr>
        <p:spPr>
          <a:xfrm>
            <a:off x="488191" y="1088493"/>
            <a:ext cx="10761492"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graphicFrame>
        <p:nvGraphicFramePr>
          <p:cNvPr id="31" name="Diagram 30">
            <a:extLst>
              <a:ext uri="{FF2B5EF4-FFF2-40B4-BE49-F238E27FC236}">
                <a16:creationId xmlns:a16="http://schemas.microsoft.com/office/drawing/2014/main" id="{B5FAFF1D-59EF-EB73-5588-090B2BFF7229}"/>
              </a:ext>
            </a:extLst>
          </p:cNvPr>
          <p:cNvGraphicFramePr/>
          <p:nvPr/>
        </p:nvGraphicFramePr>
        <p:xfrm>
          <a:off x="631371" y="1328057"/>
          <a:ext cx="5083627" cy="47897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90" name="TextBox 489">
            <a:extLst>
              <a:ext uri="{FF2B5EF4-FFF2-40B4-BE49-F238E27FC236}">
                <a16:creationId xmlns:a16="http://schemas.microsoft.com/office/drawing/2014/main" id="{E62D3F79-CF65-530E-B249-C5A246299A14}"/>
              </a:ext>
            </a:extLst>
          </p:cNvPr>
          <p:cNvSpPr txBox="1"/>
          <p:nvPr/>
        </p:nvSpPr>
        <p:spPr>
          <a:xfrm>
            <a:off x="487179" y="543118"/>
            <a:ext cx="9843542" cy="492443"/>
          </a:xfrm>
          <a:prstGeom prst="rect">
            <a:avLst/>
          </a:prstGeom>
          <a:noFill/>
        </p:spPr>
        <p:txBody>
          <a:bodyPr wrap="square" lIns="91440" tIns="45720" rIns="91440" bIns="45720" anchor="t">
            <a:spAutoFit/>
          </a:bodyPr>
          <a:lstStyle/>
          <a:p>
            <a:r>
              <a:rPr lang="en-US" sz="2600" b="1">
                <a:solidFill>
                  <a:schemeClr val="tx1">
                    <a:lumMod val="75000"/>
                    <a:lumOff val="25000"/>
                  </a:schemeClr>
                </a:solidFill>
                <a:latin typeface="Montserrat"/>
              </a:rPr>
              <a:t>User Metrics Analytics</a:t>
            </a:r>
            <a:endParaRPr lang="en-US">
              <a:solidFill>
                <a:schemeClr val="tx1">
                  <a:lumMod val="75000"/>
                  <a:lumOff val="25000"/>
                </a:schemeClr>
              </a:solidFill>
            </a:endParaRPr>
          </a:p>
        </p:txBody>
      </p:sp>
      <p:pic>
        <p:nvPicPr>
          <p:cNvPr id="606" name="Picture 605" descr="A screenshot of a computer&#10;&#10;Description automatically generated">
            <a:extLst>
              <a:ext uri="{FF2B5EF4-FFF2-40B4-BE49-F238E27FC236}">
                <a16:creationId xmlns:a16="http://schemas.microsoft.com/office/drawing/2014/main" id="{8ADEFDA8-8487-0FDB-CF93-12AB8F527788}"/>
              </a:ext>
            </a:extLst>
          </p:cNvPr>
          <p:cNvPicPr>
            <a:picLocks noChangeAspect="1"/>
          </p:cNvPicPr>
          <p:nvPr/>
        </p:nvPicPr>
        <p:blipFill>
          <a:blip r:embed="rId7"/>
          <a:srcRect t="-1159" r="52353"/>
          <a:stretch/>
        </p:blipFill>
        <p:spPr>
          <a:xfrm>
            <a:off x="5871193" y="3425224"/>
            <a:ext cx="6014536" cy="2712137"/>
          </a:xfrm>
          <a:prstGeom prst="rect">
            <a:avLst/>
          </a:prstGeom>
        </p:spPr>
      </p:pic>
      <p:pic>
        <p:nvPicPr>
          <p:cNvPr id="608" name="Picture 607" descr="A screenshot of a computer&#10;&#10;Description automatically generated">
            <a:extLst>
              <a:ext uri="{FF2B5EF4-FFF2-40B4-BE49-F238E27FC236}">
                <a16:creationId xmlns:a16="http://schemas.microsoft.com/office/drawing/2014/main" id="{B5A74E0F-F04C-9126-2E9C-2FCE113C893D}"/>
              </a:ext>
            </a:extLst>
          </p:cNvPr>
          <p:cNvPicPr>
            <a:picLocks noChangeAspect="1"/>
          </p:cNvPicPr>
          <p:nvPr/>
        </p:nvPicPr>
        <p:blipFill>
          <a:blip r:embed="rId8"/>
          <a:stretch>
            <a:fillRect/>
          </a:stretch>
        </p:blipFill>
        <p:spPr>
          <a:xfrm>
            <a:off x="5871588" y="1325796"/>
            <a:ext cx="6019955" cy="2089229"/>
          </a:xfrm>
          <a:prstGeom prst="rect">
            <a:avLst/>
          </a:prstGeom>
        </p:spPr>
      </p:pic>
    </p:spTree>
    <p:extLst>
      <p:ext uri="{BB962C8B-B14F-4D97-AF65-F5344CB8AC3E}">
        <p14:creationId xmlns:p14="http://schemas.microsoft.com/office/powerpoint/2010/main" val="42742847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5" name="Picture 1104" descr="A blue and white arrow&#10;&#10;Description automatically generated">
            <a:extLst>
              <a:ext uri="{FF2B5EF4-FFF2-40B4-BE49-F238E27FC236}">
                <a16:creationId xmlns:a16="http://schemas.microsoft.com/office/drawing/2014/main" id="{BF6241AC-B4F9-250D-AB0B-B053DC9B9543}"/>
              </a:ext>
            </a:extLst>
          </p:cNvPr>
          <p:cNvPicPr>
            <a:picLocks noChangeAspect="1"/>
          </p:cNvPicPr>
          <p:nvPr/>
        </p:nvPicPr>
        <p:blipFill>
          <a:blip r:embed="rId2"/>
          <a:stretch>
            <a:fillRect/>
          </a:stretch>
        </p:blipFill>
        <p:spPr>
          <a:xfrm>
            <a:off x="933982" y="2184323"/>
            <a:ext cx="2038350" cy="1695450"/>
          </a:xfrm>
          <a:prstGeom prst="rect">
            <a:avLst/>
          </a:prstGeom>
        </p:spPr>
      </p:pic>
      <p:sp>
        <p:nvSpPr>
          <p:cNvPr id="5" name="TextBox 4">
            <a:extLst>
              <a:ext uri="{FF2B5EF4-FFF2-40B4-BE49-F238E27FC236}">
                <a16:creationId xmlns:a16="http://schemas.microsoft.com/office/drawing/2014/main" id="{87B1A019-C14B-DBFC-1DBE-1935FF84F3C8}"/>
              </a:ext>
            </a:extLst>
          </p:cNvPr>
          <p:cNvSpPr txBox="1"/>
          <p:nvPr/>
        </p:nvSpPr>
        <p:spPr>
          <a:xfrm>
            <a:off x="497477" y="543119"/>
            <a:ext cx="9853839" cy="492443"/>
          </a:xfrm>
          <a:prstGeom prst="rect">
            <a:avLst/>
          </a:prstGeom>
          <a:noFill/>
        </p:spPr>
        <p:txBody>
          <a:bodyPr wrap="square" lIns="91440" tIns="45720" rIns="91440" bIns="45720" anchor="t">
            <a:spAutoFit/>
          </a:bodyPr>
          <a:lstStyle/>
          <a:p>
            <a:r>
              <a:rPr lang="en-US" sz="2600" b="1">
                <a:solidFill>
                  <a:schemeClr val="tx1">
                    <a:lumMod val="75000"/>
                    <a:lumOff val="25000"/>
                  </a:schemeClr>
                </a:solidFill>
                <a:latin typeface="Montserrat"/>
              </a:rPr>
              <a:t>Next Step …. </a:t>
            </a:r>
          </a:p>
        </p:txBody>
      </p:sp>
      <p:grpSp>
        <p:nvGrpSpPr>
          <p:cNvPr id="1045" name="Group 1044">
            <a:extLst>
              <a:ext uri="{FF2B5EF4-FFF2-40B4-BE49-F238E27FC236}">
                <a16:creationId xmlns:a16="http://schemas.microsoft.com/office/drawing/2014/main" id="{EF98A9BD-2A1C-38B3-44D3-81197353C36C}"/>
              </a:ext>
            </a:extLst>
          </p:cNvPr>
          <p:cNvGrpSpPr/>
          <p:nvPr/>
        </p:nvGrpSpPr>
        <p:grpSpPr>
          <a:xfrm>
            <a:off x="2312767" y="1514061"/>
            <a:ext cx="9356839" cy="4313320"/>
            <a:chOff x="463909" y="1667288"/>
            <a:chExt cx="10871603" cy="3372749"/>
          </a:xfrm>
        </p:grpSpPr>
        <p:grpSp>
          <p:nvGrpSpPr>
            <p:cNvPr id="1044" name="Group 1043">
              <a:extLst>
                <a:ext uri="{FF2B5EF4-FFF2-40B4-BE49-F238E27FC236}">
                  <a16:creationId xmlns:a16="http://schemas.microsoft.com/office/drawing/2014/main" id="{6A391DB5-8649-5E71-4E3B-0ACB3777B50A}"/>
                </a:ext>
              </a:extLst>
            </p:cNvPr>
            <p:cNvGrpSpPr/>
            <p:nvPr/>
          </p:nvGrpSpPr>
          <p:grpSpPr>
            <a:xfrm>
              <a:off x="463909" y="1667288"/>
              <a:ext cx="2390212" cy="3372749"/>
              <a:chOff x="463909" y="1667288"/>
              <a:chExt cx="2390212" cy="3372749"/>
            </a:xfrm>
          </p:grpSpPr>
          <p:sp>
            <p:nvSpPr>
              <p:cNvPr id="9" name="Freeform: Shape 8">
                <a:extLst>
                  <a:ext uri="{FF2B5EF4-FFF2-40B4-BE49-F238E27FC236}">
                    <a16:creationId xmlns:a16="http://schemas.microsoft.com/office/drawing/2014/main" id="{A200A361-CB29-90A0-BBA7-95EE3AB27FA4}"/>
                  </a:ext>
                </a:extLst>
              </p:cNvPr>
              <p:cNvSpPr/>
              <p:nvPr/>
            </p:nvSpPr>
            <p:spPr>
              <a:xfrm>
                <a:off x="650871" y="1667288"/>
                <a:ext cx="2067980" cy="3372749"/>
              </a:xfrm>
              <a:custGeom>
                <a:avLst/>
                <a:gdLst>
                  <a:gd name="connsiteX0" fmla="*/ 544830 w 1088707"/>
                  <a:gd name="connsiteY0" fmla="*/ 2895600 h 2895600"/>
                  <a:gd name="connsiteX1" fmla="*/ 544830 w 1088707"/>
                  <a:gd name="connsiteY1" fmla="*/ 2895600 h 2895600"/>
                  <a:gd name="connsiteX2" fmla="*/ 0 w 1088707"/>
                  <a:gd name="connsiteY2" fmla="*/ 2350770 h 2895600"/>
                  <a:gd name="connsiteX3" fmla="*/ 0 w 1088707"/>
                  <a:gd name="connsiteY3" fmla="*/ 0 h 2895600"/>
                  <a:gd name="connsiteX4" fmla="*/ 1088708 w 1088707"/>
                  <a:gd name="connsiteY4" fmla="*/ 0 h 2895600"/>
                  <a:gd name="connsiteX5" fmla="*/ 1088708 w 1088707"/>
                  <a:gd name="connsiteY5" fmla="*/ 2350770 h 2895600"/>
                  <a:gd name="connsiteX6" fmla="*/ 544830 w 1088707"/>
                  <a:gd name="connsiteY6" fmla="*/ 2895600 h 289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8707" h="2895600">
                    <a:moveTo>
                      <a:pt x="544830" y="2895600"/>
                    </a:moveTo>
                    <a:lnTo>
                      <a:pt x="544830" y="2895600"/>
                    </a:lnTo>
                    <a:cubicBezTo>
                      <a:pt x="243840" y="2895600"/>
                      <a:pt x="0" y="2651760"/>
                      <a:pt x="0" y="2350770"/>
                    </a:cubicBezTo>
                    <a:lnTo>
                      <a:pt x="0" y="0"/>
                    </a:lnTo>
                    <a:lnTo>
                      <a:pt x="1088708" y="0"/>
                    </a:lnTo>
                    <a:lnTo>
                      <a:pt x="1088708" y="2350770"/>
                    </a:lnTo>
                    <a:cubicBezTo>
                      <a:pt x="1088708" y="2651760"/>
                      <a:pt x="844868" y="2895600"/>
                      <a:pt x="544830" y="2895600"/>
                    </a:cubicBezTo>
                    <a:close/>
                  </a:path>
                </a:pathLst>
              </a:custGeom>
              <a:solidFill>
                <a:srgbClr val="FFFFFF"/>
              </a:solidFill>
              <a:ln w="9525" cap="flat">
                <a:noFill/>
                <a:prstDash val="solid"/>
                <a:miter/>
              </a:ln>
              <a:effectLst>
                <a:outerShdw blurRad="127000" dist="38100" dir="5400000" algn="t" rotWithShape="0">
                  <a:prstClr val="black">
                    <a:alpha val="10000"/>
                  </a:prstClr>
                </a:outerShdw>
              </a:effectLst>
            </p:spPr>
            <p:txBody>
              <a:bodyPr rtlCol="0" anchor="ctr"/>
              <a:lstStyle/>
              <a:p>
                <a:endParaRPr lang="en-IN"/>
              </a:p>
            </p:txBody>
          </p:sp>
          <p:sp>
            <p:nvSpPr>
              <p:cNvPr id="10" name="Freeform: Shape 9">
                <a:extLst>
                  <a:ext uri="{FF2B5EF4-FFF2-40B4-BE49-F238E27FC236}">
                    <a16:creationId xmlns:a16="http://schemas.microsoft.com/office/drawing/2014/main" id="{5C145B52-AC15-66C0-5551-1995B34C68BA}"/>
                  </a:ext>
                </a:extLst>
              </p:cNvPr>
              <p:cNvSpPr/>
              <p:nvPr/>
            </p:nvSpPr>
            <p:spPr>
              <a:xfrm>
                <a:off x="463909" y="1941068"/>
                <a:ext cx="2390212" cy="522797"/>
              </a:xfrm>
              <a:custGeom>
                <a:avLst/>
                <a:gdLst>
                  <a:gd name="connsiteX0" fmla="*/ 1383030 w 1383029"/>
                  <a:gd name="connsiteY0" fmla="*/ 361950 h 361950"/>
                  <a:gd name="connsiteX1" fmla="*/ 0 w 1383029"/>
                  <a:gd name="connsiteY1" fmla="*/ 361950 h 361950"/>
                  <a:gd name="connsiteX2" fmla="*/ 127635 w 1383029"/>
                  <a:gd name="connsiteY2" fmla="*/ 180975 h 361950"/>
                  <a:gd name="connsiteX3" fmla="*/ 0 w 1383029"/>
                  <a:gd name="connsiteY3" fmla="*/ 0 h 361950"/>
                  <a:gd name="connsiteX4" fmla="*/ 1383030 w 1383029"/>
                  <a:gd name="connsiteY4" fmla="*/ 0 h 36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029" h="361950">
                    <a:moveTo>
                      <a:pt x="1383030" y="361950"/>
                    </a:moveTo>
                    <a:lnTo>
                      <a:pt x="0" y="361950"/>
                    </a:lnTo>
                    <a:lnTo>
                      <a:pt x="127635" y="180975"/>
                    </a:lnTo>
                    <a:lnTo>
                      <a:pt x="0" y="0"/>
                    </a:lnTo>
                    <a:lnTo>
                      <a:pt x="1383030" y="0"/>
                    </a:lnTo>
                    <a:close/>
                  </a:path>
                </a:pathLst>
              </a:custGeom>
              <a:solidFill>
                <a:schemeClr val="accent2"/>
              </a:solidFill>
              <a:ln w="9525" cap="flat">
                <a:noFill/>
                <a:prstDash val="solid"/>
                <a:miter/>
              </a:ln>
            </p:spPr>
            <p:txBody>
              <a:bodyPr rtlCol="0" anchor="ctr"/>
              <a:lstStyle/>
              <a:p>
                <a:endParaRPr lang="en-IN"/>
              </a:p>
            </p:txBody>
          </p:sp>
          <p:sp>
            <p:nvSpPr>
              <p:cNvPr id="11" name="Freeform: Shape 10">
                <a:extLst>
                  <a:ext uri="{FF2B5EF4-FFF2-40B4-BE49-F238E27FC236}">
                    <a16:creationId xmlns:a16="http://schemas.microsoft.com/office/drawing/2014/main" id="{86D25D69-CF46-7159-810D-933E7C188554}"/>
                  </a:ext>
                </a:extLst>
              </p:cNvPr>
              <p:cNvSpPr/>
              <p:nvPr/>
            </p:nvSpPr>
            <p:spPr>
              <a:xfrm>
                <a:off x="2675269" y="2463865"/>
                <a:ext cx="178852" cy="202239"/>
              </a:xfrm>
              <a:custGeom>
                <a:avLst/>
                <a:gdLst>
                  <a:gd name="connsiteX0" fmla="*/ 123825 w 123825"/>
                  <a:gd name="connsiteY0" fmla="*/ 0 h 140017"/>
                  <a:gd name="connsiteX1" fmla="*/ 0 w 123825"/>
                  <a:gd name="connsiteY1" fmla="*/ 140017 h 140017"/>
                  <a:gd name="connsiteX2" fmla="*/ 0 w 123825"/>
                  <a:gd name="connsiteY2" fmla="*/ 0 h 140017"/>
                </a:gdLst>
                <a:ahLst/>
                <a:cxnLst>
                  <a:cxn ang="0">
                    <a:pos x="connsiteX0" y="connsiteY0"/>
                  </a:cxn>
                  <a:cxn ang="0">
                    <a:pos x="connsiteX1" y="connsiteY1"/>
                  </a:cxn>
                  <a:cxn ang="0">
                    <a:pos x="connsiteX2" y="connsiteY2"/>
                  </a:cxn>
                </a:cxnLst>
                <a:rect l="l" t="t" r="r" b="b"/>
                <a:pathLst>
                  <a:path w="123825" h="140017">
                    <a:moveTo>
                      <a:pt x="123825" y="0"/>
                    </a:moveTo>
                    <a:lnTo>
                      <a:pt x="0" y="140017"/>
                    </a:lnTo>
                    <a:lnTo>
                      <a:pt x="0" y="0"/>
                    </a:lnTo>
                    <a:close/>
                  </a:path>
                </a:pathLst>
              </a:custGeom>
              <a:gradFill>
                <a:gsLst>
                  <a:gs pos="0">
                    <a:srgbClr val="D50000"/>
                  </a:gs>
                  <a:gs pos="50000">
                    <a:srgbClr val="D53E00"/>
                  </a:gs>
                  <a:gs pos="100000">
                    <a:srgbClr val="D57C00"/>
                  </a:gs>
                </a:gsLst>
                <a:lin ang="5400000" scaled="1"/>
              </a:gradFill>
              <a:ln w="9525" cap="flat">
                <a:noFill/>
                <a:prstDash val="solid"/>
                <a:miter/>
              </a:ln>
            </p:spPr>
            <p:txBody>
              <a:bodyPr rtlCol="0" anchor="ctr"/>
              <a:lstStyle/>
              <a:p>
                <a:endParaRPr lang="en-IN"/>
              </a:p>
            </p:txBody>
          </p:sp>
          <p:sp>
            <p:nvSpPr>
              <p:cNvPr id="12" name="Freeform: Shape 11">
                <a:extLst>
                  <a:ext uri="{FF2B5EF4-FFF2-40B4-BE49-F238E27FC236}">
                    <a16:creationId xmlns:a16="http://schemas.microsoft.com/office/drawing/2014/main" id="{0E8BEA68-BA9A-5640-16B3-40CDE8FF1BF5}"/>
                  </a:ext>
                </a:extLst>
              </p:cNvPr>
              <p:cNvSpPr/>
              <p:nvPr/>
            </p:nvSpPr>
            <p:spPr>
              <a:xfrm>
                <a:off x="2675269" y="2463865"/>
                <a:ext cx="178852" cy="202239"/>
              </a:xfrm>
              <a:custGeom>
                <a:avLst/>
                <a:gdLst>
                  <a:gd name="connsiteX0" fmla="*/ 123825 w 123825"/>
                  <a:gd name="connsiteY0" fmla="*/ 0 h 140017"/>
                  <a:gd name="connsiteX1" fmla="*/ 0 w 123825"/>
                  <a:gd name="connsiteY1" fmla="*/ 140017 h 140017"/>
                  <a:gd name="connsiteX2" fmla="*/ 0 w 123825"/>
                  <a:gd name="connsiteY2" fmla="*/ 0 h 140017"/>
                </a:gdLst>
                <a:ahLst/>
                <a:cxnLst>
                  <a:cxn ang="0">
                    <a:pos x="connsiteX0" y="connsiteY0"/>
                  </a:cxn>
                  <a:cxn ang="0">
                    <a:pos x="connsiteX1" y="connsiteY1"/>
                  </a:cxn>
                  <a:cxn ang="0">
                    <a:pos x="connsiteX2" y="connsiteY2"/>
                  </a:cxn>
                </a:cxnLst>
                <a:rect l="l" t="t" r="r" b="b"/>
                <a:pathLst>
                  <a:path w="123825" h="140017">
                    <a:moveTo>
                      <a:pt x="123825" y="0"/>
                    </a:moveTo>
                    <a:lnTo>
                      <a:pt x="0" y="140017"/>
                    </a:lnTo>
                    <a:lnTo>
                      <a:pt x="0" y="0"/>
                    </a:lnTo>
                    <a:close/>
                  </a:path>
                </a:pathLst>
              </a:custGeom>
              <a:solidFill>
                <a:schemeClr val="accent2">
                  <a:lumMod val="75000"/>
                </a:schemeClr>
              </a:solidFill>
              <a:ln w="9525" cap="flat">
                <a:noFill/>
                <a:prstDash val="solid"/>
                <a:miter/>
              </a:ln>
            </p:spPr>
            <p:txBody>
              <a:bodyPr rtlCol="0" anchor="ctr"/>
              <a:lstStyle/>
              <a:p>
                <a:endParaRPr lang="en-IN"/>
              </a:p>
            </p:txBody>
          </p:sp>
          <p:sp>
            <p:nvSpPr>
              <p:cNvPr id="1024" name="TextBox 1023">
                <a:extLst>
                  <a:ext uri="{FF2B5EF4-FFF2-40B4-BE49-F238E27FC236}">
                    <a16:creationId xmlns:a16="http://schemas.microsoft.com/office/drawing/2014/main" id="{5DA20023-6353-D499-27D4-BEDE666213FC}"/>
                  </a:ext>
                </a:extLst>
              </p:cNvPr>
              <p:cNvSpPr txBox="1"/>
              <p:nvPr/>
            </p:nvSpPr>
            <p:spPr>
              <a:xfrm>
                <a:off x="628777" y="2645001"/>
                <a:ext cx="2048539" cy="2129861"/>
              </a:xfrm>
              <a:prstGeom prst="rect">
                <a:avLst/>
              </a:prstGeom>
              <a:noFill/>
            </p:spPr>
            <p:txBody>
              <a:bodyPr wrap="square" lIns="91440" tIns="45720" rIns="91440" bIns="45720" anchor="t">
                <a:spAutoFit/>
              </a:bodyPr>
              <a:lstStyle/>
              <a:p>
                <a:pPr algn="ctr">
                  <a:spcAft>
                    <a:spcPts val="600"/>
                  </a:spcAft>
                </a:pPr>
                <a:r>
                  <a:rPr lang="en-US" sz="1300">
                    <a:solidFill>
                      <a:schemeClr val="tx1">
                        <a:lumMod val="75000"/>
                        <a:lumOff val="25000"/>
                      </a:schemeClr>
                    </a:solidFill>
                    <a:ea typeface="+mn-lt"/>
                    <a:cs typeface="+mn-lt"/>
                  </a:rPr>
                  <a:t>segment user selection based on dim selection , fact selection etc...</a:t>
                </a:r>
              </a:p>
              <a:p>
                <a:pPr algn="ctr">
                  <a:spcAft>
                    <a:spcPts val="600"/>
                  </a:spcAft>
                </a:pPr>
                <a:r>
                  <a:rPr lang="en-US" sz="1300">
                    <a:solidFill>
                      <a:schemeClr val="tx1">
                        <a:lumMod val="75000"/>
                        <a:lumOff val="25000"/>
                      </a:schemeClr>
                    </a:solidFill>
                    <a:ea typeface="+mn-lt"/>
                    <a:cs typeface="+mn-lt"/>
                  </a:rPr>
                  <a:t>helps to feed data to </a:t>
                </a:r>
                <a:r>
                  <a:rPr lang="en-US" sz="1300" err="1">
                    <a:solidFill>
                      <a:schemeClr val="tx1">
                        <a:lumMod val="75000"/>
                        <a:lumOff val="25000"/>
                      </a:schemeClr>
                    </a:solidFill>
                    <a:ea typeface="+mn-lt"/>
                    <a:cs typeface="+mn-lt"/>
                  </a:rPr>
                  <a:t>GenAI</a:t>
                </a:r>
                <a:r>
                  <a:rPr lang="en-US" sz="1300">
                    <a:solidFill>
                      <a:schemeClr val="tx1">
                        <a:lumMod val="75000"/>
                        <a:lumOff val="25000"/>
                      </a:schemeClr>
                    </a:solidFill>
                    <a:ea typeface="+mn-lt"/>
                    <a:cs typeface="+mn-lt"/>
                  </a:rPr>
                  <a:t> use cases - </a:t>
                </a:r>
                <a:r>
                  <a:rPr lang="en-US" sz="1300" b="1">
                    <a:solidFill>
                      <a:schemeClr val="tx1">
                        <a:lumMod val="75000"/>
                        <a:lumOff val="25000"/>
                      </a:schemeClr>
                    </a:solidFill>
                    <a:ea typeface="+mn-lt"/>
                    <a:cs typeface="+mn-lt"/>
                  </a:rPr>
                  <a:t>Ask Arthur to identify when user does “my brand” in contextual search</a:t>
                </a:r>
                <a:endParaRPr lang="en-US" err="1">
                  <a:solidFill>
                    <a:schemeClr val="tx1">
                      <a:lumMod val="75000"/>
                      <a:lumOff val="25000"/>
                    </a:schemeClr>
                  </a:solidFill>
                  <a:ea typeface="+mn-lt"/>
                  <a:cs typeface="+mn-lt"/>
                </a:endParaRPr>
              </a:p>
              <a:p>
                <a:pPr algn="ctr">
                  <a:spcAft>
                    <a:spcPts val="600"/>
                  </a:spcAft>
                </a:pPr>
                <a:endParaRPr lang="en-US" sz="1300">
                  <a:solidFill>
                    <a:schemeClr val="tx1">
                      <a:lumMod val="75000"/>
                      <a:lumOff val="25000"/>
                    </a:schemeClr>
                  </a:solidFill>
                  <a:ea typeface="+mn-lt"/>
                  <a:cs typeface="+mn-lt"/>
                </a:endParaRPr>
              </a:p>
              <a:p>
                <a:pPr algn="ctr">
                  <a:spcAft>
                    <a:spcPts val="600"/>
                  </a:spcAft>
                </a:pPr>
                <a:endParaRPr lang="en-US" sz="1300">
                  <a:solidFill>
                    <a:schemeClr val="tx1">
                      <a:lumMod val="75000"/>
                      <a:lumOff val="25000"/>
                    </a:schemeClr>
                  </a:solidFill>
                  <a:ea typeface="+mn-lt"/>
                  <a:cs typeface="+mn-lt"/>
                </a:endParaRPr>
              </a:p>
            </p:txBody>
          </p:sp>
          <p:sp>
            <p:nvSpPr>
              <p:cNvPr id="1031" name="TextBox 1030">
                <a:extLst>
                  <a:ext uri="{FF2B5EF4-FFF2-40B4-BE49-F238E27FC236}">
                    <a16:creationId xmlns:a16="http://schemas.microsoft.com/office/drawing/2014/main" id="{D229A7F5-BA5E-7D2C-4E06-7F729772215F}"/>
                  </a:ext>
                </a:extLst>
              </p:cNvPr>
              <p:cNvSpPr txBox="1"/>
              <p:nvPr/>
            </p:nvSpPr>
            <p:spPr>
              <a:xfrm>
                <a:off x="717355" y="1826564"/>
                <a:ext cx="1940752" cy="613688"/>
              </a:xfrm>
              <a:prstGeom prst="rect">
                <a:avLst/>
              </a:prstGeom>
              <a:noFill/>
            </p:spPr>
            <p:txBody>
              <a:bodyPr wrap="square" lIns="91440" tIns="45720" rIns="91440" bIns="45720" anchor="t">
                <a:spAutoFit/>
              </a:bodyPr>
              <a:lstStyle/>
              <a:p>
                <a:pPr algn="ctr"/>
                <a:r>
                  <a:rPr lang="en-US" sz="1500" b="1">
                    <a:solidFill>
                      <a:schemeClr val="bg1"/>
                    </a:solidFill>
                    <a:highlight>
                      <a:srgbClr val="FFFF00"/>
                    </a:highlight>
                    <a:latin typeface="Montserrat"/>
                  </a:rPr>
                  <a:t>Segmentation of  </a:t>
                </a:r>
                <a:r>
                  <a:rPr lang="en-US" sz="1500" b="1">
                    <a:solidFill>
                      <a:schemeClr val="bg1"/>
                    </a:solidFill>
                    <a:latin typeface="Montserrat"/>
                  </a:rPr>
                  <a:t>User selection</a:t>
                </a:r>
                <a:endParaRPr lang="en-IN" sz="1500">
                  <a:solidFill>
                    <a:schemeClr val="bg1"/>
                  </a:solidFill>
                </a:endParaRPr>
              </a:p>
            </p:txBody>
          </p:sp>
        </p:grpSp>
        <p:grpSp>
          <p:nvGrpSpPr>
            <p:cNvPr id="1043" name="Group 1042">
              <a:extLst>
                <a:ext uri="{FF2B5EF4-FFF2-40B4-BE49-F238E27FC236}">
                  <a16:creationId xmlns:a16="http://schemas.microsoft.com/office/drawing/2014/main" id="{53A8EC61-3B59-27F2-987E-A0C9680184E3}"/>
                </a:ext>
              </a:extLst>
            </p:cNvPr>
            <p:cNvGrpSpPr/>
            <p:nvPr/>
          </p:nvGrpSpPr>
          <p:grpSpPr>
            <a:xfrm>
              <a:off x="3291039" y="1667288"/>
              <a:ext cx="2390212" cy="3372749"/>
              <a:chOff x="3291039" y="1667288"/>
              <a:chExt cx="2390212" cy="3372749"/>
            </a:xfrm>
          </p:grpSpPr>
          <p:sp>
            <p:nvSpPr>
              <p:cNvPr id="42" name="Freeform: Shape 41">
                <a:extLst>
                  <a:ext uri="{FF2B5EF4-FFF2-40B4-BE49-F238E27FC236}">
                    <a16:creationId xmlns:a16="http://schemas.microsoft.com/office/drawing/2014/main" id="{5CB7D81A-CED2-3EB6-B80C-731EDE5E6D4D}"/>
                  </a:ext>
                </a:extLst>
              </p:cNvPr>
              <p:cNvSpPr/>
              <p:nvPr/>
            </p:nvSpPr>
            <p:spPr>
              <a:xfrm>
                <a:off x="3498121" y="1667288"/>
                <a:ext cx="2067980" cy="3372749"/>
              </a:xfrm>
              <a:custGeom>
                <a:avLst/>
                <a:gdLst>
                  <a:gd name="connsiteX0" fmla="*/ 544830 w 1088707"/>
                  <a:gd name="connsiteY0" fmla="*/ 2895600 h 2895600"/>
                  <a:gd name="connsiteX1" fmla="*/ 544830 w 1088707"/>
                  <a:gd name="connsiteY1" fmla="*/ 2895600 h 2895600"/>
                  <a:gd name="connsiteX2" fmla="*/ 0 w 1088707"/>
                  <a:gd name="connsiteY2" fmla="*/ 2350770 h 2895600"/>
                  <a:gd name="connsiteX3" fmla="*/ 0 w 1088707"/>
                  <a:gd name="connsiteY3" fmla="*/ 0 h 2895600"/>
                  <a:gd name="connsiteX4" fmla="*/ 1088708 w 1088707"/>
                  <a:gd name="connsiteY4" fmla="*/ 0 h 2895600"/>
                  <a:gd name="connsiteX5" fmla="*/ 1088708 w 1088707"/>
                  <a:gd name="connsiteY5" fmla="*/ 2350770 h 2895600"/>
                  <a:gd name="connsiteX6" fmla="*/ 544830 w 1088707"/>
                  <a:gd name="connsiteY6" fmla="*/ 2895600 h 289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8707" h="2895600">
                    <a:moveTo>
                      <a:pt x="544830" y="2895600"/>
                    </a:moveTo>
                    <a:lnTo>
                      <a:pt x="544830" y="2895600"/>
                    </a:lnTo>
                    <a:cubicBezTo>
                      <a:pt x="243840" y="2895600"/>
                      <a:pt x="0" y="2651760"/>
                      <a:pt x="0" y="2350770"/>
                    </a:cubicBezTo>
                    <a:lnTo>
                      <a:pt x="0" y="0"/>
                    </a:lnTo>
                    <a:lnTo>
                      <a:pt x="1088708" y="0"/>
                    </a:lnTo>
                    <a:lnTo>
                      <a:pt x="1088708" y="2350770"/>
                    </a:lnTo>
                    <a:cubicBezTo>
                      <a:pt x="1088708" y="2651760"/>
                      <a:pt x="844868" y="2895600"/>
                      <a:pt x="544830" y="2895600"/>
                    </a:cubicBezTo>
                    <a:close/>
                  </a:path>
                </a:pathLst>
              </a:custGeom>
              <a:solidFill>
                <a:srgbClr val="FFFFFF"/>
              </a:solidFill>
              <a:ln w="9525" cap="flat">
                <a:noFill/>
                <a:prstDash val="solid"/>
                <a:miter/>
              </a:ln>
              <a:effectLst>
                <a:outerShdw blurRad="127000" dist="38100" dir="5400000" algn="t" rotWithShape="0">
                  <a:prstClr val="black">
                    <a:alpha val="10000"/>
                  </a:prstClr>
                </a:outerShdw>
              </a:effectLst>
            </p:spPr>
            <p:txBody>
              <a:bodyPr rtlCol="0" anchor="ctr"/>
              <a:lstStyle/>
              <a:p>
                <a:endParaRPr lang="en-IN"/>
              </a:p>
            </p:txBody>
          </p:sp>
          <p:sp>
            <p:nvSpPr>
              <p:cNvPr id="43" name="Freeform: Shape 42">
                <a:extLst>
                  <a:ext uri="{FF2B5EF4-FFF2-40B4-BE49-F238E27FC236}">
                    <a16:creationId xmlns:a16="http://schemas.microsoft.com/office/drawing/2014/main" id="{35B2B49F-59C5-12E1-A992-A6557C4AE86F}"/>
                  </a:ext>
                </a:extLst>
              </p:cNvPr>
              <p:cNvSpPr/>
              <p:nvPr/>
            </p:nvSpPr>
            <p:spPr>
              <a:xfrm>
                <a:off x="3291039" y="1941068"/>
                <a:ext cx="2390212" cy="522797"/>
              </a:xfrm>
              <a:custGeom>
                <a:avLst/>
                <a:gdLst>
                  <a:gd name="connsiteX0" fmla="*/ 1383030 w 1383029"/>
                  <a:gd name="connsiteY0" fmla="*/ 361950 h 361950"/>
                  <a:gd name="connsiteX1" fmla="*/ 0 w 1383029"/>
                  <a:gd name="connsiteY1" fmla="*/ 361950 h 361950"/>
                  <a:gd name="connsiteX2" fmla="*/ 127635 w 1383029"/>
                  <a:gd name="connsiteY2" fmla="*/ 180975 h 361950"/>
                  <a:gd name="connsiteX3" fmla="*/ 0 w 1383029"/>
                  <a:gd name="connsiteY3" fmla="*/ 0 h 361950"/>
                  <a:gd name="connsiteX4" fmla="*/ 1383030 w 1383029"/>
                  <a:gd name="connsiteY4" fmla="*/ 0 h 36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029" h="361950">
                    <a:moveTo>
                      <a:pt x="1383030" y="361950"/>
                    </a:moveTo>
                    <a:lnTo>
                      <a:pt x="0" y="361950"/>
                    </a:lnTo>
                    <a:lnTo>
                      <a:pt x="127635" y="180975"/>
                    </a:lnTo>
                    <a:lnTo>
                      <a:pt x="0" y="0"/>
                    </a:lnTo>
                    <a:lnTo>
                      <a:pt x="1383030" y="0"/>
                    </a:lnTo>
                    <a:close/>
                  </a:path>
                </a:pathLst>
              </a:custGeom>
              <a:solidFill>
                <a:schemeClr val="accent3"/>
              </a:solidFill>
              <a:ln w="9525" cap="flat">
                <a:noFill/>
                <a:prstDash val="solid"/>
                <a:miter/>
              </a:ln>
            </p:spPr>
            <p:txBody>
              <a:bodyPr rtlCol="0" anchor="ctr"/>
              <a:lstStyle/>
              <a:p>
                <a:endParaRPr lang="en-IN"/>
              </a:p>
            </p:txBody>
          </p:sp>
          <p:sp>
            <p:nvSpPr>
              <p:cNvPr id="44" name="Freeform: Shape 43">
                <a:extLst>
                  <a:ext uri="{FF2B5EF4-FFF2-40B4-BE49-F238E27FC236}">
                    <a16:creationId xmlns:a16="http://schemas.microsoft.com/office/drawing/2014/main" id="{D1492B5D-D0C6-BF02-B62E-57494DDF6A36}"/>
                  </a:ext>
                </a:extLst>
              </p:cNvPr>
              <p:cNvSpPr/>
              <p:nvPr/>
            </p:nvSpPr>
            <p:spPr>
              <a:xfrm>
                <a:off x="5502399" y="2463865"/>
                <a:ext cx="178852" cy="202239"/>
              </a:xfrm>
              <a:custGeom>
                <a:avLst/>
                <a:gdLst>
                  <a:gd name="connsiteX0" fmla="*/ 123825 w 123825"/>
                  <a:gd name="connsiteY0" fmla="*/ 0 h 140017"/>
                  <a:gd name="connsiteX1" fmla="*/ 0 w 123825"/>
                  <a:gd name="connsiteY1" fmla="*/ 140017 h 140017"/>
                  <a:gd name="connsiteX2" fmla="*/ 0 w 123825"/>
                  <a:gd name="connsiteY2" fmla="*/ 0 h 140017"/>
                </a:gdLst>
                <a:ahLst/>
                <a:cxnLst>
                  <a:cxn ang="0">
                    <a:pos x="connsiteX0" y="connsiteY0"/>
                  </a:cxn>
                  <a:cxn ang="0">
                    <a:pos x="connsiteX1" y="connsiteY1"/>
                  </a:cxn>
                  <a:cxn ang="0">
                    <a:pos x="connsiteX2" y="connsiteY2"/>
                  </a:cxn>
                </a:cxnLst>
                <a:rect l="l" t="t" r="r" b="b"/>
                <a:pathLst>
                  <a:path w="123825" h="140017">
                    <a:moveTo>
                      <a:pt x="123825" y="0"/>
                    </a:moveTo>
                    <a:lnTo>
                      <a:pt x="0" y="140017"/>
                    </a:lnTo>
                    <a:lnTo>
                      <a:pt x="0" y="0"/>
                    </a:lnTo>
                    <a:close/>
                  </a:path>
                </a:pathLst>
              </a:custGeom>
              <a:gradFill>
                <a:gsLst>
                  <a:gs pos="0">
                    <a:srgbClr val="D50000"/>
                  </a:gs>
                  <a:gs pos="50000">
                    <a:srgbClr val="D53E00"/>
                  </a:gs>
                  <a:gs pos="100000">
                    <a:srgbClr val="D57C00"/>
                  </a:gs>
                </a:gsLst>
                <a:lin ang="5400000" scaled="1"/>
              </a:gradFill>
              <a:ln w="9525" cap="flat">
                <a:noFill/>
                <a:prstDash val="solid"/>
                <a:miter/>
              </a:ln>
            </p:spPr>
            <p:txBody>
              <a:bodyPr rtlCol="0" anchor="ctr"/>
              <a:lstStyle/>
              <a:p>
                <a:endParaRPr lang="en-IN"/>
              </a:p>
            </p:txBody>
          </p:sp>
          <p:sp>
            <p:nvSpPr>
              <p:cNvPr id="45" name="Freeform: Shape 44">
                <a:extLst>
                  <a:ext uri="{FF2B5EF4-FFF2-40B4-BE49-F238E27FC236}">
                    <a16:creationId xmlns:a16="http://schemas.microsoft.com/office/drawing/2014/main" id="{36131FF6-78DB-DA88-F788-EE831E61A882}"/>
                  </a:ext>
                </a:extLst>
              </p:cNvPr>
              <p:cNvSpPr/>
              <p:nvPr/>
            </p:nvSpPr>
            <p:spPr>
              <a:xfrm>
                <a:off x="5502399" y="2463865"/>
                <a:ext cx="178852" cy="202239"/>
              </a:xfrm>
              <a:custGeom>
                <a:avLst/>
                <a:gdLst>
                  <a:gd name="connsiteX0" fmla="*/ 123825 w 123825"/>
                  <a:gd name="connsiteY0" fmla="*/ 0 h 140017"/>
                  <a:gd name="connsiteX1" fmla="*/ 0 w 123825"/>
                  <a:gd name="connsiteY1" fmla="*/ 140017 h 140017"/>
                  <a:gd name="connsiteX2" fmla="*/ 0 w 123825"/>
                  <a:gd name="connsiteY2" fmla="*/ 0 h 140017"/>
                </a:gdLst>
                <a:ahLst/>
                <a:cxnLst>
                  <a:cxn ang="0">
                    <a:pos x="connsiteX0" y="connsiteY0"/>
                  </a:cxn>
                  <a:cxn ang="0">
                    <a:pos x="connsiteX1" y="connsiteY1"/>
                  </a:cxn>
                  <a:cxn ang="0">
                    <a:pos x="connsiteX2" y="connsiteY2"/>
                  </a:cxn>
                </a:cxnLst>
                <a:rect l="l" t="t" r="r" b="b"/>
                <a:pathLst>
                  <a:path w="123825" h="140017">
                    <a:moveTo>
                      <a:pt x="123825" y="0"/>
                    </a:moveTo>
                    <a:lnTo>
                      <a:pt x="0" y="140017"/>
                    </a:lnTo>
                    <a:lnTo>
                      <a:pt x="0" y="0"/>
                    </a:lnTo>
                    <a:close/>
                  </a:path>
                </a:pathLst>
              </a:custGeom>
              <a:solidFill>
                <a:schemeClr val="accent3">
                  <a:lumMod val="75000"/>
                </a:schemeClr>
              </a:solidFill>
              <a:ln w="9525" cap="flat">
                <a:noFill/>
                <a:prstDash val="solid"/>
                <a:miter/>
              </a:ln>
            </p:spPr>
            <p:txBody>
              <a:bodyPr rtlCol="0" anchor="ctr"/>
              <a:lstStyle/>
              <a:p>
                <a:endParaRPr lang="en-IN"/>
              </a:p>
            </p:txBody>
          </p:sp>
          <p:sp>
            <p:nvSpPr>
              <p:cNvPr id="1025" name="TextBox 1024">
                <a:extLst>
                  <a:ext uri="{FF2B5EF4-FFF2-40B4-BE49-F238E27FC236}">
                    <a16:creationId xmlns:a16="http://schemas.microsoft.com/office/drawing/2014/main" id="{64758194-84AC-D789-DCE6-EA60BB4C06DB}"/>
                  </a:ext>
                </a:extLst>
              </p:cNvPr>
              <p:cNvSpPr txBox="1"/>
              <p:nvPr/>
            </p:nvSpPr>
            <p:spPr>
              <a:xfrm>
                <a:off x="3450840" y="2645001"/>
                <a:ext cx="2084408" cy="1167211"/>
              </a:xfrm>
              <a:prstGeom prst="rect">
                <a:avLst/>
              </a:prstGeom>
              <a:noFill/>
            </p:spPr>
            <p:txBody>
              <a:bodyPr wrap="square" lIns="91440" tIns="45720" rIns="91440" bIns="45720" anchor="t">
                <a:spAutoFit/>
              </a:bodyPr>
              <a:lstStyle/>
              <a:p>
                <a:r>
                  <a:rPr lang="en-US" sz="1300">
                    <a:solidFill>
                      <a:schemeClr val="tx1">
                        <a:lumMod val="75000"/>
                        <a:lumOff val="25000"/>
                      </a:schemeClr>
                    </a:solidFill>
                    <a:ea typeface="+mn-lt"/>
                    <a:cs typeface="+mn-lt"/>
                  </a:rPr>
                  <a:t>useful in </a:t>
                </a:r>
                <a:r>
                  <a:rPr lang="en-US" sz="1300" b="1">
                    <a:solidFill>
                      <a:schemeClr val="tx1">
                        <a:lumMod val="75000"/>
                        <a:lumOff val="25000"/>
                      </a:schemeClr>
                    </a:solidFill>
                    <a:ea typeface="+mn-lt"/>
                    <a:cs typeface="+mn-lt"/>
                  </a:rPr>
                  <a:t>infra throttling </a:t>
                </a:r>
                <a:r>
                  <a:rPr lang="en-US" sz="1300">
                    <a:solidFill>
                      <a:schemeClr val="tx1">
                        <a:lumMod val="75000"/>
                        <a:lumOff val="25000"/>
                      </a:schemeClr>
                    </a:solidFill>
                    <a:ea typeface="+mn-lt"/>
                    <a:cs typeface="+mn-lt"/>
                  </a:rPr>
                  <a:t>user request by </a:t>
                </a:r>
                <a:r>
                  <a:rPr lang="en-US" sz="1300" b="1">
                    <a:solidFill>
                      <a:schemeClr val="tx1">
                        <a:lumMod val="75000"/>
                        <a:lumOff val="25000"/>
                      </a:schemeClr>
                    </a:solidFill>
                    <a:ea typeface="+mn-lt"/>
                    <a:cs typeface="+mn-lt"/>
                  </a:rPr>
                  <a:t>scaling AKS PODS</a:t>
                </a:r>
                <a:r>
                  <a:rPr lang="en-US" sz="1300">
                    <a:solidFill>
                      <a:schemeClr val="tx1">
                        <a:lumMod val="75000"/>
                        <a:lumOff val="25000"/>
                      </a:schemeClr>
                    </a:solidFill>
                    <a:ea typeface="+mn-lt"/>
                    <a:cs typeface="+mn-lt"/>
                  </a:rPr>
                  <a:t> and this will ensure </a:t>
                </a:r>
                <a:r>
                  <a:rPr lang="en-US" sz="1300" b="1">
                    <a:solidFill>
                      <a:schemeClr val="tx1">
                        <a:lumMod val="75000"/>
                        <a:lumOff val="25000"/>
                      </a:schemeClr>
                    </a:solidFill>
                    <a:ea typeface="+mn-lt"/>
                    <a:cs typeface="+mn-lt"/>
                  </a:rPr>
                  <a:t>performance </a:t>
                </a:r>
                <a:r>
                  <a:rPr lang="en-US" sz="1300">
                    <a:solidFill>
                      <a:schemeClr val="tx1">
                        <a:lumMod val="75000"/>
                        <a:lumOff val="25000"/>
                      </a:schemeClr>
                    </a:solidFill>
                    <a:ea typeface="+mn-lt"/>
                    <a:cs typeface="+mn-lt"/>
                  </a:rPr>
                  <a:t>is good</a:t>
                </a:r>
              </a:p>
              <a:p>
                <a:pPr algn="ctr">
                  <a:spcAft>
                    <a:spcPts val="600"/>
                  </a:spcAft>
                </a:pPr>
                <a:endParaRPr lang="en-US" sz="1300">
                  <a:solidFill>
                    <a:schemeClr val="tx1">
                      <a:lumMod val="75000"/>
                      <a:lumOff val="25000"/>
                    </a:schemeClr>
                  </a:solidFill>
                  <a:latin typeface="Montserrat"/>
                </a:endParaRPr>
              </a:p>
            </p:txBody>
          </p:sp>
          <p:sp>
            <p:nvSpPr>
              <p:cNvPr id="1032" name="TextBox 1031">
                <a:extLst>
                  <a:ext uri="{FF2B5EF4-FFF2-40B4-BE49-F238E27FC236}">
                    <a16:creationId xmlns:a16="http://schemas.microsoft.com/office/drawing/2014/main" id="{2FFF950C-9093-BBAF-B6B0-B800429C8B76}"/>
                  </a:ext>
                </a:extLst>
              </p:cNvPr>
              <p:cNvSpPr txBox="1"/>
              <p:nvPr/>
            </p:nvSpPr>
            <p:spPr>
              <a:xfrm>
                <a:off x="3525902" y="1945340"/>
                <a:ext cx="1856717" cy="818251"/>
              </a:xfrm>
              <a:prstGeom prst="rect">
                <a:avLst/>
              </a:prstGeom>
              <a:noFill/>
            </p:spPr>
            <p:txBody>
              <a:bodyPr wrap="square" lIns="91440" tIns="45720" rIns="91440" bIns="45720" anchor="t">
                <a:spAutoFit/>
              </a:bodyPr>
              <a:lstStyle/>
              <a:p>
                <a:pPr algn="ctr"/>
                <a:r>
                  <a:rPr lang="en-US" sz="1600" b="1">
                    <a:solidFill>
                      <a:schemeClr val="bg1"/>
                    </a:solidFill>
                    <a:latin typeface="Montserrat"/>
                    <a:cs typeface="Arial"/>
                  </a:rPr>
                  <a:t>Infra Throttling</a:t>
                </a:r>
              </a:p>
              <a:p>
                <a:pPr algn="ctr"/>
                <a:r>
                  <a:rPr lang="en-US" sz="1400" b="0" i="0">
                    <a:solidFill>
                      <a:srgbClr val="000000"/>
                    </a:solidFill>
                    <a:effectLst/>
                    <a:latin typeface="Arial" panose="020B0604020202020204" pitchFamily="34" charset="0"/>
                  </a:rPr>
                  <a:t>​</a:t>
                </a:r>
                <a:endParaRPr lang="en-IN" sz="1400">
                  <a:solidFill>
                    <a:schemeClr val="bg1"/>
                  </a:solidFill>
                </a:endParaRPr>
              </a:p>
              <a:p>
                <a:pPr algn="ctr"/>
                <a:endParaRPr lang="en-IN" sz="1600">
                  <a:solidFill>
                    <a:schemeClr val="bg1"/>
                  </a:solidFill>
                </a:endParaRPr>
              </a:p>
            </p:txBody>
          </p:sp>
        </p:grpSp>
        <p:grpSp>
          <p:nvGrpSpPr>
            <p:cNvPr id="1041" name="Group 1040">
              <a:extLst>
                <a:ext uri="{FF2B5EF4-FFF2-40B4-BE49-F238E27FC236}">
                  <a16:creationId xmlns:a16="http://schemas.microsoft.com/office/drawing/2014/main" id="{9793635A-D45D-528E-1234-3E8155D61188}"/>
                </a:ext>
              </a:extLst>
            </p:cNvPr>
            <p:cNvGrpSpPr/>
            <p:nvPr/>
          </p:nvGrpSpPr>
          <p:grpSpPr>
            <a:xfrm>
              <a:off x="6150076" y="1667288"/>
              <a:ext cx="2358306" cy="3372749"/>
              <a:chOff x="6150076" y="1667288"/>
              <a:chExt cx="2358306" cy="3372749"/>
            </a:xfrm>
          </p:grpSpPr>
          <p:sp>
            <p:nvSpPr>
              <p:cNvPr id="49" name="Freeform: Shape 48">
                <a:extLst>
                  <a:ext uri="{FF2B5EF4-FFF2-40B4-BE49-F238E27FC236}">
                    <a16:creationId xmlns:a16="http://schemas.microsoft.com/office/drawing/2014/main" id="{157BA08A-EB24-7516-958F-80F97A37C41E}"/>
                  </a:ext>
                </a:extLst>
              </p:cNvPr>
              <p:cNvSpPr/>
              <p:nvPr/>
            </p:nvSpPr>
            <p:spPr>
              <a:xfrm>
                <a:off x="6339626" y="1667288"/>
                <a:ext cx="2039710" cy="3372749"/>
              </a:xfrm>
              <a:custGeom>
                <a:avLst/>
                <a:gdLst>
                  <a:gd name="connsiteX0" fmla="*/ 544830 w 1088707"/>
                  <a:gd name="connsiteY0" fmla="*/ 2895600 h 2895600"/>
                  <a:gd name="connsiteX1" fmla="*/ 544830 w 1088707"/>
                  <a:gd name="connsiteY1" fmla="*/ 2895600 h 2895600"/>
                  <a:gd name="connsiteX2" fmla="*/ 0 w 1088707"/>
                  <a:gd name="connsiteY2" fmla="*/ 2350770 h 2895600"/>
                  <a:gd name="connsiteX3" fmla="*/ 0 w 1088707"/>
                  <a:gd name="connsiteY3" fmla="*/ 0 h 2895600"/>
                  <a:gd name="connsiteX4" fmla="*/ 1088708 w 1088707"/>
                  <a:gd name="connsiteY4" fmla="*/ 0 h 2895600"/>
                  <a:gd name="connsiteX5" fmla="*/ 1088708 w 1088707"/>
                  <a:gd name="connsiteY5" fmla="*/ 2350770 h 2895600"/>
                  <a:gd name="connsiteX6" fmla="*/ 544830 w 1088707"/>
                  <a:gd name="connsiteY6" fmla="*/ 2895600 h 289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8707" h="2895600">
                    <a:moveTo>
                      <a:pt x="544830" y="2895600"/>
                    </a:moveTo>
                    <a:lnTo>
                      <a:pt x="544830" y="2895600"/>
                    </a:lnTo>
                    <a:cubicBezTo>
                      <a:pt x="243840" y="2895600"/>
                      <a:pt x="0" y="2651760"/>
                      <a:pt x="0" y="2350770"/>
                    </a:cubicBezTo>
                    <a:lnTo>
                      <a:pt x="0" y="0"/>
                    </a:lnTo>
                    <a:lnTo>
                      <a:pt x="1088708" y="0"/>
                    </a:lnTo>
                    <a:lnTo>
                      <a:pt x="1088708" y="2350770"/>
                    </a:lnTo>
                    <a:cubicBezTo>
                      <a:pt x="1088708" y="2651760"/>
                      <a:pt x="844868" y="2895600"/>
                      <a:pt x="544830" y="2895600"/>
                    </a:cubicBezTo>
                    <a:close/>
                  </a:path>
                </a:pathLst>
              </a:custGeom>
              <a:solidFill>
                <a:srgbClr val="FFFFFF"/>
              </a:solidFill>
              <a:ln w="9525" cap="flat">
                <a:noFill/>
                <a:prstDash val="solid"/>
                <a:miter/>
              </a:ln>
              <a:effectLst>
                <a:outerShdw blurRad="127000" dist="38100" dir="5400000" algn="t" rotWithShape="0">
                  <a:prstClr val="black">
                    <a:alpha val="10000"/>
                  </a:prstClr>
                </a:outerShdw>
              </a:effectLst>
            </p:spPr>
            <p:txBody>
              <a:bodyPr rtlCol="0" anchor="ctr"/>
              <a:lstStyle/>
              <a:p>
                <a:endParaRPr lang="en-IN"/>
              </a:p>
            </p:txBody>
          </p:sp>
          <p:sp>
            <p:nvSpPr>
              <p:cNvPr id="50" name="Freeform: Shape 49">
                <a:extLst>
                  <a:ext uri="{FF2B5EF4-FFF2-40B4-BE49-F238E27FC236}">
                    <a16:creationId xmlns:a16="http://schemas.microsoft.com/office/drawing/2014/main" id="{CD039EF9-3CF9-8935-01BB-9BEC3B64F5BA}"/>
                  </a:ext>
                </a:extLst>
              </p:cNvPr>
              <p:cNvSpPr/>
              <p:nvPr/>
            </p:nvSpPr>
            <p:spPr>
              <a:xfrm>
                <a:off x="6150076" y="1941068"/>
                <a:ext cx="2358306" cy="522797"/>
              </a:xfrm>
              <a:custGeom>
                <a:avLst/>
                <a:gdLst>
                  <a:gd name="connsiteX0" fmla="*/ 1383030 w 1383029"/>
                  <a:gd name="connsiteY0" fmla="*/ 361950 h 361950"/>
                  <a:gd name="connsiteX1" fmla="*/ 0 w 1383029"/>
                  <a:gd name="connsiteY1" fmla="*/ 361950 h 361950"/>
                  <a:gd name="connsiteX2" fmla="*/ 127635 w 1383029"/>
                  <a:gd name="connsiteY2" fmla="*/ 180975 h 361950"/>
                  <a:gd name="connsiteX3" fmla="*/ 0 w 1383029"/>
                  <a:gd name="connsiteY3" fmla="*/ 0 h 361950"/>
                  <a:gd name="connsiteX4" fmla="*/ 1383030 w 1383029"/>
                  <a:gd name="connsiteY4" fmla="*/ 0 h 36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029" h="361950">
                    <a:moveTo>
                      <a:pt x="1383030" y="361950"/>
                    </a:moveTo>
                    <a:lnTo>
                      <a:pt x="0" y="361950"/>
                    </a:lnTo>
                    <a:lnTo>
                      <a:pt x="127635" y="180975"/>
                    </a:lnTo>
                    <a:lnTo>
                      <a:pt x="0" y="0"/>
                    </a:lnTo>
                    <a:lnTo>
                      <a:pt x="1383030" y="0"/>
                    </a:lnTo>
                    <a:close/>
                  </a:path>
                </a:pathLst>
              </a:custGeom>
              <a:solidFill>
                <a:schemeClr val="accent6"/>
              </a:solidFill>
              <a:ln w="9525" cap="flat">
                <a:noFill/>
                <a:prstDash val="solid"/>
                <a:miter/>
              </a:ln>
            </p:spPr>
            <p:txBody>
              <a:bodyPr rtlCol="0" anchor="ctr"/>
              <a:lstStyle/>
              <a:p>
                <a:endParaRPr lang="en-IN"/>
              </a:p>
            </p:txBody>
          </p:sp>
          <p:sp>
            <p:nvSpPr>
              <p:cNvPr id="51" name="Freeform: Shape 50">
                <a:extLst>
                  <a:ext uri="{FF2B5EF4-FFF2-40B4-BE49-F238E27FC236}">
                    <a16:creationId xmlns:a16="http://schemas.microsoft.com/office/drawing/2014/main" id="{993EBFEB-AB47-857C-4DEB-369E0B88DB75}"/>
                  </a:ext>
                </a:extLst>
              </p:cNvPr>
              <p:cNvSpPr/>
              <p:nvPr/>
            </p:nvSpPr>
            <p:spPr>
              <a:xfrm>
                <a:off x="8329529" y="2463865"/>
                <a:ext cx="178852" cy="202239"/>
              </a:xfrm>
              <a:custGeom>
                <a:avLst/>
                <a:gdLst>
                  <a:gd name="connsiteX0" fmla="*/ 123825 w 123825"/>
                  <a:gd name="connsiteY0" fmla="*/ 0 h 140017"/>
                  <a:gd name="connsiteX1" fmla="*/ 0 w 123825"/>
                  <a:gd name="connsiteY1" fmla="*/ 140017 h 140017"/>
                  <a:gd name="connsiteX2" fmla="*/ 0 w 123825"/>
                  <a:gd name="connsiteY2" fmla="*/ 0 h 140017"/>
                </a:gdLst>
                <a:ahLst/>
                <a:cxnLst>
                  <a:cxn ang="0">
                    <a:pos x="connsiteX0" y="connsiteY0"/>
                  </a:cxn>
                  <a:cxn ang="0">
                    <a:pos x="connsiteX1" y="connsiteY1"/>
                  </a:cxn>
                  <a:cxn ang="0">
                    <a:pos x="connsiteX2" y="connsiteY2"/>
                  </a:cxn>
                </a:cxnLst>
                <a:rect l="l" t="t" r="r" b="b"/>
                <a:pathLst>
                  <a:path w="123825" h="140017">
                    <a:moveTo>
                      <a:pt x="123825" y="0"/>
                    </a:moveTo>
                    <a:lnTo>
                      <a:pt x="0" y="140017"/>
                    </a:lnTo>
                    <a:lnTo>
                      <a:pt x="0" y="0"/>
                    </a:lnTo>
                    <a:close/>
                  </a:path>
                </a:pathLst>
              </a:custGeom>
              <a:gradFill>
                <a:gsLst>
                  <a:gs pos="0">
                    <a:srgbClr val="D50000"/>
                  </a:gs>
                  <a:gs pos="50000">
                    <a:srgbClr val="D53E00"/>
                  </a:gs>
                  <a:gs pos="100000">
                    <a:srgbClr val="D57C00"/>
                  </a:gs>
                </a:gsLst>
                <a:lin ang="5400000" scaled="1"/>
              </a:gradFill>
              <a:ln w="9525" cap="flat">
                <a:noFill/>
                <a:prstDash val="solid"/>
                <a:miter/>
              </a:ln>
            </p:spPr>
            <p:txBody>
              <a:bodyPr rtlCol="0" anchor="ctr"/>
              <a:lstStyle/>
              <a:p>
                <a:endParaRPr lang="en-IN"/>
              </a:p>
            </p:txBody>
          </p:sp>
          <p:sp>
            <p:nvSpPr>
              <p:cNvPr id="52" name="Freeform: Shape 51">
                <a:extLst>
                  <a:ext uri="{FF2B5EF4-FFF2-40B4-BE49-F238E27FC236}">
                    <a16:creationId xmlns:a16="http://schemas.microsoft.com/office/drawing/2014/main" id="{51B086AA-DD93-3359-8A18-4356E6F54135}"/>
                  </a:ext>
                </a:extLst>
              </p:cNvPr>
              <p:cNvSpPr/>
              <p:nvPr/>
            </p:nvSpPr>
            <p:spPr>
              <a:xfrm>
                <a:off x="8329529" y="2463865"/>
                <a:ext cx="178852" cy="202239"/>
              </a:xfrm>
              <a:custGeom>
                <a:avLst/>
                <a:gdLst>
                  <a:gd name="connsiteX0" fmla="*/ 123825 w 123825"/>
                  <a:gd name="connsiteY0" fmla="*/ 0 h 140017"/>
                  <a:gd name="connsiteX1" fmla="*/ 0 w 123825"/>
                  <a:gd name="connsiteY1" fmla="*/ 140017 h 140017"/>
                  <a:gd name="connsiteX2" fmla="*/ 0 w 123825"/>
                  <a:gd name="connsiteY2" fmla="*/ 0 h 140017"/>
                </a:gdLst>
                <a:ahLst/>
                <a:cxnLst>
                  <a:cxn ang="0">
                    <a:pos x="connsiteX0" y="connsiteY0"/>
                  </a:cxn>
                  <a:cxn ang="0">
                    <a:pos x="connsiteX1" y="connsiteY1"/>
                  </a:cxn>
                  <a:cxn ang="0">
                    <a:pos x="connsiteX2" y="connsiteY2"/>
                  </a:cxn>
                </a:cxnLst>
                <a:rect l="l" t="t" r="r" b="b"/>
                <a:pathLst>
                  <a:path w="123825" h="140017">
                    <a:moveTo>
                      <a:pt x="123825" y="0"/>
                    </a:moveTo>
                    <a:lnTo>
                      <a:pt x="0" y="140017"/>
                    </a:lnTo>
                    <a:lnTo>
                      <a:pt x="0" y="0"/>
                    </a:lnTo>
                    <a:close/>
                  </a:path>
                </a:pathLst>
              </a:custGeom>
              <a:solidFill>
                <a:schemeClr val="accent6">
                  <a:lumMod val="75000"/>
                </a:schemeClr>
              </a:solidFill>
              <a:ln w="9525" cap="flat">
                <a:noFill/>
                <a:prstDash val="solid"/>
                <a:miter/>
              </a:ln>
            </p:spPr>
            <p:txBody>
              <a:bodyPr rtlCol="0" anchor="ctr"/>
              <a:lstStyle/>
              <a:p>
                <a:endParaRPr lang="en-IN"/>
              </a:p>
            </p:txBody>
          </p:sp>
          <p:sp>
            <p:nvSpPr>
              <p:cNvPr id="1027" name="TextBox 1026">
                <a:extLst>
                  <a:ext uri="{FF2B5EF4-FFF2-40B4-BE49-F238E27FC236}">
                    <a16:creationId xmlns:a16="http://schemas.microsoft.com/office/drawing/2014/main" id="{5BFC3218-2E20-ED1F-C9D3-7E809BF62B73}"/>
                  </a:ext>
                </a:extLst>
              </p:cNvPr>
              <p:cNvSpPr txBox="1"/>
              <p:nvPr/>
            </p:nvSpPr>
            <p:spPr>
              <a:xfrm>
                <a:off x="6331046" y="2649919"/>
                <a:ext cx="2067981" cy="1636503"/>
              </a:xfrm>
              <a:prstGeom prst="rect">
                <a:avLst/>
              </a:prstGeom>
              <a:noFill/>
            </p:spPr>
            <p:txBody>
              <a:bodyPr wrap="square" lIns="91440" tIns="45720" rIns="91440" bIns="45720" anchor="t">
                <a:spAutoFit/>
              </a:bodyPr>
              <a:lstStyle/>
              <a:p>
                <a:pPr algn="ctr">
                  <a:spcAft>
                    <a:spcPts val="600"/>
                  </a:spcAft>
                </a:pPr>
                <a:r>
                  <a:rPr lang="en-US" sz="1300" b="1">
                    <a:solidFill>
                      <a:schemeClr val="tx1">
                        <a:lumMod val="75000"/>
                        <a:lumOff val="25000"/>
                      </a:schemeClr>
                    </a:solidFill>
                    <a:ea typeface="+mn-lt"/>
                    <a:cs typeface="+mn-lt"/>
                  </a:rPr>
                  <a:t>Compare current selection with past execution</a:t>
                </a:r>
                <a:r>
                  <a:rPr lang="en-US" sz="1300">
                    <a:solidFill>
                      <a:schemeClr val="tx1">
                        <a:lumMod val="75000"/>
                        <a:lumOff val="25000"/>
                      </a:schemeClr>
                    </a:solidFill>
                    <a:ea typeface="+mn-lt"/>
                    <a:cs typeface="+mn-lt"/>
                  </a:rPr>
                  <a:t> to reduce </a:t>
                </a:r>
                <a:r>
                  <a:rPr lang="en-US" sz="1300" b="1">
                    <a:solidFill>
                      <a:schemeClr val="tx1">
                        <a:lumMod val="75000"/>
                        <a:lumOff val="25000"/>
                      </a:schemeClr>
                    </a:solidFill>
                    <a:ea typeface="+mn-lt"/>
                    <a:cs typeface="+mn-lt"/>
                  </a:rPr>
                  <a:t>over-usage of data points</a:t>
                </a:r>
                <a:r>
                  <a:rPr lang="en-US" sz="1300">
                    <a:solidFill>
                      <a:schemeClr val="tx1">
                        <a:lumMod val="75000"/>
                        <a:lumOff val="25000"/>
                      </a:schemeClr>
                    </a:solidFill>
                    <a:ea typeface="+mn-lt"/>
                    <a:cs typeface="+mn-lt"/>
                  </a:rPr>
                  <a:t> prompts user that based on user </a:t>
                </a:r>
                <a:r>
                  <a:rPr lang="en-US" sz="1300" b="1">
                    <a:solidFill>
                      <a:schemeClr val="tx1">
                        <a:lumMod val="75000"/>
                        <a:lumOff val="25000"/>
                      </a:schemeClr>
                    </a:solidFill>
                    <a:ea typeface="+mn-lt"/>
                    <a:cs typeface="+mn-lt"/>
                  </a:rPr>
                  <a:t>history </a:t>
                </a:r>
                <a:r>
                  <a:rPr lang="en-US" sz="1300">
                    <a:solidFill>
                      <a:schemeClr val="tx1">
                        <a:lumMod val="75000"/>
                        <a:lumOff val="25000"/>
                      </a:schemeClr>
                    </a:solidFill>
                    <a:ea typeface="+mn-lt"/>
                    <a:cs typeface="+mn-lt"/>
                  </a:rPr>
                  <a:t>their current selection will exceed data point or not</a:t>
                </a:r>
                <a:br>
                  <a:rPr lang="en-US" sz="1300">
                    <a:solidFill>
                      <a:schemeClr val="tx1">
                        <a:lumMod val="75000"/>
                        <a:lumOff val="25000"/>
                      </a:schemeClr>
                    </a:solidFill>
                    <a:ea typeface="+mn-lt"/>
                    <a:cs typeface="+mn-lt"/>
                  </a:rPr>
                </a:br>
                <a:endParaRPr lang="en-US" sz="1300">
                  <a:solidFill>
                    <a:schemeClr val="tx1">
                      <a:lumMod val="75000"/>
                      <a:lumOff val="25000"/>
                    </a:schemeClr>
                  </a:solidFill>
                  <a:ea typeface="+mn-lt"/>
                  <a:cs typeface="+mn-lt"/>
                </a:endParaRPr>
              </a:p>
            </p:txBody>
          </p:sp>
          <p:sp>
            <p:nvSpPr>
              <p:cNvPr id="1033" name="TextBox 1032">
                <a:extLst>
                  <a:ext uri="{FF2B5EF4-FFF2-40B4-BE49-F238E27FC236}">
                    <a16:creationId xmlns:a16="http://schemas.microsoft.com/office/drawing/2014/main" id="{029D9C61-303E-B377-3BA0-B2C521277BE8}"/>
                  </a:ext>
                </a:extLst>
              </p:cNvPr>
              <p:cNvSpPr txBox="1"/>
              <p:nvPr/>
            </p:nvSpPr>
            <p:spPr>
              <a:xfrm>
                <a:off x="6368350" y="1994510"/>
                <a:ext cx="2030952" cy="409126"/>
              </a:xfrm>
              <a:prstGeom prst="rect">
                <a:avLst/>
              </a:prstGeom>
              <a:noFill/>
            </p:spPr>
            <p:txBody>
              <a:bodyPr wrap="square" lIns="91440" tIns="45720" rIns="91440" bIns="45720" anchor="t">
                <a:spAutoFit/>
              </a:bodyPr>
              <a:lstStyle/>
              <a:p>
                <a:pPr algn="ctr"/>
                <a:r>
                  <a:rPr lang="en-US" sz="1400" b="1">
                    <a:solidFill>
                      <a:schemeClr val="bg1"/>
                    </a:solidFill>
                    <a:latin typeface="Montserrat"/>
                  </a:rPr>
                  <a:t>Reduce overuse of data points</a:t>
                </a:r>
                <a:endParaRPr lang="en-US" sz="1400" b="1">
                  <a:solidFill>
                    <a:schemeClr val="bg1"/>
                  </a:solidFill>
                  <a:latin typeface="Montserrat" pitchFamily="2" charset="0"/>
                </a:endParaRPr>
              </a:p>
            </p:txBody>
          </p:sp>
        </p:grpSp>
        <p:grpSp>
          <p:nvGrpSpPr>
            <p:cNvPr id="1040" name="Group 1039">
              <a:extLst>
                <a:ext uri="{FF2B5EF4-FFF2-40B4-BE49-F238E27FC236}">
                  <a16:creationId xmlns:a16="http://schemas.microsoft.com/office/drawing/2014/main" id="{802CE8DB-2D74-0E00-3DB0-0A42B229420D}"/>
                </a:ext>
              </a:extLst>
            </p:cNvPr>
            <p:cNvGrpSpPr/>
            <p:nvPr/>
          </p:nvGrpSpPr>
          <p:grpSpPr>
            <a:xfrm>
              <a:off x="8973254" y="1667288"/>
              <a:ext cx="2362258" cy="3372749"/>
              <a:chOff x="8973254" y="1667288"/>
              <a:chExt cx="2362258" cy="3372749"/>
            </a:xfrm>
          </p:grpSpPr>
          <p:sp>
            <p:nvSpPr>
              <p:cNvPr id="56" name="Freeform: Shape 55">
                <a:extLst>
                  <a:ext uri="{FF2B5EF4-FFF2-40B4-BE49-F238E27FC236}">
                    <a16:creationId xmlns:a16="http://schemas.microsoft.com/office/drawing/2014/main" id="{05DCC1FE-975C-7512-86C1-256D861DC527}"/>
                  </a:ext>
                </a:extLst>
              </p:cNvPr>
              <p:cNvSpPr/>
              <p:nvPr/>
            </p:nvSpPr>
            <p:spPr>
              <a:xfrm>
                <a:off x="9166758" y="1667288"/>
                <a:ext cx="2092655" cy="3372749"/>
              </a:xfrm>
              <a:custGeom>
                <a:avLst/>
                <a:gdLst>
                  <a:gd name="connsiteX0" fmla="*/ 544830 w 1088707"/>
                  <a:gd name="connsiteY0" fmla="*/ 2895600 h 2895600"/>
                  <a:gd name="connsiteX1" fmla="*/ 544830 w 1088707"/>
                  <a:gd name="connsiteY1" fmla="*/ 2895600 h 2895600"/>
                  <a:gd name="connsiteX2" fmla="*/ 0 w 1088707"/>
                  <a:gd name="connsiteY2" fmla="*/ 2350770 h 2895600"/>
                  <a:gd name="connsiteX3" fmla="*/ 0 w 1088707"/>
                  <a:gd name="connsiteY3" fmla="*/ 0 h 2895600"/>
                  <a:gd name="connsiteX4" fmla="*/ 1088708 w 1088707"/>
                  <a:gd name="connsiteY4" fmla="*/ 0 h 2895600"/>
                  <a:gd name="connsiteX5" fmla="*/ 1088708 w 1088707"/>
                  <a:gd name="connsiteY5" fmla="*/ 2350770 h 2895600"/>
                  <a:gd name="connsiteX6" fmla="*/ 544830 w 1088707"/>
                  <a:gd name="connsiteY6" fmla="*/ 2895600 h 289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8707" h="2895600">
                    <a:moveTo>
                      <a:pt x="544830" y="2895600"/>
                    </a:moveTo>
                    <a:lnTo>
                      <a:pt x="544830" y="2895600"/>
                    </a:lnTo>
                    <a:cubicBezTo>
                      <a:pt x="243840" y="2895600"/>
                      <a:pt x="0" y="2651760"/>
                      <a:pt x="0" y="2350770"/>
                    </a:cubicBezTo>
                    <a:lnTo>
                      <a:pt x="0" y="0"/>
                    </a:lnTo>
                    <a:lnTo>
                      <a:pt x="1088708" y="0"/>
                    </a:lnTo>
                    <a:lnTo>
                      <a:pt x="1088708" y="2350770"/>
                    </a:lnTo>
                    <a:cubicBezTo>
                      <a:pt x="1088708" y="2651760"/>
                      <a:pt x="844868" y="2895600"/>
                      <a:pt x="544830" y="2895600"/>
                    </a:cubicBezTo>
                    <a:close/>
                  </a:path>
                </a:pathLst>
              </a:custGeom>
              <a:solidFill>
                <a:srgbClr val="FFFFFF"/>
              </a:solidFill>
              <a:ln w="9525" cap="flat">
                <a:noFill/>
                <a:prstDash val="solid"/>
                <a:miter/>
              </a:ln>
              <a:effectLst>
                <a:outerShdw blurRad="127000" dist="38100" dir="5400000" algn="t" rotWithShape="0">
                  <a:prstClr val="black">
                    <a:alpha val="10000"/>
                  </a:prstClr>
                </a:outerShdw>
              </a:effectLst>
            </p:spPr>
            <p:txBody>
              <a:bodyPr rtlCol="0" anchor="ctr"/>
              <a:lstStyle/>
              <a:p>
                <a:endParaRPr lang="en-IN"/>
              </a:p>
            </p:txBody>
          </p:sp>
          <p:sp>
            <p:nvSpPr>
              <p:cNvPr id="57" name="Freeform: Shape 56">
                <a:extLst>
                  <a:ext uri="{FF2B5EF4-FFF2-40B4-BE49-F238E27FC236}">
                    <a16:creationId xmlns:a16="http://schemas.microsoft.com/office/drawing/2014/main" id="{8F89316F-6484-1A1B-7A6E-886FAAECC679}"/>
                  </a:ext>
                </a:extLst>
              </p:cNvPr>
              <p:cNvSpPr/>
              <p:nvPr/>
            </p:nvSpPr>
            <p:spPr>
              <a:xfrm>
                <a:off x="8973254" y="1941068"/>
                <a:ext cx="2362258" cy="522797"/>
              </a:xfrm>
              <a:custGeom>
                <a:avLst/>
                <a:gdLst>
                  <a:gd name="connsiteX0" fmla="*/ 1383030 w 1383029"/>
                  <a:gd name="connsiteY0" fmla="*/ 361950 h 361950"/>
                  <a:gd name="connsiteX1" fmla="*/ 0 w 1383029"/>
                  <a:gd name="connsiteY1" fmla="*/ 361950 h 361950"/>
                  <a:gd name="connsiteX2" fmla="*/ 127635 w 1383029"/>
                  <a:gd name="connsiteY2" fmla="*/ 180975 h 361950"/>
                  <a:gd name="connsiteX3" fmla="*/ 0 w 1383029"/>
                  <a:gd name="connsiteY3" fmla="*/ 0 h 361950"/>
                  <a:gd name="connsiteX4" fmla="*/ 1383030 w 1383029"/>
                  <a:gd name="connsiteY4" fmla="*/ 0 h 36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029" h="361950">
                    <a:moveTo>
                      <a:pt x="1383030" y="361950"/>
                    </a:moveTo>
                    <a:lnTo>
                      <a:pt x="0" y="361950"/>
                    </a:lnTo>
                    <a:lnTo>
                      <a:pt x="127635" y="180975"/>
                    </a:lnTo>
                    <a:lnTo>
                      <a:pt x="0" y="0"/>
                    </a:lnTo>
                    <a:lnTo>
                      <a:pt x="1383030" y="0"/>
                    </a:lnTo>
                    <a:close/>
                  </a:path>
                </a:pathLst>
              </a:custGeom>
              <a:solidFill>
                <a:srgbClr val="FFCD2F"/>
              </a:solidFill>
              <a:ln w="9525" cap="flat">
                <a:noFill/>
                <a:prstDash val="solid"/>
                <a:miter/>
              </a:ln>
            </p:spPr>
            <p:txBody>
              <a:bodyPr rtlCol="0" anchor="ctr"/>
              <a:lstStyle/>
              <a:p>
                <a:endParaRPr lang="en-IN"/>
              </a:p>
            </p:txBody>
          </p:sp>
          <p:sp>
            <p:nvSpPr>
              <p:cNvPr id="58" name="Freeform: Shape 57">
                <a:extLst>
                  <a:ext uri="{FF2B5EF4-FFF2-40B4-BE49-F238E27FC236}">
                    <a16:creationId xmlns:a16="http://schemas.microsoft.com/office/drawing/2014/main" id="{F9F2DE18-B253-DA1E-41F8-74EB4EFA849E}"/>
                  </a:ext>
                </a:extLst>
              </p:cNvPr>
              <p:cNvSpPr/>
              <p:nvPr/>
            </p:nvSpPr>
            <p:spPr>
              <a:xfrm>
                <a:off x="11156660" y="2463865"/>
                <a:ext cx="178852" cy="202239"/>
              </a:xfrm>
              <a:custGeom>
                <a:avLst/>
                <a:gdLst>
                  <a:gd name="connsiteX0" fmla="*/ 123825 w 123825"/>
                  <a:gd name="connsiteY0" fmla="*/ 0 h 140017"/>
                  <a:gd name="connsiteX1" fmla="*/ 0 w 123825"/>
                  <a:gd name="connsiteY1" fmla="*/ 140017 h 140017"/>
                  <a:gd name="connsiteX2" fmla="*/ 0 w 123825"/>
                  <a:gd name="connsiteY2" fmla="*/ 0 h 140017"/>
                </a:gdLst>
                <a:ahLst/>
                <a:cxnLst>
                  <a:cxn ang="0">
                    <a:pos x="connsiteX0" y="connsiteY0"/>
                  </a:cxn>
                  <a:cxn ang="0">
                    <a:pos x="connsiteX1" y="connsiteY1"/>
                  </a:cxn>
                  <a:cxn ang="0">
                    <a:pos x="connsiteX2" y="connsiteY2"/>
                  </a:cxn>
                </a:cxnLst>
                <a:rect l="l" t="t" r="r" b="b"/>
                <a:pathLst>
                  <a:path w="123825" h="140017">
                    <a:moveTo>
                      <a:pt x="123825" y="0"/>
                    </a:moveTo>
                    <a:lnTo>
                      <a:pt x="0" y="140017"/>
                    </a:lnTo>
                    <a:lnTo>
                      <a:pt x="0" y="0"/>
                    </a:lnTo>
                    <a:close/>
                  </a:path>
                </a:pathLst>
              </a:custGeom>
              <a:solidFill>
                <a:schemeClr val="accent6">
                  <a:lumMod val="75000"/>
                </a:schemeClr>
              </a:solidFill>
              <a:ln w="9525" cap="flat">
                <a:noFill/>
                <a:prstDash val="solid"/>
                <a:miter/>
              </a:ln>
            </p:spPr>
            <p:txBody>
              <a:bodyPr rtlCol="0" anchor="ctr"/>
              <a:lstStyle/>
              <a:p>
                <a:endParaRPr lang="en-IN"/>
              </a:p>
            </p:txBody>
          </p:sp>
          <p:sp>
            <p:nvSpPr>
              <p:cNvPr id="1028" name="TextBox 1027">
                <a:extLst>
                  <a:ext uri="{FF2B5EF4-FFF2-40B4-BE49-F238E27FC236}">
                    <a16:creationId xmlns:a16="http://schemas.microsoft.com/office/drawing/2014/main" id="{14F1AC83-A6B6-BDA2-A4D1-31A52D0E0666}"/>
                  </a:ext>
                </a:extLst>
              </p:cNvPr>
              <p:cNvSpPr txBox="1"/>
              <p:nvPr/>
            </p:nvSpPr>
            <p:spPr>
              <a:xfrm>
                <a:off x="9139627" y="2640515"/>
                <a:ext cx="2075172" cy="1792933"/>
              </a:xfrm>
              <a:prstGeom prst="rect">
                <a:avLst/>
              </a:prstGeom>
              <a:noFill/>
            </p:spPr>
            <p:txBody>
              <a:bodyPr wrap="square" lIns="91440" tIns="45720" rIns="91440" bIns="45720" anchor="t">
                <a:spAutoFit/>
              </a:bodyPr>
              <a:lstStyle/>
              <a:p>
                <a:r>
                  <a:rPr lang="en-US" sz="1300">
                    <a:solidFill>
                      <a:schemeClr val="tx1">
                        <a:lumMod val="75000"/>
                        <a:lumOff val="25000"/>
                      </a:schemeClr>
                    </a:solidFill>
                    <a:ea typeface="+mn-lt"/>
                    <a:cs typeface="+mn-lt"/>
                  </a:rPr>
                  <a:t>find the </a:t>
                </a:r>
                <a:r>
                  <a:rPr lang="en-US" sz="1300" b="1">
                    <a:solidFill>
                      <a:schemeClr val="tx1">
                        <a:lumMod val="75000"/>
                        <a:lumOff val="25000"/>
                      </a:schemeClr>
                    </a:solidFill>
                    <a:ea typeface="+mn-lt"/>
                    <a:cs typeface="+mn-lt"/>
                  </a:rPr>
                  <a:t>common reports</a:t>
                </a:r>
                <a:r>
                  <a:rPr lang="en-US" sz="1300">
                    <a:solidFill>
                      <a:schemeClr val="tx1">
                        <a:lumMod val="75000"/>
                        <a:lumOff val="25000"/>
                      </a:schemeClr>
                    </a:solidFill>
                    <a:ea typeface="+mn-lt"/>
                    <a:cs typeface="+mn-lt"/>
                  </a:rPr>
                  <a:t> run by user and if those reports always fetches from the </a:t>
                </a:r>
                <a:r>
                  <a:rPr lang="en-US" sz="1300" b="1">
                    <a:solidFill>
                      <a:schemeClr val="tx1">
                        <a:lumMod val="75000"/>
                        <a:lumOff val="25000"/>
                      </a:schemeClr>
                    </a:solidFill>
                    <a:ea typeface="+mn-lt"/>
                    <a:cs typeface="+mn-lt"/>
                  </a:rPr>
                  <a:t>DB,</a:t>
                </a:r>
                <a:r>
                  <a:rPr lang="en-US" sz="1300">
                    <a:solidFill>
                      <a:schemeClr val="tx1">
                        <a:lumMod val="75000"/>
                        <a:lumOff val="25000"/>
                      </a:schemeClr>
                    </a:solidFill>
                    <a:ea typeface="+mn-lt"/>
                    <a:cs typeface="+mn-lt"/>
                  </a:rPr>
                  <a:t> based on their </a:t>
                </a:r>
                <a:r>
                  <a:rPr lang="en-US" sz="1300" b="1">
                    <a:solidFill>
                      <a:schemeClr val="tx1">
                        <a:lumMod val="75000"/>
                        <a:lumOff val="25000"/>
                      </a:schemeClr>
                    </a:solidFill>
                    <a:ea typeface="+mn-lt"/>
                    <a:cs typeface="+mn-lt"/>
                  </a:rPr>
                  <a:t>historical data</a:t>
                </a:r>
                <a:r>
                  <a:rPr lang="en-US" sz="1300">
                    <a:solidFill>
                      <a:schemeClr val="tx1">
                        <a:lumMod val="75000"/>
                        <a:lumOff val="25000"/>
                      </a:schemeClr>
                    </a:solidFill>
                    <a:ea typeface="+mn-lt"/>
                    <a:cs typeface="+mn-lt"/>
                  </a:rPr>
                  <a:t> we can </a:t>
                </a:r>
                <a:r>
                  <a:rPr lang="en-US" sz="1300" b="1">
                    <a:solidFill>
                      <a:schemeClr val="tx1">
                        <a:lumMod val="75000"/>
                        <a:lumOff val="25000"/>
                      </a:schemeClr>
                    </a:solidFill>
                    <a:ea typeface="+mn-lt"/>
                    <a:cs typeface="+mn-lt"/>
                  </a:rPr>
                  <a:t>precache </a:t>
                </a:r>
                <a:r>
                  <a:rPr lang="en-US" sz="1300">
                    <a:solidFill>
                      <a:schemeClr val="tx1">
                        <a:lumMod val="75000"/>
                        <a:lumOff val="25000"/>
                      </a:schemeClr>
                    </a:solidFill>
                    <a:ea typeface="+mn-lt"/>
                    <a:cs typeface="+mn-lt"/>
                  </a:rPr>
                  <a:t>the </a:t>
                </a:r>
                <a:r>
                  <a:rPr lang="en-US" sz="1300" b="1">
                    <a:solidFill>
                      <a:schemeClr val="tx1">
                        <a:lumMod val="75000"/>
                        <a:lumOff val="25000"/>
                      </a:schemeClr>
                    </a:solidFill>
                    <a:ea typeface="+mn-lt"/>
                    <a:cs typeface="+mn-lt"/>
                  </a:rPr>
                  <a:t>reports and selection</a:t>
                </a:r>
                <a:r>
                  <a:rPr lang="en-US" sz="1300">
                    <a:solidFill>
                      <a:schemeClr val="tx1">
                        <a:lumMod val="75000"/>
                        <a:lumOff val="25000"/>
                      </a:schemeClr>
                    </a:solidFill>
                    <a:ea typeface="+mn-lt"/>
                    <a:cs typeface="+mn-lt"/>
                  </a:rPr>
                  <a:t>.</a:t>
                </a:r>
              </a:p>
              <a:p>
                <a:endParaRPr lang="en-US" sz="1300">
                  <a:solidFill>
                    <a:srgbClr val="000000"/>
                  </a:solidFill>
                  <a:ea typeface="+mn-lt"/>
                  <a:cs typeface="+mn-lt"/>
                </a:endParaRPr>
              </a:p>
              <a:p>
                <a:pPr algn="ctr">
                  <a:spcAft>
                    <a:spcPts val="600"/>
                  </a:spcAft>
                </a:pPr>
                <a:endParaRPr lang="en-US" sz="1300">
                  <a:solidFill>
                    <a:srgbClr val="000000"/>
                  </a:solidFill>
                  <a:latin typeface="Arial"/>
                  <a:cs typeface="Arial"/>
                </a:endParaRPr>
              </a:p>
            </p:txBody>
          </p:sp>
          <p:sp>
            <p:nvSpPr>
              <p:cNvPr id="1034" name="TextBox 1033">
                <a:extLst>
                  <a:ext uri="{FF2B5EF4-FFF2-40B4-BE49-F238E27FC236}">
                    <a16:creationId xmlns:a16="http://schemas.microsoft.com/office/drawing/2014/main" id="{64D39417-8FAA-541F-1FD7-42C3FA8D5334}"/>
                  </a:ext>
                </a:extLst>
              </p:cNvPr>
              <p:cNvSpPr txBox="1"/>
              <p:nvPr/>
            </p:nvSpPr>
            <p:spPr>
              <a:xfrm>
                <a:off x="9174576" y="2047914"/>
                <a:ext cx="2146917" cy="264728"/>
              </a:xfrm>
              <a:prstGeom prst="rect">
                <a:avLst/>
              </a:prstGeom>
              <a:noFill/>
            </p:spPr>
            <p:txBody>
              <a:bodyPr wrap="square" lIns="91440" tIns="45720" rIns="91440" bIns="45720" anchor="t">
                <a:spAutoFit/>
              </a:bodyPr>
              <a:lstStyle/>
              <a:p>
                <a:pPr algn="ctr"/>
                <a:r>
                  <a:rPr lang="en-US" sz="1600" b="1">
                    <a:solidFill>
                      <a:schemeClr val="bg1"/>
                    </a:solidFill>
                    <a:latin typeface="Montserrat"/>
                  </a:rPr>
                  <a:t>Precaching</a:t>
                </a:r>
                <a:endParaRPr lang="en-US" sz="1600" b="1">
                  <a:solidFill>
                    <a:schemeClr val="bg1"/>
                  </a:solidFill>
                  <a:latin typeface="Montserrat" pitchFamily="2" charset="0"/>
                </a:endParaRPr>
              </a:p>
            </p:txBody>
          </p:sp>
        </p:grpSp>
      </p:grpSp>
      <p:cxnSp>
        <p:nvCxnSpPr>
          <p:cNvPr id="6" name="Straight Connector 5">
            <a:extLst>
              <a:ext uri="{FF2B5EF4-FFF2-40B4-BE49-F238E27FC236}">
                <a16:creationId xmlns:a16="http://schemas.microsoft.com/office/drawing/2014/main" id="{37712A53-FD77-1BE9-8C02-A4E66ACA38A6}"/>
              </a:ext>
              <a:ext uri="{C183D7F6-B498-43B3-948B-1728B52AA6E4}">
                <adec:decorative xmlns:adec="http://schemas.microsoft.com/office/drawing/2017/decorative" val="1"/>
              </a:ext>
            </a:extLst>
          </p:cNvPr>
          <p:cNvCxnSpPr>
            <a:cxnSpLocks/>
          </p:cNvCxnSpPr>
          <p:nvPr/>
        </p:nvCxnSpPr>
        <p:spPr>
          <a:xfrm>
            <a:off x="488191" y="1088493"/>
            <a:ext cx="10761492"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sp>
        <p:nvSpPr>
          <p:cNvPr id="1104" name="TextBox 1103">
            <a:extLst>
              <a:ext uri="{FF2B5EF4-FFF2-40B4-BE49-F238E27FC236}">
                <a16:creationId xmlns:a16="http://schemas.microsoft.com/office/drawing/2014/main" id="{B322AF53-5B50-ED74-A960-5472FE9CEACC}"/>
              </a:ext>
            </a:extLst>
          </p:cNvPr>
          <p:cNvSpPr txBox="1"/>
          <p:nvPr/>
        </p:nvSpPr>
        <p:spPr>
          <a:xfrm>
            <a:off x="269281" y="2577752"/>
            <a:ext cx="1677286" cy="120032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2600" b="1">
                <a:solidFill>
                  <a:schemeClr val="tx1">
                    <a:lumMod val="75000"/>
                    <a:lumOff val="25000"/>
                  </a:schemeClr>
                </a:solidFill>
                <a:highlight>
                  <a:srgbClr val="FFFF00"/>
                </a:highlight>
                <a:latin typeface="Montserrat"/>
                <a:ea typeface="Cambria"/>
              </a:rPr>
              <a:t>Leverage built analytics </a:t>
            </a:r>
            <a:endParaRPr lang="en-US" sz="2600" b="1">
              <a:solidFill>
                <a:schemeClr val="tx1">
                  <a:lumMod val="75000"/>
                  <a:lumOff val="25000"/>
                </a:schemeClr>
              </a:solidFill>
              <a:highlight>
                <a:srgbClr val="FFFF00"/>
              </a:highlight>
              <a:latin typeface="Montserrat"/>
              <a:ea typeface="Cambria"/>
              <a:cs typeface="Arial"/>
            </a:endParaRPr>
          </a:p>
        </p:txBody>
      </p:sp>
    </p:spTree>
    <p:extLst>
      <p:ext uri="{BB962C8B-B14F-4D97-AF65-F5344CB8AC3E}">
        <p14:creationId xmlns:p14="http://schemas.microsoft.com/office/powerpoint/2010/main" val="41548110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a:extLst>
              <a:ext uri="{FF2B5EF4-FFF2-40B4-BE49-F238E27FC236}">
                <a16:creationId xmlns:a16="http://schemas.microsoft.com/office/drawing/2014/main" id="{F05DCBAE-F9D7-0662-A14A-73012FE82AEF}"/>
              </a:ext>
            </a:extLst>
          </p:cNvPr>
          <p:cNvSpPr txBox="1">
            <a:spLocks/>
          </p:cNvSpPr>
          <p:nvPr/>
        </p:nvSpPr>
        <p:spPr>
          <a:xfrm>
            <a:off x="288558" y="178971"/>
            <a:ext cx="3850823" cy="397352"/>
          </a:xfrm>
          <a:prstGeom prst="rect">
            <a:avLst/>
          </a:prstGeom>
        </p:spPr>
        <p:txBody>
          <a:bodyPr/>
          <a:lst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2C6DF6"/>
                </a:solidFill>
                <a:effectLst/>
                <a:uLnTx/>
                <a:uFillTx/>
                <a:latin typeface="Arial" panose="020B0604020202020204"/>
                <a:ea typeface="+mj-ea"/>
                <a:cs typeface="+mj-cs"/>
              </a:rPr>
              <a:t>CASE 1 - Deep Customization: NLP-based Log Categorization</a:t>
            </a:r>
          </a:p>
        </p:txBody>
      </p:sp>
      <p:sp>
        <p:nvSpPr>
          <p:cNvPr id="4" name="TextBox 3">
            <a:extLst>
              <a:ext uri="{FF2B5EF4-FFF2-40B4-BE49-F238E27FC236}">
                <a16:creationId xmlns:a16="http://schemas.microsoft.com/office/drawing/2014/main" id="{7E65253D-F853-AEF7-85A5-59F8466CDD68}"/>
              </a:ext>
            </a:extLst>
          </p:cNvPr>
          <p:cNvSpPr txBox="1"/>
          <p:nvPr/>
        </p:nvSpPr>
        <p:spPr>
          <a:xfrm>
            <a:off x="329747" y="679275"/>
            <a:ext cx="3488026" cy="3451376"/>
          </a:xfrm>
          <a:prstGeom prst="rect">
            <a:avLst/>
          </a:prstGeom>
          <a:noFill/>
        </p:spPr>
        <p:txBody>
          <a:bodyPr wrap="square" lIns="0" tIns="45720" rIns="0" bIns="45720" rtlCol="0" anchor="t">
            <a:noAutofit/>
          </a:bodyPr>
          <a:lstStyle/>
          <a:p>
            <a:pPr algn="l">
              <a:spcAft>
                <a:spcPts val="600"/>
              </a:spcAft>
            </a:pPr>
            <a:r>
              <a:rPr lang="en-US" sz="1000" b="1"/>
              <a:t>Current Problem/limitation :</a:t>
            </a:r>
          </a:p>
          <a:p>
            <a:pPr marL="285750" indent="-285750" algn="l">
              <a:spcAft>
                <a:spcPts val="600"/>
              </a:spcAft>
              <a:buFont typeface="Arial" panose="020B0604020202020204" pitchFamily="34" charset="0"/>
              <a:buChar char="•"/>
            </a:pPr>
            <a:r>
              <a:rPr lang="en-US" sz="1000"/>
              <a:t>In Datadog, logs are tagged based on severity levels (Error, Warning, Info) but lack in-depth understanding of the impact or context of the log messages.</a:t>
            </a:r>
            <a:endParaRPr lang="en-US" sz="1000">
              <a:cs typeface="Arial"/>
            </a:endParaRPr>
          </a:p>
          <a:p>
            <a:pPr algn="l">
              <a:spcAft>
                <a:spcPts val="600"/>
              </a:spcAft>
            </a:pPr>
            <a:r>
              <a:rPr lang="en-US" sz="1000" b="1"/>
              <a:t>Azure Cognitive Services: </a:t>
            </a:r>
            <a:endParaRPr lang="en-US" sz="1000" b="1">
              <a:cs typeface="Arial"/>
            </a:endParaRPr>
          </a:p>
          <a:p>
            <a:pPr marL="285750" indent="-285750" algn="l">
              <a:spcAft>
                <a:spcPts val="600"/>
              </a:spcAft>
              <a:buFont typeface="Arial" panose="020B0604020202020204" pitchFamily="34" charset="0"/>
              <a:buChar char="•"/>
            </a:pPr>
            <a:r>
              <a:rPr lang="en-US" sz="1000"/>
              <a:t>Logs can be categorized into custom categories such as Cache Error, Server error, Connection error etc.. based on the specific content of the log</a:t>
            </a:r>
            <a:endParaRPr lang="en-US" sz="1000">
              <a:cs typeface="Arial"/>
            </a:endParaRPr>
          </a:p>
          <a:p>
            <a:pPr algn="l">
              <a:spcAft>
                <a:spcPts val="600"/>
              </a:spcAft>
            </a:pPr>
            <a:r>
              <a:rPr lang="en-US" sz="1000" b="1"/>
              <a:t>Approach</a:t>
            </a:r>
            <a:endParaRPr lang="en-US" sz="1000" b="1">
              <a:cs typeface="Arial"/>
            </a:endParaRPr>
          </a:p>
          <a:p>
            <a:pPr marL="285750" indent="-285750" algn="l">
              <a:spcAft>
                <a:spcPts val="600"/>
              </a:spcAft>
              <a:buFont typeface="Arial" panose="020B0604020202020204" pitchFamily="34" charset="0"/>
              <a:buChar char="•"/>
            </a:pPr>
            <a:r>
              <a:rPr lang="en-US" sz="1000"/>
              <a:t>The system can analyze the potential impact, such as service outages, performance degradation, or user experience issues, and tag logs accordingly.</a:t>
            </a:r>
            <a:endParaRPr lang="en-US" sz="1000">
              <a:cs typeface="Arial"/>
            </a:endParaRPr>
          </a:p>
          <a:p>
            <a:pPr algn="l">
              <a:spcAft>
                <a:spcPts val="600"/>
              </a:spcAft>
            </a:pPr>
            <a:r>
              <a:rPr lang="en-US" sz="1000" b="1"/>
              <a:t>Advantages: </a:t>
            </a:r>
            <a:endParaRPr lang="en-US" sz="1000" b="1">
              <a:cs typeface="Arial"/>
            </a:endParaRPr>
          </a:p>
          <a:p>
            <a:pPr marL="285750" indent="-285750" algn="l">
              <a:spcAft>
                <a:spcPts val="600"/>
              </a:spcAft>
              <a:buFont typeface="Arial" panose="020B0604020202020204" pitchFamily="34" charset="0"/>
              <a:buChar char="•"/>
            </a:pPr>
            <a:r>
              <a:rPr lang="en-US" sz="1000"/>
              <a:t>Automated log classification with context-aware categories beyond basic severity.</a:t>
            </a:r>
            <a:endParaRPr lang="en-US" sz="1000">
              <a:cs typeface="Arial"/>
            </a:endParaRPr>
          </a:p>
          <a:p>
            <a:pPr marL="285750" indent="-285750" algn="l">
              <a:spcAft>
                <a:spcPts val="600"/>
              </a:spcAft>
              <a:buFont typeface="Arial" panose="020B0604020202020204" pitchFamily="34" charset="0"/>
              <a:buChar char="•"/>
            </a:pPr>
            <a:r>
              <a:rPr lang="en-US" sz="1000"/>
              <a:t>Provides actionable insights directly within logs. </a:t>
            </a:r>
            <a:endParaRPr lang="en-US" sz="1000">
              <a:cs typeface="Arial"/>
            </a:endParaRPr>
          </a:p>
          <a:p>
            <a:pPr marL="285750" indent="-285750" algn="l">
              <a:spcAft>
                <a:spcPts val="600"/>
              </a:spcAft>
              <a:buFont typeface="Arial" panose="020B0604020202020204" pitchFamily="34" charset="0"/>
              <a:buChar char="•"/>
            </a:pPr>
            <a:r>
              <a:rPr lang="en-US" sz="1000"/>
              <a:t>Tailors log processing based on organizational needs</a:t>
            </a:r>
            <a:endParaRPr lang="en-US" sz="1000">
              <a:cs typeface="Arial"/>
            </a:endParaRPr>
          </a:p>
          <a:p>
            <a:pPr algn="l">
              <a:spcAft>
                <a:spcPts val="600"/>
              </a:spcAft>
            </a:pPr>
            <a:endParaRPr lang="en-US" sz="1000"/>
          </a:p>
          <a:p>
            <a:pPr algn="l">
              <a:spcAft>
                <a:spcPts val="600"/>
              </a:spcAft>
            </a:pPr>
            <a:endParaRPr lang="en-US" sz="1000"/>
          </a:p>
        </p:txBody>
      </p:sp>
      <p:pic>
        <p:nvPicPr>
          <p:cNvPr id="5" name="Picture 4">
            <a:extLst>
              <a:ext uri="{FF2B5EF4-FFF2-40B4-BE49-F238E27FC236}">
                <a16:creationId xmlns:a16="http://schemas.microsoft.com/office/drawing/2014/main" id="{60FFE62E-445E-57A0-4ED6-F0F0FA6E8492}"/>
              </a:ext>
            </a:extLst>
          </p:cNvPr>
          <p:cNvPicPr>
            <a:picLocks noChangeAspect="1"/>
          </p:cNvPicPr>
          <p:nvPr/>
        </p:nvPicPr>
        <p:blipFill>
          <a:blip r:embed="rId3"/>
          <a:stretch>
            <a:fillRect/>
          </a:stretch>
        </p:blipFill>
        <p:spPr>
          <a:xfrm>
            <a:off x="329747" y="4007498"/>
            <a:ext cx="2497394" cy="1224802"/>
          </a:xfrm>
          <a:prstGeom prst="rect">
            <a:avLst/>
          </a:prstGeom>
        </p:spPr>
      </p:pic>
      <p:pic>
        <p:nvPicPr>
          <p:cNvPr id="6" name="Picture 5">
            <a:extLst>
              <a:ext uri="{FF2B5EF4-FFF2-40B4-BE49-F238E27FC236}">
                <a16:creationId xmlns:a16="http://schemas.microsoft.com/office/drawing/2014/main" id="{81B0A464-04DB-77AE-5C96-50E848EA4806}"/>
              </a:ext>
            </a:extLst>
          </p:cNvPr>
          <p:cNvPicPr>
            <a:picLocks noChangeAspect="1"/>
          </p:cNvPicPr>
          <p:nvPr/>
        </p:nvPicPr>
        <p:blipFill>
          <a:blip r:embed="rId4"/>
          <a:stretch>
            <a:fillRect/>
          </a:stretch>
        </p:blipFill>
        <p:spPr>
          <a:xfrm>
            <a:off x="329747" y="5310353"/>
            <a:ext cx="2497394" cy="606062"/>
          </a:xfrm>
          <a:prstGeom prst="rect">
            <a:avLst/>
          </a:prstGeom>
        </p:spPr>
      </p:pic>
      <p:sp>
        <p:nvSpPr>
          <p:cNvPr id="7" name="TextBox 6">
            <a:extLst>
              <a:ext uri="{FF2B5EF4-FFF2-40B4-BE49-F238E27FC236}">
                <a16:creationId xmlns:a16="http://schemas.microsoft.com/office/drawing/2014/main" id="{E3BA386C-96BA-2D9C-247A-71B6A6185E19}"/>
              </a:ext>
            </a:extLst>
          </p:cNvPr>
          <p:cNvSpPr txBox="1"/>
          <p:nvPr/>
        </p:nvSpPr>
        <p:spPr>
          <a:xfrm>
            <a:off x="4221759" y="848678"/>
            <a:ext cx="3326392" cy="3839008"/>
          </a:xfrm>
          <a:prstGeom prst="rect">
            <a:avLst/>
          </a:prstGeom>
          <a:noFill/>
        </p:spPr>
        <p:txBody>
          <a:bodyPr wrap="square" lIns="0" tIns="45720" rIns="0" bIns="45720" rtlCol="0" anchor="t">
            <a:noAutofit/>
          </a:bodyPr>
          <a:lstStyle/>
          <a:p>
            <a:pPr algn="l">
              <a:spcAft>
                <a:spcPts val="600"/>
              </a:spcAft>
            </a:pPr>
            <a:r>
              <a:rPr lang="en-US" sz="1000" b="1"/>
              <a:t>MAIN FOCUS:</a:t>
            </a:r>
          </a:p>
          <a:p>
            <a:pPr marL="285750" indent="-285750" algn="l">
              <a:spcAft>
                <a:spcPts val="600"/>
              </a:spcAft>
              <a:buFont typeface="Arial" panose="020B0604020202020204" pitchFamily="34" charset="0"/>
              <a:buChar char="•"/>
            </a:pPr>
            <a:r>
              <a:rPr lang="en-US" sz="1000" b="1"/>
              <a:t>Root cause </a:t>
            </a:r>
            <a:r>
              <a:rPr lang="en-US" sz="1000"/>
              <a:t>analysis in </a:t>
            </a:r>
            <a:r>
              <a:rPr lang="en-US" sz="1000" err="1"/>
              <a:t>datadog</a:t>
            </a:r>
            <a:r>
              <a:rPr lang="en-US" sz="1000"/>
              <a:t> is typically </a:t>
            </a:r>
            <a:r>
              <a:rPr lang="en-US" sz="1000" b="1"/>
              <a:t>manual</a:t>
            </a:r>
            <a:r>
              <a:rPr lang="en-US" sz="1000"/>
              <a:t> and involves engineers analyzing logs to determine the cause of system issues. </a:t>
            </a:r>
            <a:endParaRPr lang="en-US" sz="1000">
              <a:cs typeface="Arial"/>
            </a:endParaRPr>
          </a:p>
          <a:p>
            <a:pPr algn="l">
              <a:spcAft>
                <a:spcPts val="600"/>
              </a:spcAft>
            </a:pPr>
            <a:r>
              <a:rPr lang="en-US" sz="1000"/>
              <a:t>Azure Cognitive Services, Azure Machine Learning &amp; Clustering Algorithms: </a:t>
            </a:r>
            <a:endParaRPr lang="en-US" sz="1000">
              <a:cs typeface="Arial"/>
            </a:endParaRPr>
          </a:p>
          <a:p>
            <a:pPr marL="285750" indent="-285750" algn="l">
              <a:spcAft>
                <a:spcPts val="600"/>
              </a:spcAft>
              <a:buFont typeface="Arial" panose="020B0604020202020204" pitchFamily="34" charset="0"/>
              <a:buChar char="•"/>
            </a:pPr>
            <a:r>
              <a:rPr lang="en-US" sz="1000"/>
              <a:t>Automatic Clustering: Logs are clustered based on similarities such as time, user session, and resource utilization. The system can then automatically detect patterns in failures (e.g., "Database Connection Timeout")</a:t>
            </a:r>
            <a:endParaRPr lang="en-US" sz="1000">
              <a:cs typeface="Arial"/>
            </a:endParaRPr>
          </a:p>
          <a:p>
            <a:pPr marL="285750" indent="-285750" algn="l">
              <a:spcAft>
                <a:spcPts val="600"/>
              </a:spcAft>
              <a:buFont typeface="Arial" panose="020B0604020202020204" pitchFamily="34" charset="0"/>
              <a:buChar char="•"/>
            </a:pPr>
            <a:r>
              <a:rPr lang="en-US" sz="1000"/>
              <a:t>Proactive Issue Identification: The platform proactively groups related logs, offering engineers immediate insights into the most likely causes of problems.</a:t>
            </a:r>
            <a:endParaRPr lang="en-US" sz="1000">
              <a:cs typeface="Arial"/>
            </a:endParaRPr>
          </a:p>
          <a:p>
            <a:pPr algn="l">
              <a:spcAft>
                <a:spcPts val="600"/>
              </a:spcAft>
            </a:pPr>
            <a:r>
              <a:rPr lang="en-US" sz="1000" b="1"/>
              <a:t>Advantages: </a:t>
            </a:r>
            <a:endParaRPr lang="en-US" sz="1000" b="1">
              <a:cs typeface="Arial"/>
            </a:endParaRPr>
          </a:p>
          <a:p>
            <a:pPr marL="285750" indent="-285750" algn="l">
              <a:spcAft>
                <a:spcPts val="600"/>
              </a:spcAft>
              <a:buFont typeface="Arial" panose="020B0604020202020204" pitchFamily="34" charset="0"/>
              <a:buChar char="•"/>
            </a:pPr>
            <a:r>
              <a:rPr lang="en-US" sz="1000"/>
              <a:t>Speeds up root cause identification by automatically clustering logs related to failures.</a:t>
            </a:r>
            <a:endParaRPr lang="en-US" sz="1000">
              <a:cs typeface="Arial"/>
            </a:endParaRPr>
          </a:p>
          <a:p>
            <a:pPr marL="285750" indent="-285750" algn="l">
              <a:spcAft>
                <a:spcPts val="600"/>
              </a:spcAft>
              <a:buFont typeface="Arial" panose="020B0604020202020204" pitchFamily="34" charset="0"/>
              <a:buChar char="•"/>
            </a:pPr>
            <a:r>
              <a:rPr lang="en-US" sz="1000"/>
              <a:t>Reduces manual effort in investigating errors, enabling quicker response times.</a:t>
            </a:r>
            <a:endParaRPr lang="en-US" sz="1000">
              <a:cs typeface="Arial"/>
            </a:endParaRPr>
          </a:p>
          <a:p>
            <a:pPr algn="l">
              <a:spcAft>
                <a:spcPts val="600"/>
              </a:spcAft>
            </a:pPr>
            <a:endParaRPr lang="en-US" sz="1000"/>
          </a:p>
        </p:txBody>
      </p:sp>
      <p:sp>
        <p:nvSpPr>
          <p:cNvPr id="9" name="TextBox 8">
            <a:extLst>
              <a:ext uri="{FF2B5EF4-FFF2-40B4-BE49-F238E27FC236}">
                <a16:creationId xmlns:a16="http://schemas.microsoft.com/office/drawing/2014/main" id="{0E1B8D57-71C5-DEEA-8979-4648639D43D8}"/>
              </a:ext>
            </a:extLst>
          </p:cNvPr>
          <p:cNvSpPr txBox="1"/>
          <p:nvPr/>
        </p:nvSpPr>
        <p:spPr>
          <a:xfrm>
            <a:off x="7716137" y="675246"/>
            <a:ext cx="4146117" cy="2441249"/>
          </a:xfrm>
          <a:prstGeom prst="rect">
            <a:avLst/>
          </a:prstGeom>
          <a:noFill/>
        </p:spPr>
        <p:txBody>
          <a:bodyPr wrap="square" lIns="0" tIns="45720" rIns="0" bIns="45720" rtlCol="0" anchor="t">
            <a:noAutofit/>
          </a:bodyPr>
          <a:lstStyle/>
          <a:p>
            <a:pPr>
              <a:spcAft>
                <a:spcPts val="600"/>
              </a:spcAft>
            </a:pPr>
            <a:r>
              <a:rPr lang="en-US" sz="1000" b="1">
                <a:cs typeface="Arial"/>
              </a:rPr>
              <a:t>MAIN FOCUS:</a:t>
            </a:r>
          </a:p>
          <a:p>
            <a:pPr marL="285750" indent="-285750">
              <a:spcAft>
                <a:spcPts val="600"/>
              </a:spcAft>
              <a:buFont typeface="Arial,Sans-Serif"/>
              <a:buChar char="•"/>
            </a:pPr>
            <a:r>
              <a:rPr lang="en-US" sz="1000" b="1">
                <a:cs typeface="Arial"/>
              </a:rPr>
              <a:t>Grouping all logs </a:t>
            </a:r>
            <a:r>
              <a:rPr lang="en-US" sz="1000">
                <a:cs typeface="Arial"/>
              </a:rPr>
              <a:t>across the services based on </a:t>
            </a:r>
            <a:r>
              <a:rPr lang="en-US" sz="1000" b="1">
                <a:cs typeface="Arial"/>
              </a:rPr>
              <a:t>user email id</a:t>
            </a:r>
            <a:r>
              <a:rPr lang="en-US" sz="1000">
                <a:cs typeface="Arial"/>
              </a:rPr>
              <a:t> is not possible in </a:t>
            </a:r>
            <a:r>
              <a:rPr lang="en-US" sz="1000" err="1">
                <a:cs typeface="Arial"/>
              </a:rPr>
              <a:t>datadog</a:t>
            </a:r>
            <a:r>
              <a:rPr lang="en-US" sz="1000">
                <a:cs typeface="Arial"/>
              </a:rPr>
              <a:t> currently the logs are grouped based on </a:t>
            </a:r>
            <a:r>
              <a:rPr lang="en-US" sz="1000" b="1">
                <a:cs typeface="Arial"/>
              </a:rPr>
              <a:t>transaction ids </a:t>
            </a:r>
            <a:r>
              <a:rPr lang="en-US" sz="1000">
                <a:cs typeface="Arial"/>
              </a:rPr>
              <a:t>and only few logs have the user info like user email id. </a:t>
            </a:r>
          </a:p>
          <a:p>
            <a:pPr>
              <a:spcAft>
                <a:spcPts val="600"/>
              </a:spcAft>
            </a:pPr>
            <a:r>
              <a:rPr lang="en-US" sz="1000" b="1">
                <a:cs typeface="Arial"/>
              </a:rPr>
              <a:t>Azure Cognitive Services:</a:t>
            </a:r>
          </a:p>
          <a:p>
            <a:pPr marL="285750" indent="-285750">
              <a:spcAft>
                <a:spcPts val="600"/>
              </a:spcAft>
              <a:buFont typeface="Arial,Sans-Serif"/>
              <a:buChar char="•"/>
            </a:pPr>
            <a:r>
              <a:rPr lang="en-US" sz="1000">
                <a:cs typeface="Arial"/>
              </a:rPr>
              <a:t>Automatic grouping: Logs are grouped based on user email id. Not all logs have user info like user email id. </a:t>
            </a:r>
          </a:p>
          <a:p>
            <a:pPr>
              <a:spcAft>
                <a:spcPts val="600"/>
              </a:spcAft>
            </a:pPr>
            <a:r>
              <a:rPr lang="en-US" sz="1000" b="1">
                <a:cs typeface="Arial"/>
              </a:rPr>
              <a:t>Advantages: </a:t>
            </a:r>
          </a:p>
          <a:p>
            <a:pPr marL="285750" indent="-285750">
              <a:spcAft>
                <a:spcPts val="600"/>
              </a:spcAft>
              <a:buFont typeface="Arial,Sans-Serif"/>
              <a:buChar char="•"/>
            </a:pPr>
            <a:r>
              <a:rPr lang="en-US" sz="1000">
                <a:cs typeface="Arial"/>
              </a:rPr>
              <a:t>Identify insights about user’s common selection and reports they run</a:t>
            </a:r>
          </a:p>
          <a:p>
            <a:pPr marL="285750" indent="-285750">
              <a:spcAft>
                <a:spcPts val="600"/>
              </a:spcAft>
              <a:buFont typeface="Arial,Sans-Serif"/>
              <a:buChar char="•"/>
            </a:pPr>
            <a:r>
              <a:rPr lang="en-US" sz="1000">
                <a:cs typeface="Arial"/>
              </a:rPr>
              <a:t>Track the logs based on user across all the services</a:t>
            </a:r>
          </a:p>
          <a:p>
            <a:pPr marL="285750" indent="-285750">
              <a:spcAft>
                <a:spcPts val="600"/>
              </a:spcAft>
              <a:buFont typeface="Arial" panose="020B0604020202020204" pitchFamily="34" charset="0"/>
              <a:buChar char="•"/>
            </a:pPr>
            <a:endParaRPr lang="en-US" sz="1000">
              <a:cs typeface="Arial"/>
            </a:endParaRPr>
          </a:p>
        </p:txBody>
      </p:sp>
      <p:sp>
        <p:nvSpPr>
          <p:cNvPr id="11" name="Title 5">
            <a:extLst>
              <a:ext uri="{FF2B5EF4-FFF2-40B4-BE49-F238E27FC236}">
                <a16:creationId xmlns:a16="http://schemas.microsoft.com/office/drawing/2014/main" id="{E0E54031-46DB-8524-D8F1-7980B0CD2CEF}"/>
              </a:ext>
            </a:extLst>
          </p:cNvPr>
          <p:cNvSpPr txBox="1">
            <a:spLocks/>
          </p:cNvSpPr>
          <p:nvPr/>
        </p:nvSpPr>
        <p:spPr>
          <a:xfrm>
            <a:off x="4143168" y="106890"/>
            <a:ext cx="3248467" cy="459135"/>
          </a:xfrm>
          <a:prstGeom prst="rect">
            <a:avLst/>
          </a:prstGeom>
        </p:spPr>
        <p:txBody>
          <a:bodyPr/>
          <a:lst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2C6DF6"/>
                </a:solidFill>
                <a:effectLst/>
                <a:uLnTx/>
                <a:uFillTx/>
                <a:latin typeface="Arial" panose="020B0604020202020204"/>
                <a:ea typeface="+mj-ea"/>
                <a:cs typeface="+mj-cs"/>
              </a:rPr>
              <a:t>CASE 2 - Enhanced Predictive Capabilities: ML-Driven Root Cause Analysis</a:t>
            </a:r>
          </a:p>
        </p:txBody>
      </p:sp>
      <p:sp>
        <p:nvSpPr>
          <p:cNvPr id="13" name="Title 5">
            <a:extLst>
              <a:ext uri="{FF2B5EF4-FFF2-40B4-BE49-F238E27FC236}">
                <a16:creationId xmlns:a16="http://schemas.microsoft.com/office/drawing/2014/main" id="{A7B069B6-43B7-2780-3170-73595480BAD9}"/>
              </a:ext>
            </a:extLst>
          </p:cNvPr>
          <p:cNvSpPr txBox="1">
            <a:spLocks/>
          </p:cNvSpPr>
          <p:nvPr/>
        </p:nvSpPr>
        <p:spPr>
          <a:xfrm>
            <a:off x="7627771" y="103267"/>
            <a:ext cx="4150175" cy="459135"/>
          </a:xfrm>
          <a:prstGeom prst="rect">
            <a:avLst/>
          </a:prstGeom>
        </p:spPr>
        <p:txBody>
          <a:bodyPr/>
          <a:lst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2C6DF6"/>
                </a:solidFill>
                <a:effectLst/>
                <a:uLnTx/>
                <a:uFillTx/>
                <a:latin typeface="Arial" panose="020B0604020202020204"/>
                <a:ea typeface="+mj-ea"/>
                <a:cs typeface="+mj-cs"/>
              </a:rPr>
              <a:t>CASE 3 - Grouping all logs across the services based on user email id </a:t>
            </a:r>
          </a:p>
        </p:txBody>
      </p:sp>
      <p:pic>
        <p:nvPicPr>
          <p:cNvPr id="12" name="Picture 11" descr="A screenshot of a computer&#10;&#10;Description automatically generated">
            <a:extLst>
              <a:ext uri="{FF2B5EF4-FFF2-40B4-BE49-F238E27FC236}">
                <a16:creationId xmlns:a16="http://schemas.microsoft.com/office/drawing/2014/main" id="{390B7AAD-D49A-0290-A155-B6B06B39B1FF}"/>
              </a:ext>
            </a:extLst>
          </p:cNvPr>
          <p:cNvPicPr>
            <a:picLocks noChangeAspect="1"/>
          </p:cNvPicPr>
          <p:nvPr/>
        </p:nvPicPr>
        <p:blipFill>
          <a:blip r:embed="rId5"/>
          <a:stretch>
            <a:fillRect/>
          </a:stretch>
        </p:blipFill>
        <p:spPr>
          <a:xfrm>
            <a:off x="7669545" y="3116495"/>
            <a:ext cx="4417942" cy="1245587"/>
          </a:xfrm>
          <a:prstGeom prst="rect">
            <a:avLst/>
          </a:prstGeom>
        </p:spPr>
      </p:pic>
      <p:pic>
        <p:nvPicPr>
          <p:cNvPr id="16" name="Picture 15" descr="A screenshot of a computer&#10;&#10;Description automatically generated">
            <a:extLst>
              <a:ext uri="{FF2B5EF4-FFF2-40B4-BE49-F238E27FC236}">
                <a16:creationId xmlns:a16="http://schemas.microsoft.com/office/drawing/2014/main" id="{8D546260-A791-009D-577D-7AE06ABBD564}"/>
              </a:ext>
            </a:extLst>
          </p:cNvPr>
          <p:cNvPicPr>
            <a:picLocks noChangeAspect="1"/>
          </p:cNvPicPr>
          <p:nvPr/>
        </p:nvPicPr>
        <p:blipFill>
          <a:blip r:embed="rId6"/>
          <a:stretch>
            <a:fillRect/>
          </a:stretch>
        </p:blipFill>
        <p:spPr>
          <a:xfrm>
            <a:off x="4383796" y="4694426"/>
            <a:ext cx="3246619" cy="1229816"/>
          </a:xfrm>
          <a:prstGeom prst="rect">
            <a:avLst/>
          </a:prstGeom>
        </p:spPr>
      </p:pic>
      <p:sp>
        <p:nvSpPr>
          <p:cNvPr id="17" name="TextBox 8">
            <a:extLst>
              <a:ext uri="{FF2B5EF4-FFF2-40B4-BE49-F238E27FC236}">
                <a16:creationId xmlns:a16="http://schemas.microsoft.com/office/drawing/2014/main" id="{0E1B8D57-71C5-DEEA-8979-4648639D43D8}"/>
              </a:ext>
            </a:extLst>
          </p:cNvPr>
          <p:cNvSpPr txBox="1"/>
          <p:nvPr/>
        </p:nvSpPr>
        <p:spPr>
          <a:xfrm>
            <a:off x="8005647" y="4651293"/>
            <a:ext cx="3938984" cy="1533797"/>
          </a:xfrm>
          <a:prstGeom prst="rect">
            <a:avLst/>
          </a:prstGeom>
          <a:noFill/>
        </p:spPr>
        <p:txBody>
          <a:bodyPr wrap="square" lIns="0" r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600"/>
              </a:spcAft>
            </a:pPr>
            <a:r>
              <a:rPr lang="en-US" sz="1000"/>
              <a:t>Steps involve in Implementing the machine learning lifecycle in Azure Monitor Logs:</a:t>
            </a:r>
          </a:p>
          <a:p>
            <a:pPr marL="285750" indent="-285750" algn="l">
              <a:spcAft>
                <a:spcPts val="600"/>
              </a:spcAft>
              <a:buFont typeface="Arial" panose="020B0604020202020204" pitchFamily="34" charset="0"/>
              <a:buChar char="•"/>
            </a:pPr>
            <a:r>
              <a:rPr lang="it-IT" sz="1000"/>
              <a:t>Query logs using KQL in Azure Monitor Logs</a:t>
            </a:r>
          </a:p>
          <a:p>
            <a:pPr marL="285750" indent="-285750" algn="l">
              <a:spcAft>
                <a:spcPts val="600"/>
              </a:spcAft>
              <a:buFont typeface="Arial" panose="020B0604020202020204" pitchFamily="34" charset="0"/>
              <a:buChar char="•"/>
            </a:pPr>
            <a:r>
              <a:rPr lang="en-US" sz="1000"/>
              <a:t>Examine and understand the logs collected.</a:t>
            </a:r>
          </a:p>
          <a:p>
            <a:pPr marL="285750" indent="-285750" algn="l">
              <a:spcAft>
                <a:spcPts val="600"/>
              </a:spcAft>
              <a:buFont typeface="Arial" panose="020B0604020202020204" pitchFamily="34" charset="0"/>
              <a:buChar char="•"/>
            </a:pPr>
            <a:r>
              <a:rPr lang="en-US" sz="1000"/>
              <a:t>Build and training Clustering model (K means)</a:t>
            </a:r>
          </a:p>
          <a:p>
            <a:pPr marL="285750" indent="-285750" algn="l">
              <a:spcAft>
                <a:spcPts val="600"/>
              </a:spcAft>
              <a:buFont typeface="Arial" panose="020B0604020202020204" pitchFamily="34" charset="0"/>
              <a:buChar char="•"/>
            </a:pPr>
            <a:r>
              <a:rPr lang="en-US" sz="1000"/>
              <a:t>Automate your pipeline to retrain your model regularly on current data.</a:t>
            </a:r>
          </a:p>
          <a:p>
            <a:pPr marL="285750" indent="-285750" algn="l">
              <a:spcAft>
                <a:spcPts val="600"/>
              </a:spcAft>
              <a:buFont typeface="Arial" panose="020B0604020202020204" pitchFamily="34" charset="0"/>
              <a:buChar char="•"/>
            </a:pPr>
            <a:r>
              <a:rPr lang="en-US" sz="1000"/>
              <a:t>Use Azure Dashboard to visualize the data</a:t>
            </a:r>
          </a:p>
        </p:txBody>
      </p:sp>
      <p:sp>
        <p:nvSpPr>
          <p:cNvPr id="2" name="TextBox 1">
            <a:extLst>
              <a:ext uri="{FF2B5EF4-FFF2-40B4-BE49-F238E27FC236}">
                <a16:creationId xmlns:a16="http://schemas.microsoft.com/office/drawing/2014/main" id="{325B422F-520F-2C32-C240-9E73F96E51D8}"/>
              </a:ext>
            </a:extLst>
          </p:cNvPr>
          <p:cNvSpPr txBox="1"/>
          <p:nvPr/>
        </p:nvSpPr>
        <p:spPr>
          <a:xfrm>
            <a:off x="3092521" y="4362082"/>
            <a:ext cx="1007844" cy="246221"/>
          </a:xfrm>
          <a:prstGeom prst="rect">
            <a:avLst/>
          </a:prstGeom>
          <a:noFill/>
        </p:spPr>
        <p:txBody>
          <a:bodyPr wrap="square" lIns="0" tIns="0" rIns="0" bIns="0" rtlCol="0">
            <a:spAutoFit/>
          </a:bodyPr>
          <a:lstStyle/>
          <a:p>
            <a:pPr algn="l"/>
            <a:r>
              <a:rPr lang="en-US" sz="1600">
                <a:highlight>
                  <a:srgbClr val="00FF00"/>
                </a:highlight>
              </a:rPr>
              <a:t>Evidence</a:t>
            </a:r>
          </a:p>
        </p:txBody>
      </p:sp>
      <p:sp>
        <p:nvSpPr>
          <p:cNvPr id="8" name="TextBox 7">
            <a:extLst>
              <a:ext uri="{FF2B5EF4-FFF2-40B4-BE49-F238E27FC236}">
                <a16:creationId xmlns:a16="http://schemas.microsoft.com/office/drawing/2014/main" id="{7C97834C-BAC7-BCEA-0DE0-7777AEEF2DB8}"/>
              </a:ext>
            </a:extLst>
          </p:cNvPr>
          <p:cNvSpPr txBox="1"/>
          <p:nvPr/>
        </p:nvSpPr>
        <p:spPr>
          <a:xfrm>
            <a:off x="4908683" y="4435342"/>
            <a:ext cx="1007844" cy="246221"/>
          </a:xfrm>
          <a:prstGeom prst="rect">
            <a:avLst/>
          </a:prstGeom>
          <a:noFill/>
        </p:spPr>
        <p:txBody>
          <a:bodyPr wrap="square" lIns="0" tIns="0" rIns="0" bIns="0" rtlCol="0">
            <a:spAutoFit/>
          </a:bodyPr>
          <a:lstStyle/>
          <a:p>
            <a:pPr algn="l"/>
            <a:r>
              <a:rPr lang="en-US" sz="1600">
                <a:highlight>
                  <a:srgbClr val="00FF00"/>
                </a:highlight>
              </a:rPr>
              <a:t>Evidence</a:t>
            </a:r>
          </a:p>
        </p:txBody>
      </p:sp>
      <p:sp>
        <p:nvSpPr>
          <p:cNvPr id="10" name="TextBox 9">
            <a:extLst>
              <a:ext uri="{FF2B5EF4-FFF2-40B4-BE49-F238E27FC236}">
                <a16:creationId xmlns:a16="http://schemas.microsoft.com/office/drawing/2014/main" id="{679A778F-86FB-705E-9C70-B881B9825393}"/>
              </a:ext>
            </a:extLst>
          </p:cNvPr>
          <p:cNvSpPr txBox="1"/>
          <p:nvPr/>
        </p:nvSpPr>
        <p:spPr>
          <a:xfrm>
            <a:off x="8174152" y="2891769"/>
            <a:ext cx="1007844" cy="246221"/>
          </a:xfrm>
          <a:prstGeom prst="rect">
            <a:avLst/>
          </a:prstGeom>
          <a:noFill/>
        </p:spPr>
        <p:txBody>
          <a:bodyPr wrap="square" lIns="0" tIns="0" rIns="0" bIns="0" rtlCol="0">
            <a:spAutoFit/>
          </a:bodyPr>
          <a:lstStyle/>
          <a:p>
            <a:pPr algn="l"/>
            <a:r>
              <a:rPr lang="en-US" sz="1600">
                <a:highlight>
                  <a:srgbClr val="00FF00"/>
                </a:highlight>
              </a:rPr>
              <a:t>Evidence</a:t>
            </a:r>
          </a:p>
        </p:txBody>
      </p:sp>
    </p:spTree>
    <p:extLst>
      <p:ext uri="{BB962C8B-B14F-4D97-AF65-F5344CB8AC3E}">
        <p14:creationId xmlns:p14="http://schemas.microsoft.com/office/powerpoint/2010/main" val="17745492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1A04826-AA48-94BC-246F-26CDCA097C7C}"/>
              </a:ext>
            </a:extLst>
          </p:cNvPr>
          <p:cNvSpPr/>
          <p:nvPr/>
        </p:nvSpPr>
        <p:spPr>
          <a:xfrm>
            <a:off x="5247005" y="855000"/>
            <a:ext cx="6748350" cy="348061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err="1"/>
          </a:p>
        </p:txBody>
      </p:sp>
      <p:sp>
        <p:nvSpPr>
          <p:cNvPr id="20" name="TextBox 19">
            <a:extLst>
              <a:ext uri="{FF2B5EF4-FFF2-40B4-BE49-F238E27FC236}">
                <a16:creationId xmlns:a16="http://schemas.microsoft.com/office/drawing/2014/main" id="{E5E2FABB-2FEC-9FDB-6547-5311DF1051C3}"/>
              </a:ext>
            </a:extLst>
          </p:cNvPr>
          <p:cNvSpPr txBox="1"/>
          <p:nvPr/>
        </p:nvSpPr>
        <p:spPr>
          <a:xfrm>
            <a:off x="439031" y="428625"/>
            <a:ext cx="5933423" cy="567081"/>
          </a:xfrm>
          <a:prstGeom prst="rect">
            <a:avLst/>
          </a:prstGeom>
          <a:noFill/>
        </p:spPr>
        <p:txBody>
          <a:bodyPr wrap="square" lIns="0" tIns="45720" rIns="0" bIns="45720" rtlCol="0" anchor="t">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Bef>
                <a:spcPct val="0"/>
              </a:spcBef>
              <a:spcAft>
                <a:spcPts val="450"/>
              </a:spcAft>
              <a:defRPr/>
            </a:pPr>
            <a:r>
              <a:rPr lang="en-US" sz="2400" b="1">
                <a:solidFill>
                  <a:srgbClr val="4775E7"/>
                </a:solidFill>
                <a:latin typeface="Arial" panose="020B0604020202020204"/>
              </a:rPr>
              <a:t>MACHINE LEARNING NOTEBOOK</a:t>
            </a:r>
          </a:p>
        </p:txBody>
      </p:sp>
      <p:sp>
        <p:nvSpPr>
          <p:cNvPr id="6" name="Rectangle 5">
            <a:extLst>
              <a:ext uri="{FF2B5EF4-FFF2-40B4-BE49-F238E27FC236}">
                <a16:creationId xmlns:a16="http://schemas.microsoft.com/office/drawing/2014/main" id="{CB5C1D9C-C6C6-A0B7-3213-E3FD7D6E8B69}"/>
              </a:ext>
            </a:extLst>
          </p:cNvPr>
          <p:cNvSpPr/>
          <p:nvPr/>
        </p:nvSpPr>
        <p:spPr>
          <a:xfrm>
            <a:off x="196645" y="904568"/>
            <a:ext cx="5004620" cy="348061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err="1"/>
          </a:p>
        </p:txBody>
      </p:sp>
      <p:pic>
        <p:nvPicPr>
          <p:cNvPr id="3" name="Picture 2">
            <a:extLst>
              <a:ext uri="{FF2B5EF4-FFF2-40B4-BE49-F238E27FC236}">
                <a16:creationId xmlns:a16="http://schemas.microsoft.com/office/drawing/2014/main" id="{D95557FF-C1D3-C8B4-1994-C7F99DCA5B5F}"/>
              </a:ext>
            </a:extLst>
          </p:cNvPr>
          <p:cNvPicPr>
            <a:picLocks noChangeAspect="1"/>
          </p:cNvPicPr>
          <p:nvPr/>
        </p:nvPicPr>
        <p:blipFill>
          <a:blip r:embed="rId3"/>
          <a:stretch>
            <a:fillRect/>
          </a:stretch>
        </p:blipFill>
        <p:spPr>
          <a:xfrm>
            <a:off x="196645" y="995706"/>
            <a:ext cx="4807974" cy="432683"/>
          </a:xfrm>
          <a:prstGeom prst="rect">
            <a:avLst/>
          </a:prstGeom>
        </p:spPr>
      </p:pic>
      <p:pic>
        <p:nvPicPr>
          <p:cNvPr id="5" name="Picture 4">
            <a:extLst>
              <a:ext uri="{FF2B5EF4-FFF2-40B4-BE49-F238E27FC236}">
                <a16:creationId xmlns:a16="http://schemas.microsoft.com/office/drawing/2014/main" id="{487C52FA-FE34-EDBE-8AAA-164A98EC801D}"/>
              </a:ext>
            </a:extLst>
          </p:cNvPr>
          <p:cNvPicPr>
            <a:picLocks noChangeAspect="1"/>
          </p:cNvPicPr>
          <p:nvPr/>
        </p:nvPicPr>
        <p:blipFill>
          <a:blip r:embed="rId4"/>
          <a:stretch>
            <a:fillRect/>
          </a:stretch>
        </p:blipFill>
        <p:spPr>
          <a:xfrm>
            <a:off x="279441" y="1579513"/>
            <a:ext cx="4012661" cy="2546555"/>
          </a:xfrm>
          <a:prstGeom prst="rect">
            <a:avLst/>
          </a:prstGeom>
        </p:spPr>
      </p:pic>
      <p:pic>
        <p:nvPicPr>
          <p:cNvPr id="8" name="Picture 7">
            <a:extLst>
              <a:ext uri="{FF2B5EF4-FFF2-40B4-BE49-F238E27FC236}">
                <a16:creationId xmlns:a16="http://schemas.microsoft.com/office/drawing/2014/main" id="{20B2A0D1-342C-BF7E-A44C-DC8B38D29BF7}"/>
              </a:ext>
            </a:extLst>
          </p:cNvPr>
          <p:cNvPicPr>
            <a:picLocks noChangeAspect="1"/>
          </p:cNvPicPr>
          <p:nvPr/>
        </p:nvPicPr>
        <p:blipFill>
          <a:blip r:embed="rId5"/>
          <a:stretch>
            <a:fillRect/>
          </a:stretch>
        </p:blipFill>
        <p:spPr>
          <a:xfrm>
            <a:off x="5358245" y="857946"/>
            <a:ext cx="2796900" cy="1792824"/>
          </a:xfrm>
          <a:prstGeom prst="rect">
            <a:avLst/>
          </a:prstGeom>
        </p:spPr>
      </p:pic>
      <p:pic>
        <p:nvPicPr>
          <p:cNvPr id="10" name="Picture 9">
            <a:extLst>
              <a:ext uri="{FF2B5EF4-FFF2-40B4-BE49-F238E27FC236}">
                <a16:creationId xmlns:a16="http://schemas.microsoft.com/office/drawing/2014/main" id="{8ECDF7ED-9B30-E712-8922-CAC767930B0A}"/>
              </a:ext>
            </a:extLst>
          </p:cNvPr>
          <p:cNvPicPr>
            <a:picLocks noChangeAspect="1"/>
          </p:cNvPicPr>
          <p:nvPr/>
        </p:nvPicPr>
        <p:blipFill>
          <a:blip r:embed="rId6"/>
          <a:stretch>
            <a:fillRect/>
          </a:stretch>
        </p:blipFill>
        <p:spPr>
          <a:xfrm>
            <a:off x="5358245" y="2653716"/>
            <a:ext cx="3038167" cy="914528"/>
          </a:xfrm>
          <a:prstGeom prst="rect">
            <a:avLst/>
          </a:prstGeom>
        </p:spPr>
      </p:pic>
      <p:pic>
        <p:nvPicPr>
          <p:cNvPr id="17" name="Picture 16">
            <a:extLst>
              <a:ext uri="{FF2B5EF4-FFF2-40B4-BE49-F238E27FC236}">
                <a16:creationId xmlns:a16="http://schemas.microsoft.com/office/drawing/2014/main" id="{76CBAE47-7E61-4F03-DFE9-DD410F384855}"/>
              </a:ext>
            </a:extLst>
          </p:cNvPr>
          <p:cNvPicPr>
            <a:picLocks noChangeAspect="1"/>
          </p:cNvPicPr>
          <p:nvPr/>
        </p:nvPicPr>
        <p:blipFill>
          <a:blip r:embed="rId7"/>
          <a:stretch>
            <a:fillRect/>
          </a:stretch>
        </p:blipFill>
        <p:spPr>
          <a:xfrm>
            <a:off x="8155145" y="857946"/>
            <a:ext cx="3494443" cy="1792824"/>
          </a:xfrm>
          <a:prstGeom prst="rect">
            <a:avLst/>
          </a:prstGeom>
        </p:spPr>
      </p:pic>
      <p:pic>
        <p:nvPicPr>
          <p:cNvPr id="13" name="Picture 12">
            <a:extLst>
              <a:ext uri="{FF2B5EF4-FFF2-40B4-BE49-F238E27FC236}">
                <a16:creationId xmlns:a16="http://schemas.microsoft.com/office/drawing/2014/main" id="{D1B1AABE-139D-61AC-65FD-FF646C3BAF0D}"/>
              </a:ext>
            </a:extLst>
          </p:cNvPr>
          <p:cNvPicPr>
            <a:picLocks noChangeAspect="1"/>
          </p:cNvPicPr>
          <p:nvPr/>
        </p:nvPicPr>
        <p:blipFill>
          <a:blip r:embed="rId8"/>
          <a:stretch>
            <a:fillRect/>
          </a:stretch>
        </p:blipFill>
        <p:spPr>
          <a:xfrm>
            <a:off x="8381176" y="2653716"/>
            <a:ext cx="3283648" cy="1579181"/>
          </a:xfrm>
          <a:prstGeom prst="rect">
            <a:avLst/>
          </a:prstGeom>
        </p:spPr>
      </p:pic>
      <p:pic>
        <p:nvPicPr>
          <p:cNvPr id="19" name="Picture 18">
            <a:extLst>
              <a:ext uri="{FF2B5EF4-FFF2-40B4-BE49-F238E27FC236}">
                <a16:creationId xmlns:a16="http://schemas.microsoft.com/office/drawing/2014/main" id="{904FDC79-059F-5E3B-78E9-5FB2F130CB3F}"/>
              </a:ext>
            </a:extLst>
          </p:cNvPr>
          <p:cNvPicPr>
            <a:picLocks noChangeAspect="1"/>
          </p:cNvPicPr>
          <p:nvPr/>
        </p:nvPicPr>
        <p:blipFill>
          <a:blip r:embed="rId9"/>
          <a:stretch>
            <a:fillRect/>
          </a:stretch>
        </p:blipFill>
        <p:spPr>
          <a:xfrm>
            <a:off x="4278127" y="4499630"/>
            <a:ext cx="2432255" cy="1733331"/>
          </a:xfrm>
          <a:prstGeom prst="rect">
            <a:avLst/>
          </a:prstGeom>
        </p:spPr>
      </p:pic>
      <p:pic>
        <p:nvPicPr>
          <p:cNvPr id="22" name="Picture 21">
            <a:extLst>
              <a:ext uri="{FF2B5EF4-FFF2-40B4-BE49-F238E27FC236}">
                <a16:creationId xmlns:a16="http://schemas.microsoft.com/office/drawing/2014/main" id="{0C6FA308-FB48-ED04-1E05-2F45DD86F8AA}"/>
              </a:ext>
            </a:extLst>
          </p:cNvPr>
          <p:cNvPicPr>
            <a:picLocks noChangeAspect="1"/>
          </p:cNvPicPr>
          <p:nvPr/>
        </p:nvPicPr>
        <p:blipFill>
          <a:blip r:embed="rId10"/>
          <a:stretch>
            <a:fillRect/>
          </a:stretch>
        </p:blipFill>
        <p:spPr>
          <a:xfrm>
            <a:off x="6921374" y="4400103"/>
            <a:ext cx="2901305" cy="1932384"/>
          </a:xfrm>
          <a:prstGeom prst="rect">
            <a:avLst/>
          </a:prstGeom>
        </p:spPr>
      </p:pic>
      <p:sp>
        <p:nvSpPr>
          <p:cNvPr id="4" name="Rectangle 3">
            <a:extLst>
              <a:ext uri="{FF2B5EF4-FFF2-40B4-BE49-F238E27FC236}">
                <a16:creationId xmlns:a16="http://schemas.microsoft.com/office/drawing/2014/main" id="{93B49F0E-4A5A-19B6-3FF3-2597A58D9632}"/>
              </a:ext>
            </a:extLst>
          </p:cNvPr>
          <p:cNvSpPr/>
          <p:nvPr/>
        </p:nvSpPr>
        <p:spPr>
          <a:xfrm>
            <a:off x="627392" y="4586924"/>
            <a:ext cx="2948237" cy="1538883"/>
          </a:xfrm>
          <a:prstGeom prst="rect">
            <a:avLst/>
          </a:prstGeom>
        </p:spPr>
        <p:txBody>
          <a:bodyPr wrap="square" lIns="91440" tIns="45720" rIns="91440" bIns="45720" anchor="t">
            <a:spAutoFit/>
          </a:bodyPr>
          <a:lstStyle/>
          <a:p>
            <a:pPr>
              <a:spcBef>
                <a:spcPts val="600"/>
              </a:spcBef>
            </a:pPr>
            <a:r>
              <a:rPr lang="en-US" sz="1200" b="1">
                <a:solidFill>
                  <a:schemeClr val="tx1">
                    <a:lumMod val="75000"/>
                    <a:lumOff val="25000"/>
                  </a:schemeClr>
                </a:solidFill>
                <a:ea typeface="+mn-lt"/>
                <a:cs typeface="+mn-lt"/>
              </a:rPr>
              <a:t>Azure Cognitive Services, Azure ML &amp; Clustering Algorithms:</a:t>
            </a:r>
            <a:endParaRPr lang="en-US" b="1">
              <a:solidFill>
                <a:schemeClr val="tx1">
                  <a:lumMod val="75000"/>
                  <a:lumOff val="25000"/>
                </a:schemeClr>
              </a:solidFill>
            </a:endParaRPr>
          </a:p>
          <a:p>
            <a:pPr marL="285750" indent="-285750">
              <a:spcBef>
                <a:spcPts val="600"/>
              </a:spcBef>
              <a:buFont typeface="Arial"/>
              <a:buChar char="•"/>
            </a:pPr>
            <a:r>
              <a:rPr lang="en-US" sz="1200">
                <a:solidFill>
                  <a:schemeClr val="tx1">
                    <a:lumMod val="75000"/>
                    <a:lumOff val="25000"/>
                  </a:schemeClr>
                </a:solidFill>
                <a:latin typeface="Verdana Pro"/>
                <a:cs typeface="Arial"/>
              </a:rPr>
              <a:t>Implement Clustering Algorithm </a:t>
            </a:r>
            <a:endParaRPr lang="en-US">
              <a:solidFill>
                <a:schemeClr val="tx1">
                  <a:lumMod val="75000"/>
                  <a:lumOff val="25000"/>
                </a:schemeClr>
              </a:solidFill>
              <a:latin typeface="Arial"/>
              <a:cs typeface="Arial"/>
            </a:endParaRPr>
          </a:p>
          <a:p>
            <a:pPr marL="285750" indent="-285750">
              <a:spcBef>
                <a:spcPts val="600"/>
              </a:spcBef>
              <a:buFont typeface="Arial"/>
              <a:buChar char="•"/>
            </a:pPr>
            <a:r>
              <a:rPr lang="en-US" sz="1200">
                <a:solidFill>
                  <a:schemeClr val="tx1">
                    <a:lumMod val="75000"/>
                    <a:lumOff val="25000"/>
                  </a:schemeClr>
                </a:solidFill>
                <a:latin typeface="Verdana Pro"/>
                <a:cs typeface="Arial"/>
              </a:rPr>
              <a:t>Analyze the specific content of log messages and cluster </a:t>
            </a:r>
            <a:r>
              <a:rPr lang="en-US" sz="1200">
                <a:solidFill>
                  <a:schemeClr val="tx1">
                    <a:lumMod val="75000"/>
                    <a:lumOff val="25000"/>
                  </a:schemeClr>
                </a:solidFill>
                <a:ea typeface="+mn-lt"/>
                <a:cs typeface="+mn-lt"/>
              </a:rPr>
              <a:t>logs based on their context, enabling proactive issue identification.</a:t>
            </a:r>
          </a:p>
        </p:txBody>
      </p:sp>
    </p:spTree>
    <p:extLst>
      <p:ext uri="{BB962C8B-B14F-4D97-AF65-F5344CB8AC3E}">
        <p14:creationId xmlns:p14="http://schemas.microsoft.com/office/powerpoint/2010/main" val="15136038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4A77126C-217F-36F0-AE03-E72D00E538A7}"/>
              </a:ext>
            </a:extLst>
          </p:cNvPr>
          <p:cNvSpPr/>
          <p:nvPr/>
        </p:nvSpPr>
        <p:spPr>
          <a:xfrm>
            <a:off x="184485" y="1217195"/>
            <a:ext cx="11432004" cy="3711741"/>
          </a:xfrm>
          <a:prstGeom prst="roundRect">
            <a:avLst/>
          </a:pr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err="1"/>
          </a:p>
        </p:txBody>
      </p:sp>
      <p:sp>
        <p:nvSpPr>
          <p:cNvPr id="20" name="TextBox 19">
            <a:extLst>
              <a:ext uri="{FF2B5EF4-FFF2-40B4-BE49-F238E27FC236}">
                <a16:creationId xmlns:a16="http://schemas.microsoft.com/office/drawing/2014/main" id="{E5E2FABB-2FEC-9FDB-6547-5311DF1051C3}"/>
              </a:ext>
            </a:extLst>
          </p:cNvPr>
          <p:cNvSpPr txBox="1"/>
          <p:nvPr/>
        </p:nvSpPr>
        <p:spPr>
          <a:xfrm>
            <a:off x="242386" y="104160"/>
            <a:ext cx="7104998" cy="567081"/>
          </a:xfrm>
          <a:prstGeom prst="rect">
            <a:avLst/>
          </a:prstGeom>
          <a:noFill/>
        </p:spPr>
        <p:txBody>
          <a:bodyPr wrap="square" lIns="0" tIns="45720" rIns="0" bIns="45720" rtlCol="0" anchor="t">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400">
              <a:defRPr/>
            </a:pPr>
            <a:r>
              <a:rPr lang="en-US" sz="2400" b="1">
                <a:solidFill>
                  <a:srgbClr val="4775E7"/>
                </a:solidFill>
                <a:latin typeface="Verdana Pro"/>
              </a:rPr>
              <a:t>Our Thought Process, Implementation </a:t>
            </a:r>
            <a:endParaRPr lang="en-US" sz="1800" b="0" i="0" u="none" strike="noStrike" kern="1200" cap="none" spc="0" normalizeH="0" baseline="0" noProof="0">
              <a:ln>
                <a:noFill/>
              </a:ln>
              <a:solidFill>
                <a:srgbClr val="2C6DF6"/>
              </a:solidFill>
              <a:effectLst/>
              <a:uLnTx/>
              <a:uFillTx/>
              <a:latin typeface="Arial" panose="020B0604020202020204"/>
              <a:cs typeface="Arial"/>
            </a:endParaRPr>
          </a:p>
        </p:txBody>
      </p:sp>
      <p:sp>
        <p:nvSpPr>
          <p:cNvPr id="8" name="TextBox 7">
            <a:extLst>
              <a:ext uri="{FF2B5EF4-FFF2-40B4-BE49-F238E27FC236}">
                <a16:creationId xmlns:a16="http://schemas.microsoft.com/office/drawing/2014/main" id="{E4FF5A82-E90D-05FC-FD58-9986ABB9FA04}"/>
              </a:ext>
            </a:extLst>
          </p:cNvPr>
          <p:cNvSpPr txBox="1"/>
          <p:nvPr/>
        </p:nvSpPr>
        <p:spPr>
          <a:xfrm>
            <a:off x="494916" y="1479179"/>
            <a:ext cx="10950886" cy="3900724"/>
          </a:xfrm>
          <a:prstGeom prst="rect">
            <a:avLst/>
          </a:prstGeom>
          <a:noFill/>
        </p:spPr>
        <p:txBody>
          <a:bodyPr wrap="square" lIns="0" tIns="45720" rIns="0" bIns="45720" rtlCol="0" anchor="t">
            <a:noAutofit/>
          </a:bodyPr>
          <a:lstStyle/>
          <a:p>
            <a:pPr marL="285750" indent="-285750" algn="l">
              <a:spcAft>
                <a:spcPts val="600"/>
              </a:spcAft>
              <a:buFont typeface="Arial" panose="020B0604020202020204" pitchFamily="34" charset="0"/>
              <a:buChar char="•"/>
            </a:pPr>
            <a:r>
              <a:rPr lang="en-US" sz="1600" b="1">
                <a:solidFill>
                  <a:schemeClr val="bg1"/>
                </a:solidFill>
              </a:rPr>
              <a:t>Next steps </a:t>
            </a:r>
            <a:r>
              <a:rPr lang="en-US" sz="1600">
                <a:solidFill>
                  <a:schemeClr val="bg1"/>
                </a:solidFill>
              </a:rPr>
              <a:t>– like </a:t>
            </a:r>
            <a:r>
              <a:rPr lang="en-US" sz="1600" b="1">
                <a:solidFill>
                  <a:schemeClr val="bg1"/>
                </a:solidFill>
              </a:rPr>
              <a:t>error code we can </a:t>
            </a:r>
            <a:r>
              <a:rPr lang="en-US" sz="1600" b="1">
                <a:solidFill>
                  <a:schemeClr val="bg1"/>
                </a:solidFill>
                <a:highlight>
                  <a:srgbClr val="00FF00"/>
                </a:highlight>
              </a:rPr>
              <a:t>segment user selection </a:t>
            </a:r>
            <a:r>
              <a:rPr lang="en-US" sz="1600" b="1">
                <a:solidFill>
                  <a:schemeClr val="bg1"/>
                </a:solidFill>
              </a:rPr>
              <a:t>based on dim selection , fact selection, </a:t>
            </a:r>
            <a:r>
              <a:rPr lang="en-US" sz="1600" b="1" err="1">
                <a:solidFill>
                  <a:schemeClr val="bg1"/>
                </a:solidFill>
              </a:rPr>
              <a:t>etc</a:t>
            </a:r>
            <a:endParaRPr lang="en-US" sz="1600" b="1">
              <a:solidFill>
                <a:schemeClr val="bg1"/>
              </a:solidFill>
              <a:cs typeface="Arial"/>
            </a:endParaRPr>
          </a:p>
          <a:p>
            <a:pPr marL="285750" indent="-285750" algn="l">
              <a:spcAft>
                <a:spcPts val="600"/>
              </a:spcAft>
              <a:buFont typeface="Arial" panose="020B0604020202020204" pitchFamily="34" charset="0"/>
              <a:buChar char="•"/>
            </a:pPr>
            <a:r>
              <a:rPr lang="en-US" sz="1600">
                <a:solidFill>
                  <a:schemeClr val="bg1"/>
                </a:solidFill>
              </a:rPr>
              <a:t>this will help to understand user selection  , user profile, user popular reporting needs - this can help us to feed data to </a:t>
            </a:r>
            <a:r>
              <a:rPr lang="en-US" sz="1600" err="1">
                <a:solidFill>
                  <a:schemeClr val="bg1"/>
                </a:solidFill>
              </a:rPr>
              <a:t>GenAI</a:t>
            </a:r>
            <a:r>
              <a:rPr lang="en-US" sz="1600">
                <a:solidFill>
                  <a:schemeClr val="bg1"/>
                </a:solidFill>
              </a:rPr>
              <a:t> </a:t>
            </a:r>
            <a:r>
              <a:rPr lang="en-US" sz="1600" err="1">
                <a:solidFill>
                  <a:schemeClr val="bg1"/>
                </a:solidFill>
              </a:rPr>
              <a:t>usecases</a:t>
            </a:r>
            <a:r>
              <a:rPr lang="en-US" sz="1600">
                <a:solidFill>
                  <a:schemeClr val="bg1"/>
                </a:solidFill>
              </a:rPr>
              <a:t> as we know the user segmentation(profile, selection) - </a:t>
            </a:r>
            <a:r>
              <a:rPr lang="en-US" sz="1600" err="1">
                <a:solidFill>
                  <a:schemeClr val="bg1"/>
                </a:solidFill>
              </a:rPr>
              <a:t>i.e</a:t>
            </a:r>
            <a:r>
              <a:rPr lang="en-US" sz="1600">
                <a:solidFill>
                  <a:schemeClr val="bg1"/>
                </a:solidFill>
              </a:rPr>
              <a:t> </a:t>
            </a:r>
            <a:r>
              <a:rPr lang="en-US" sz="1600" err="1">
                <a:solidFill>
                  <a:schemeClr val="bg1"/>
                </a:solidFill>
              </a:rPr>
              <a:t>wtih</a:t>
            </a:r>
            <a:r>
              <a:rPr lang="en-US" sz="1600">
                <a:solidFill>
                  <a:schemeClr val="bg1"/>
                </a:solidFill>
              </a:rPr>
              <a:t> </a:t>
            </a:r>
            <a:r>
              <a:rPr lang="en-US" sz="1600" b="1">
                <a:solidFill>
                  <a:schemeClr val="bg1"/>
                </a:solidFill>
              </a:rPr>
              <a:t>dim selection , fact selection.</a:t>
            </a:r>
            <a:br>
              <a:rPr lang="en-US" sz="1600" b="1">
                <a:solidFill>
                  <a:schemeClr val="bg1"/>
                </a:solidFill>
              </a:rPr>
            </a:br>
            <a:r>
              <a:rPr lang="en-US" sz="1600" b="1">
                <a:solidFill>
                  <a:schemeClr val="bg1"/>
                </a:solidFill>
              </a:rPr>
              <a:t>This will be potentially helpful in Ask Arthur to </a:t>
            </a:r>
            <a:r>
              <a:rPr lang="en-US" sz="1600" b="1" err="1">
                <a:solidFill>
                  <a:schemeClr val="bg1"/>
                </a:solidFill>
              </a:rPr>
              <a:t>identiy</a:t>
            </a:r>
            <a:r>
              <a:rPr lang="en-US" sz="1600" b="1">
                <a:solidFill>
                  <a:schemeClr val="bg1"/>
                </a:solidFill>
              </a:rPr>
              <a:t> when user does “my brand” in contextual search</a:t>
            </a:r>
            <a:endParaRPr lang="en-US" sz="1600" b="1">
              <a:solidFill>
                <a:schemeClr val="bg1"/>
              </a:solidFill>
              <a:cs typeface="Arial"/>
            </a:endParaRPr>
          </a:p>
          <a:p>
            <a:pPr marL="285750" indent="-285750" algn="l">
              <a:spcAft>
                <a:spcPts val="600"/>
              </a:spcAft>
              <a:buFont typeface="Arial" panose="020B0604020202020204" pitchFamily="34" charset="0"/>
              <a:buChar char="•"/>
            </a:pPr>
            <a:r>
              <a:rPr lang="en-US" sz="1600">
                <a:solidFill>
                  <a:schemeClr val="bg1"/>
                </a:solidFill>
              </a:rPr>
              <a:t>this can also be useful in </a:t>
            </a:r>
            <a:r>
              <a:rPr lang="en-US" sz="1600">
                <a:solidFill>
                  <a:schemeClr val="bg1"/>
                </a:solidFill>
                <a:highlight>
                  <a:srgbClr val="00FF00"/>
                </a:highlight>
              </a:rPr>
              <a:t>infra throttling </a:t>
            </a:r>
            <a:r>
              <a:rPr lang="en-US" sz="1600">
                <a:solidFill>
                  <a:schemeClr val="bg1"/>
                </a:solidFill>
              </a:rPr>
              <a:t>user request by scaling AKS PODS and this will ensure performance is good</a:t>
            </a:r>
            <a:endParaRPr lang="en-US" sz="1600" b="1">
              <a:solidFill>
                <a:schemeClr val="bg1"/>
              </a:solidFill>
              <a:cs typeface="Arial"/>
            </a:endParaRPr>
          </a:p>
          <a:p>
            <a:pPr marL="285750" indent="-285750" rtl="0">
              <a:buFont typeface="Arial" panose="020B0604020202020204" pitchFamily="34" charset="0"/>
              <a:buChar char="•"/>
            </a:pPr>
            <a:r>
              <a:rPr lang="en-US" sz="1600">
                <a:solidFill>
                  <a:schemeClr val="bg1"/>
                </a:solidFill>
                <a:highlight>
                  <a:srgbClr val="00FF00"/>
                </a:highlight>
              </a:rPr>
              <a:t>Compare current selection with past execution to reduce over-usage of data points</a:t>
            </a:r>
            <a:br>
              <a:rPr lang="en-US" sz="1600">
                <a:solidFill>
                  <a:schemeClr val="bg1"/>
                </a:solidFill>
                <a:highlight>
                  <a:srgbClr val="00FF00"/>
                </a:highlight>
              </a:rPr>
            </a:br>
            <a:r>
              <a:rPr lang="en-US" sz="1600">
                <a:solidFill>
                  <a:schemeClr val="bg1"/>
                </a:solidFill>
              </a:rPr>
              <a:t>prompts user that based on user history their current selection will exceed data point OR not - </a:t>
            </a:r>
            <a:r>
              <a:rPr lang="en-US" sz="1600" b="1" err="1">
                <a:solidFill>
                  <a:schemeClr val="bg1"/>
                </a:solidFill>
              </a:rPr>
              <a:t>i.e</a:t>
            </a:r>
            <a:r>
              <a:rPr lang="en-US" sz="1600" b="1">
                <a:solidFill>
                  <a:schemeClr val="bg1"/>
                </a:solidFill>
              </a:rPr>
              <a:t> based on datapoint consumed for previous selection . this will help to better costs as user cannot execute report if available credit is less.</a:t>
            </a:r>
            <a:endParaRPr lang="en-US" sz="1600" b="1">
              <a:solidFill>
                <a:schemeClr val="bg1"/>
              </a:solidFill>
              <a:cs typeface="Arial"/>
            </a:endParaRPr>
          </a:p>
          <a:p>
            <a:pPr marL="285750" indent="-285750">
              <a:buFont typeface="Arial" panose="020B0604020202020204" pitchFamily="34" charset="0"/>
              <a:buChar char="•"/>
            </a:pPr>
            <a:endParaRPr lang="en-US" sz="1600" b="1">
              <a:solidFill>
                <a:schemeClr val="bg1"/>
              </a:solidFill>
              <a:highlight>
                <a:srgbClr val="00FF00"/>
              </a:highlight>
              <a:cs typeface="Arial"/>
            </a:endParaRPr>
          </a:p>
          <a:p>
            <a:pPr marL="285750" indent="-285750" rtl="0">
              <a:buFont typeface="Arial" panose="020B0604020202020204" pitchFamily="34" charset="0"/>
              <a:buChar char="•"/>
            </a:pPr>
            <a:r>
              <a:rPr lang="en-US" sz="1600">
                <a:solidFill>
                  <a:schemeClr val="bg1"/>
                </a:solidFill>
                <a:highlight>
                  <a:srgbClr val="00FF00"/>
                </a:highlight>
              </a:rPr>
              <a:t>Pre-cache </a:t>
            </a:r>
            <a:r>
              <a:rPr lang="en-US" sz="1600">
                <a:solidFill>
                  <a:schemeClr val="bg1"/>
                </a:solidFill>
              </a:rPr>
              <a:t>With the logs are grouped based on user email id we can easily find the common reports run by user and if those reports always fetches from the DB based on their historical data we can precache the reports and selection.</a:t>
            </a:r>
            <a:endParaRPr lang="en-US" sz="1600">
              <a:solidFill>
                <a:schemeClr val="bg1"/>
              </a:solidFill>
              <a:cs typeface="Arial"/>
            </a:endParaRPr>
          </a:p>
          <a:p>
            <a:pPr marL="285750" indent="-285750" algn="l">
              <a:spcAft>
                <a:spcPts val="600"/>
              </a:spcAft>
              <a:buFont typeface="Arial" panose="020B0604020202020204" pitchFamily="34" charset="0"/>
              <a:buChar char="•"/>
            </a:pPr>
            <a:endParaRPr lang="en-US" sz="1600" b="1">
              <a:cs typeface="Arial"/>
            </a:endParaRPr>
          </a:p>
          <a:p>
            <a:pPr marL="285750" indent="-285750" algn="l">
              <a:spcAft>
                <a:spcPts val="600"/>
              </a:spcAft>
              <a:buFont typeface="Arial" panose="020B0604020202020204" pitchFamily="34" charset="0"/>
              <a:buChar char="•"/>
            </a:pPr>
            <a:endParaRPr lang="en-US" sz="1600">
              <a:cs typeface="Arial"/>
            </a:endParaRPr>
          </a:p>
        </p:txBody>
      </p:sp>
    </p:spTree>
    <p:extLst>
      <p:ext uri="{BB962C8B-B14F-4D97-AF65-F5344CB8AC3E}">
        <p14:creationId xmlns:p14="http://schemas.microsoft.com/office/powerpoint/2010/main" val="11905088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8CDD38D-9F1D-49FB-9B35-1062FBACB790}"/>
              </a:ext>
            </a:extLst>
          </p:cNvPr>
          <p:cNvGrpSpPr/>
          <p:nvPr/>
        </p:nvGrpSpPr>
        <p:grpSpPr>
          <a:xfrm>
            <a:off x="3006427" y="2418369"/>
            <a:ext cx="2663970" cy="2733854"/>
            <a:chOff x="3607115" y="1429541"/>
            <a:chExt cx="5000102" cy="4999802"/>
          </a:xfrm>
        </p:grpSpPr>
        <p:grpSp>
          <p:nvGrpSpPr>
            <p:cNvPr id="41" name="Group 40">
              <a:extLst>
                <a:ext uri="{FF2B5EF4-FFF2-40B4-BE49-F238E27FC236}">
                  <a16:creationId xmlns:a16="http://schemas.microsoft.com/office/drawing/2014/main" id="{9D11F4F6-6B66-3F63-53B3-84CF50B5A9FB}"/>
                </a:ext>
              </a:extLst>
            </p:cNvPr>
            <p:cNvGrpSpPr/>
            <p:nvPr/>
          </p:nvGrpSpPr>
          <p:grpSpPr>
            <a:xfrm>
              <a:off x="3607115" y="1429541"/>
              <a:ext cx="5000102" cy="4999802"/>
              <a:chOff x="3595949" y="1098550"/>
              <a:chExt cx="5000102" cy="4999802"/>
            </a:xfrm>
          </p:grpSpPr>
          <p:sp>
            <p:nvSpPr>
              <p:cNvPr id="8" name="Freeform: Shape 7">
                <a:extLst>
                  <a:ext uri="{FF2B5EF4-FFF2-40B4-BE49-F238E27FC236}">
                    <a16:creationId xmlns:a16="http://schemas.microsoft.com/office/drawing/2014/main" id="{EB29871E-3662-CBAE-51A1-AFB023016423}"/>
                  </a:ext>
                </a:extLst>
              </p:cNvPr>
              <p:cNvSpPr/>
              <p:nvPr/>
            </p:nvSpPr>
            <p:spPr>
              <a:xfrm>
                <a:off x="3608427" y="1098550"/>
                <a:ext cx="1551232" cy="1516327"/>
              </a:xfrm>
              <a:custGeom>
                <a:avLst/>
                <a:gdLst>
                  <a:gd name="connsiteX0" fmla="*/ 299823 w 1724424"/>
                  <a:gd name="connsiteY0" fmla="*/ 1674902 h 1685623"/>
                  <a:gd name="connsiteX1" fmla="*/ 79785 w 1724424"/>
                  <a:gd name="connsiteY1" fmla="*/ 1579521 h 1685623"/>
                  <a:gd name="connsiteX2" fmla="*/ 10945 w 1724424"/>
                  <a:gd name="connsiteY2" fmla="*/ 1404985 h 1685623"/>
                  <a:gd name="connsiteX3" fmla="*/ 13681 w 1724424"/>
                  <a:gd name="connsiteY3" fmla="*/ 1399083 h 1685623"/>
                  <a:gd name="connsiteX4" fmla="*/ 1450403 w 1724424"/>
                  <a:gd name="connsiteY4" fmla="*/ 11362 h 1685623"/>
                  <a:gd name="connsiteX5" fmla="*/ 1625648 w 1724424"/>
                  <a:gd name="connsiteY5" fmla="*/ 78984 h 1685623"/>
                  <a:gd name="connsiteX6" fmla="*/ 1627605 w 1724424"/>
                  <a:gd name="connsiteY6" fmla="*/ 83630 h 1685623"/>
                  <a:gd name="connsiteX7" fmla="*/ 1715127 w 1724424"/>
                  <a:gd name="connsiteY7" fmla="*/ 306904 h 1685623"/>
                  <a:gd name="connsiteX8" fmla="*/ 1647020 w 1724424"/>
                  <a:gd name="connsiteY8" fmla="*/ 475631 h 1685623"/>
                  <a:gd name="connsiteX9" fmla="*/ 470091 w 1724424"/>
                  <a:gd name="connsiteY9" fmla="*/ 1612342 h 1685623"/>
                  <a:gd name="connsiteX10" fmla="*/ 299823 w 1724424"/>
                  <a:gd name="connsiteY10" fmla="*/ 1674902 h 1685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424" h="1685623">
                    <a:moveTo>
                      <a:pt x="299823" y="1674902"/>
                    </a:moveTo>
                    <a:lnTo>
                      <a:pt x="79785" y="1579521"/>
                    </a:lnTo>
                    <a:cubicBezTo>
                      <a:pt x="12577" y="1550337"/>
                      <a:pt x="-18244" y="1472183"/>
                      <a:pt x="10945" y="1404985"/>
                    </a:cubicBezTo>
                    <a:cubicBezTo>
                      <a:pt x="11808" y="1402997"/>
                      <a:pt x="12721" y="1401025"/>
                      <a:pt x="13681" y="1399083"/>
                    </a:cubicBezTo>
                    <a:cubicBezTo>
                      <a:pt x="317582" y="784193"/>
                      <a:pt x="825343" y="293752"/>
                      <a:pt x="1450403" y="11362"/>
                    </a:cubicBezTo>
                    <a:cubicBezTo>
                      <a:pt x="1517462" y="-18359"/>
                      <a:pt x="1595924" y="11918"/>
                      <a:pt x="1625648" y="78984"/>
                    </a:cubicBezTo>
                    <a:cubicBezTo>
                      <a:pt x="1626326" y="80520"/>
                      <a:pt x="1626989" y="82069"/>
                      <a:pt x="1627605" y="83630"/>
                    </a:cubicBezTo>
                    <a:lnTo>
                      <a:pt x="1715127" y="306904"/>
                    </a:lnTo>
                    <a:cubicBezTo>
                      <a:pt x="1740891" y="372308"/>
                      <a:pt x="1710967" y="446439"/>
                      <a:pt x="1647020" y="475631"/>
                    </a:cubicBezTo>
                    <a:cubicBezTo>
                      <a:pt x="1136324" y="708890"/>
                      <a:pt x="720947" y="1110060"/>
                      <a:pt x="470091" y="1612342"/>
                    </a:cubicBezTo>
                    <a:cubicBezTo>
                      <a:pt x="438847" y="1674979"/>
                      <a:pt x="364191" y="1702407"/>
                      <a:pt x="299823" y="1674902"/>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12" name="Freeform: Shape 11">
                <a:extLst>
                  <a:ext uri="{FF2B5EF4-FFF2-40B4-BE49-F238E27FC236}">
                    <a16:creationId xmlns:a16="http://schemas.microsoft.com/office/drawing/2014/main" id="{AC73601A-EE45-1ABB-6FA2-65F4ED869633}"/>
                  </a:ext>
                </a:extLst>
              </p:cNvPr>
              <p:cNvSpPr/>
              <p:nvPr/>
            </p:nvSpPr>
            <p:spPr>
              <a:xfrm>
                <a:off x="7078981" y="1110090"/>
                <a:ext cx="1517070" cy="1552187"/>
              </a:xfrm>
              <a:custGeom>
                <a:avLst/>
                <a:gdLst>
                  <a:gd name="connsiteX0" fmla="*/ 11097 w 1686448"/>
                  <a:gd name="connsiteY0" fmla="*/ 299776 h 1725486"/>
                  <a:gd name="connsiteX1" fmla="*/ 106478 w 1686448"/>
                  <a:gd name="connsiteY1" fmla="*/ 79738 h 1725486"/>
                  <a:gd name="connsiteX2" fmla="*/ 281307 w 1686448"/>
                  <a:gd name="connsiteY2" fmla="*/ 11031 h 1725486"/>
                  <a:gd name="connsiteX3" fmla="*/ 286916 w 1686448"/>
                  <a:gd name="connsiteY3" fmla="*/ 13634 h 1725486"/>
                  <a:gd name="connsiteX4" fmla="*/ 1674638 w 1686448"/>
                  <a:gd name="connsiteY4" fmla="*/ 1450356 h 1725486"/>
                  <a:gd name="connsiteX5" fmla="*/ 1608180 w 1686448"/>
                  <a:gd name="connsiteY5" fmla="*/ 1625816 h 1725486"/>
                  <a:gd name="connsiteX6" fmla="*/ 1602216 w 1686448"/>
                  <a:gd name="connsiteY6" fmla="*/ 1628328 h 1725486"/>
                  <a:gd name="connsiteX7" fmla="*/ 1378942 w 1686448"/>
                  <a:gd name="connsiteY7" fmla="*/ 1716004 h 1725486"/>
                  <a:gd name="connsiteX8" fmla="*/ 1209445 w 1686448"/>
                  <a:gd name="connsiteY8" fmla="*/ 1647743 h 1725486"/>
                  <a:gd name="connsiteX9" fmla="*/ 73349 w 1686448"/>
                  <a:gd name="connsiteY9" fmla="*/ 471431 h 1725486"/>
                  <a:gd name="connsiteX10" fmla="*/ 11097 w 1686448"/>
                  <a:gd name="connsiteY10" fmla="*/ 299776 h 172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6448" h="1725486">
                    <a:moveTo>
                      <a:pt x="11097" y="299776"/>
                    </a:moveTo>
                    <a:lnTo>
                      <a:pt x="106478" y="79738"/>
                    </a:lnTo>
                    <a:cubicBezTo>
                      <a:pt x="135786" y="12489"/>
                      <a:pt x="214047" y="-18273"/>
                      <a:pt x="281307" y="11031"/>
                    </a:cubicBezTo>
                    <a:cubicBezTo>
                      <a:pt x="283187" y="11856"/>
                      <a:pt x="285067" y="12723"/>
                      <a:pt x="286916" y="13634"/>
                    </a:cubicBezTo>
                    <a:cubicBezTo>
                      <a:pt x="901745" y="317620"/>
                      <a:pt x="1392163" y="825357"/>
                      <a:pt x="1674638" y="1450356"/>
                    </a:cubicBezTo>
                    <a:cubicBezTo>
                      <a:pt x="1704732" y="1517153"/>
                      <a:pt x="1674977" y="1595723"/>
                      <a:pt x="1608180" y="1625816"/>
                    </a:cubicBezTo>
                    <a:cubicBezTo>
                      <a:pt x="1606207" y="1626694"/>
                      <a:pt x="1604220" y="1627542"/>
                      <a:pt x="1602216" y="1628328"/>
                    </a:cubicBezTo>
                    <a:lnTo>
                      <a:pt x="1378942" y="1716004"/>
                    </a:lnTo>
                    <a:cubicBezTo>
                      <a:pt x="1313285" y="1742153"/>
                      <a:pt x="1238660" y="1712106"/>
                      <a:pt x="1209445" y="1647743"/>
                    </a:cubicBezTo>
                    <a:cubicBezTo>
                      <a:pt x="976154" y="1137433"/>
                      <a:pt x="575247" y="722318"/>
                      <a:pt x="73349" y="471431"/>
                    </a:cubicBezTo>
                    <a:cubicBezTo>
                      <a:pt x="10142" y="439975"/>
                      <a:pt x="-17255" y="364440"/>
                      <a:pt x="11097" y="299776"/>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17" name="Freeform: Shape 16">
                <a:extLst>
                  <a:ext uri="{FF2B5EF4-FFF2-40B4-BE49-F238E27FC236}">
                    <a16:creationId xmlns:a16="http://schemas.microsoft.com/office/drawing/2014/main" id="{D5AA95E7-06BD-4054-3AC8-79C509F055CA}"/>
                  </a:ext>
                </a:extLst>
              </p:cNvPr>
              <p:cNvSpPr/>
              <p:nvPr/>
            </p:nvSpPr>
            <p:spPr>
              <a:xfrm>
                <a:off x="7032350" y="4581800"/>
                <a:ext cx="1551915" cy="1516552"/>
              </a:xfrm>
              <a:custGeom>
                <a:avLst/>
                <a:gdLst>
                  <a:gd name="connsiteX0" fmla="*/ 1425233 w 1725184"/>
                  <a:gd name="connsiteY0" fmla="*/ 10687 h 1685873"/>
                  <a:gd name="connsiteX1" fmla="*/ 1645271 w 1725184"/>
                  <a:gd name="connsiteY1" fmla="*/ 106068 h 1685873"/>
                  <a:gd name="connsiteX2" fmla="*/ 1714149 w 1725184"/>
                  <a:gd name="connsiteY2" fmla="*/ 280358 h 1685873"/>
                  <a:gd name="connsiteX3" fmla="*/ 1711375 w 1725184"/>
                  <a:gd name="connsiteY3" fmla="*/ 286352 h 1685873"/>
                  <a:gd name="connsiteX4" fmla="*/ 274653 w 1725184"/>
                  <a:gd name="connsiteY4" fmla="*/ 1674073 h 1685873"/>
                  <a:gd name="connsiteX5" fmla="*/ 99192 w 1725184"/>
                  <a:gd name="connsiteY5" fmla="*/ 1607614 h 1685873"/>
                  <a:gd name="connsiteX6" fmla="*/ 96680 w 1725184"/>
                  <a:gd name="connsiteY6" fmla="*/ 1601651 h 1685873"/>
                  <a:gd name="connsiteX7" fmla="*/ 9158 w 1725184"/>
                  <a:gd name="connsiteY7" fmla="*/ 1378377 h 1685873"/>
                  <a:gd name="connsiteX8" fmla="*/ 77265 w 1725184"/>
                  <a:gd name="connsiteY8" fmla="*/ 1209650 h 1685873"/>
                  <a:gd name="connsiteX9" fmla="*/ 1254965 w 1725184"/>
                  <a:gd name="connsiteY9" fmla="*/ 72785 h 1685873"/>
                  <a:gd name="connsiteX10" fmla="*/ 1425233 w 1725184"/>
                  <a:gd name="connsiteY10" fmla="*/ 10687 h 168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5184" h="1685873">
                    <a:moveTo>
                      <a:pt x="1425233" y="10687"/>
                    </a:moveTo>
                    <a:lnTo>
                      <a:pt x="1645271" y="106068"/>
                    </a:lnTo>
                    <a:cubicBezTo>
                      <a:pt x="1712423" y="135175"/>
                      <a:pt x="1743256" y="213206"/>
                      <a:pt x="1714149" y="280358"/>
                    </a:cubicBezTo>
                    <a:cubicBezTo>
                      <a:pt x="1713271" y="282376"/>
                      <a:pt x="1712346" y="284379"/>
                      <a:pt x="1711375" y="286352"/>
                    </a:cubicBezTo>
                    <a:cubicBezTo>
                      <a:pt x="1407512" y="901273"/>
                      <a:pt x="899744" y="1391721"/>
                      <a:pt x="274653" y="1674073"/>
                    </a:cubicBezTo>
                    <a:cubicBezTo>
                      <a:pt x="207856" y="1704167"/>
                      <a:pt x="129286" y="1674412"/>
                      <a:pt x="99192" y="1607614"/>
                    </a:cubicBezTo>
                    <a:cubicBezTo>
                      <a:pt x="98314" y="1605642"/>
                      <a:pt x="97466" y="1603654"/>
                      <a:pt x="96680" y="1601651"/>
                    </a:cubicBezTo>
                    <a:lnTo>
                      <a:pt x="9158" y="1378377"/>
                    </a:lnTo>
                    <a:cubicBezTo>
                      <a:pt x="-16606" y="1312967"/>
                      <a:pt x="13319" y="1238835"/>
                      <a:pt x="77265" y="1209650"/>
                    </a:cubicBezTo>
                    <a:cubicBezTo>
                      <a:pt x="588254" y="976483"/>
                      <a:pt x="1003924" y="575237"/>
                      <a:pt x="1254965" y="72785"/>
                    </a:cubicBezTo>
                    <a:cubicBezTo>
                      <a:pt x="1286368" y="10317"/>
                      <a:pt x="1360978" y="-16895"/>
                      <a:pt x="1425233" y="10687"/>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22" name="Freeform: Shape 21">
                <a:extLst>
                  <a:ext uri="{FF2B5EF4-FFF2-40B4-BE49-F238E27FC236}">
                    <a16:creationId xmlns:a16="http://schemas.microsoft.com/office/drawing/2014/main" id="{6B2B4B0E-7ED8-94DE-A08B-2AA84B585F31}"/>
                  </a:ext>
                </a:extLst>
              </p:cNvPr>
              <p:cNvSpPr/>
              <p:nvPr/>
            </p:nvSpPr>
            <p:spPr>
              <a:xfrm>
                <a:off x="3595949" y="4534436"/>
                <a:ext cx="1517201" cy="1552761"/>
              </a:xfrm>
              <a:custGeom>
                <a:avLst/>
                <a:gdLst>
                  <a:gd name="connsiteX0" fmla="*/ 1675222 w 1686594"/>
                  <a:gd name="connsiteY0" fmla="*/ 1426098 h 1726124"/>
                  <a:gd name="connsiteX1" fmla="*/ 1579841 w 1686594"/>
                  <a:gd name="connsiteY1" fmla="*/ 1646137 h 1726124"/>
                  <a:gd name="connsiteX2" fmla="*/ 1405089 w 1686594"/>
                  <a:gd name="connsiteY2" fmla="*/ 1715030 h 1726124"/>
                  <a:gd name="connsiteX3" fmla="*/ 1399403 w 1686594"/>
                  <a:gd name="connsiteY3" fmla="*/ 1712395 h 1726124"/>
                  <a:gd name="connsiteX4" fmla="*/ 11680 w 1686594"/>
                  <a:gd name="connsiteY4" fmla="*/ 275057 h 1726124"/>
                  <a:gd name="connsiteX5" fmla="*/ 78242 w 1686594"/>
                  <a:gd name="connsiteY5" fmla="*/ 99396 h 1726124"/>
                  <a:gd name="connsiteX6" fmla="*/ 84102 w 1686594"/>
                  <a:gd name="connsiteY6" fmla="*/ 96930 h 1726124"/>
                  <a:gd name="connsiteX7" fmla="*/ 307377 w 1686594"/>
                  <a:gd name="connsiteY7" fmla="*/ 9408 h 1726124"/>
                  <a:gd name="connsiteX8" fmla="*/ 476874 w 1686594"/>
                  <a:gd name="connsiteY8" fmla="*/ 77669 h 1726124"/>
                  <a:gd name="connsiteX9" fmla="*/ 1613740 w 1686594"/>
                  <a:gd name="connsiteY9" fmla="*/ 1254443 h 1726124"/>
                  <a:gd name="connsiteX10" fmla="*/ 1675222 w 1686594"/>
                  <a:gd name="connsiteY10" fmla="*/ 1426098 h 172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6594" h="1726124">
                    <a:moveTo>
                      <a:pt x="1675222" y="1426098"/>
                    </a:moveTo>
                    <a:lnTo>
                      <a:pt x="1579841" y="1646137"/>
                    </a:lnTo>
                    <a:cubicBezTo>
                      <a:pt x="1550610" y="1713412"/>
                      <a:pt x="1472364" y="1744260"/>
                      <a:pt x="1405089" y="1715030"/>
                    </a:cubicBezTo>
                    <a:cubicBezTo>
                      <a:pt x="1403178" y="1714198"/>
                      <a:pt x="1401283" y="1713320"/>
                      <a:pt x="1399403" y="1712395"/>
                    </a:cubicBezTo>
                    <a:cubicBezTo>
                      <a:pt x="784481" y="1408255"/>
                      <a:pt x="294040" y="900287"/>
                      <a:pt x="11680" y="275057"/>
                    </a:cubicBezTo>
                    <a:cubicBezTo>
                      <a:pt x="-18445" y="208167"/>
                      <a:pt x="11355" y="129536"/>
                      <a:pt x="78242" y="99396"/>
                    </a:cubicBezTo>
                    <a:cubicBezTo>
                      <a:pt x="80174" y="98533"/>
                      <a:pt x="82130" y="97701"/>
                      <a:pt x="84102" y="96930"/>
                    </a:cubicBezTo>
                    <a:lnTo>
                      <a:pt x="307377" y="9408"/>
                    </a:lnTo>
                    <a:cubicBezTo>
                      <a:pt x="373038" y="-16833"/>
                      <a:pt x="447720" y="13245"/>
                      <a:pt x="476874" y="77669"/>
                    </a:cubicBezTo>
                    <a:cubicBezTo>
                      <a:pt x="710195" y="588335"/>
                      <a:pt x="1111426" y="1003649"/>
                      <a:pt x="1613740" y="1254443"/>
                    </a:cubicBezTo>
                    <a:cubicBezTo>
                      <a:pt x="1676655" y="1286171"/>
                      <a:pt x="1703682" y="1361643"/>
                      <a:pt x="1675222" y="1426098"/>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7" name="Freeform: Shape 6">
                <a:extLst>
                  <a:ext uri="{FF2B5EF4-FFF2-40B4-BE49-F238E27FC236}">
                    <a16:creationId xmlns:a16="http://schemas.microsoft.com/office/drawing/2014/main" id="{6A9F9DAB-59A5-F306-2D16-26F151E17422}"/>
                  </a:ext>
                </a:extLst>
              </p:cNvPr>
              <p:cNvSpPr/>
              <p:nvPr/>
            </p:nvSpPr>
            <p:spPr>
              <a:xfrm>
                <a:off x="3761488" y="1279139"/>
                <a:ext cx="2583957" cy="2231982"/>
              </a:xfrm>
              <a:custGeom>
                <a:avLst/>
                <a:gdLst>
                  <a:gd name="connsiteX0" fmla="*/ 1144809 w 2872452"/>
                  <a:gd name="connsiteY0" fmla="*/ 2474493 h 2481179"/>
                  <a:gd name="connsiteX1" fmla="*/ 2368427 w 2872452"/>
                  <a:gd name="connsiteY1" fmla="*/ 1141781 h 2481179"/>
                  <a:gd name="connsiteX2" fmla="*/ 2698639 w 2872452"/>
                  <a:gd name="connsiteY2" fmla="*/ 963963 h 2481179"/>
                  <a:gd name="connsiteX3" fmla="*/ 2729457 w 2872452"/>
                  <a:gd name="connsiteY3" fmla="*/ 928831 h 2481179"/>
                  <a:gd name="connsiteX4" fmla="*/ 2722369 w 2872452"/>
                  <a:gd name="connsiteY4" fmla="*/ 176570 h 2481179"/>
                  <a:gd name="connsiteX5" fmla="*/ 2722369 w 2872452"/>
                  <a:gd name="connsiteY5" fmla="*/ 176570 h 2481179"/>
                  <a:gd name="connsiteX6" fmla="*/ 2244694 w 2872452"/>
                  <a:gd name="connsiteY6" fmla="*/ 4608 h 2481179"/>
                  <a:gd name="connsiteX7" fmla="*/ -70 w 2872452"/>
                  <a:gd name="connsiteY7" fmla="*/ 2481119 h 2481179"/>
                  <a:gd name="connsiteX8" fmla="*/ -70 w 2872452"/>
                  <a:gd name="connsiteY8" fmla="*/ 2481119 h 2481179"/>
                  <a:gd name="connsiteX9" fmla="*/ 1140186 w 2872452"/>
                  <a:gd name="connsiteY9" fmla="*/ 2470178 h 248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2452" h="2481179">
                    <a:moveTo>
                      <a:pt x="1144809" y="2474493"/>
                    </a:moveTo>
                    <a:cubicBezTo>
                      <a:pt x="1194009" y="1800140"/>
                      <a:pt x="1700715" y="1248256"/>
                      <a:pt x="2368427" y="1141781"/>
                    </a:cubicBezTo>
                    <a:cubicBezTo>
                      <a:pt x="2495643" y="1122181"/>
                      <a:pt x="2612242" y="1059390"/>
                      <a:pt x="2698639" y="963963"/>
                    </a:cubicBezTo>
                    <a:lnTo>
                      <a:pt x="2729457" y="928831"/>
                    </a:lnTo>
                    <a:cubicBezTo>
                      <a:pt x="2922715" y="714247"/>
                      <a:pt x="2919633" y="387470"/>
                      <a:pt x="2722369" y="176570"/>
                    </a:cubicBezTo>
                    <a:lnTo>
                      <a:pt x="2722369" y="176570"/>
                    </a:lnTo>
                    <a:cubicBezTo>
                      <a:pt x="2600253" y="45475"/>
                      <a:pt x="2422343" y="-18572"/>
                      <a:pt x="2244694" y="4608"/>
                    </a:cubicBezTo>
                    <a:cubicBezTo>
                      <a:pt x="1006900" y="172102"/>
                      <a:pt x="46619" y="1214357"/>
                      <a:pt x="-70" y="2481119"/>
                    </a:cubicBezTo>
                    <a:lnTo>
                      <a:pt x="-70" y="2481119"/>
                    </a:lnTo>
                    <a:cubicBezTo>
                      <a:pt x="300557" y="2101599"/>
                      <a:pt x="837710" y="2115158"/>
                      <a:pt x="1140186" y="2470178"/>
                    </a:cubicBezTo>
                    <a:close/>
                  </a:path>
                </a:pathLst>
              </a:custGeom>
              <a:solidFill>
                <a:srgbClr val="FA854B"/>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9" name="Freeform: Shape 8">
                <a:extLst>
                  <a:ext uri="{FF2B5EF4-FFF2-40B4-BE49-F238E27FC236}">
                    <a16:creationId xmlns:a16="http://schemas.microsoft.com/office/drawing/2014/main" id="{A3D8E584-1B16-0ADA-9410-3BD6EAFF61FB}"/>
                  </a:ext>
                </a:extLst>
              </p:cNvPr>
              <p:cNvSpPr/>
              <p:nvPr/>
            </p:nvSpPr>
            <p:spPr>
              <a:xfrm>
                <a:off x="5413337" y="1377318"/>
                <a:ext cx="812270" cy="812269"/>
              </a:xfrm>
              <a:custGeom>
                <a:avLst/>
                <a:gdLst>
                  <a:gd name="connsiteX0" fmla="*/ 902960 w 902959"/>
                  <a:gd name="connsiteY0" fmla="*/ 451479 h 902958"/>
                  <a:gd name="connsiteX1" fmla="*/ 451480 w 902959"/>
                  <a:gd name="connsiteY1" fmla="*/ 902959 h 902958"/>
                  <a:gd name="connsiteX2" fmla="*/ 0 w 902959"/>
                  <a:gd name="connsiteY2" fmla="*/ 451479 h 902958"/>
                  <a:gd name="connsiteX3" fmla="*/ 451480 w 902959"/>
                  <a:gd name="connsiteY3" fmla="*/ 0 h 902958"/>
                  <a:gd name="connsiteX4" fmla="*/ 902960 w 902959"/>
                  <a:gd name="connsiteY4" fmla="*/ 451479 h 90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8">
                    <a:moveTo>
                      <a:pt x="902960" y="451479"/>
                    </a:moveTo>
                    <a:cubicBezTo>
                      <a:pt x="902960" y="700825"/>
                      <a:pt x="700825" y="902959"/>
                      <a:pt x="451480" y="902959"/>
                    </a:cubicBezTo>
                    <a:cubicBezTo>
                      <a:pt x="202134" y="902959"/>
                      <a:pt x="0" y="700825"/>
                      <a:pt x="0" y="451479"/>
                    </a:cubicBezTo>
                    <a:cubicBezTo>
                      <a:pt x="0" y="202134"/>
                      <a:pt x="202134" y="0"/>
                      <a:pt x="451480" y="0"/>
                    </a:cubicBezTo>
                    <a:cubicBezTo>
                      <a:pt x="700825" y="0"/>
                      <a:pt x="902960" y="202134"/>
                      <a:pt x="902960" y="451479"/>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1" name="Freeform: Shape 10">
                <a:extLst>
                  <a:ext uri="{FF2B5EF4-FFF2-40B4-BE49-F238E27FC236}">
                    <a16:creationId xmlns:a16="http://schemas.microsoft.com/office/drawing/2014/main" id="{2067C609-27B8-3708-38DD-7CF591A7016F}"/>
                  </a:ext>
                </a:extLst>
              </p:cNvPr>
              <p:cNvSpPr/>
              <p:nvPr/>
            </p:nvSpPr>
            <p:spPr>
              <a:xfrm>
                <a:off x="6183330" y="1263794"/>
                <a:ext cx="2231861" cy="2584636"/>
              </a:xfrm>
              <a:custGeom>
                <a:avLst/>
                <a:gdLst>
                  <a:gd name="connsiteX0" fmla="*/ 6402 w 2481044"/>
                  <a:gd name="connsiteY0" fmla="*/ 1144817 h 2873206"/>
                  <a:gd name="connsiteX1" fmla="*/ 1339115 w 2481044"/>
                  <a:gd name="connsiteY1" fmla="*/ 2368434 h 2873206"/>
                  <a:gd name="connsiteX2" fmla="*/ 1516933 w 2481044"/>
                  <a:gd name="connsiteY2" fmla="*/ 2698800 h 2873206"/>
                  <a:gd name="connsiteX3" fmla="*/ 1552065 w 2481044"/>
                  <a:gd name="connsiteY3" fmla="*/ 2730388 h 2873206"/>
                  <a:gd name="connsiteX4" fmla="*/ 2304480 w 2481044"/>
                  <a:gd name="connsiteY4" fmla="*/ 2723146 h 2873206"/>
                  <a:gd name="connsiteX5" fmla="*/ 2304480 w 2481044"/>
                  <a:gd name="connsiteY5" fmla="*/ 2723146 h 2873206"/>
                  <a:gd name="connsiteX6" fmla="*/ 2476289 w 2481044"/>
                  <a:gd name="connsiteY6" fmla="*/ 2245472 h 2873206"/>
                  <a:gd name="connsiteX7" fmla="*/ -70 w 2481044"/>
                  <a:gd name="connsiteY7" fmla="*/ -61 h 2873206"/>
                  <a:gd name="connsiteX8" fmla="*/ -70 w 2481044"/>
                  <a:gd name="connsiteY8" fmla="*/ -61 h 2873206"/>
                  <a:gd name="connsiteX9" fmla="*/ 10871 w 2481044"/>
                  <a:gd name="connsiteY9" fmla="*/ 1140195 h 287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1044" h="2873206">
                    <a:moveTo>
                      <a:pt x="6402" y="1144817"/>
                    </a:moveTo>
                    <a:cubicBezTo>
                      <a:pt x="680787" y="1193972"/>
                      <a:pt x="1232686" y="1700692"/>
                      <a:pt x="1339115" y="2368434"/>
                    </a:cubicBezTo>
                    <a:cubicBezTo>
                      <a:pt x="1358761" y="2495681"/>
                      <a:pt x="1421537" y="2612326"/>
                      <a:pt x="1516933" y="2698800"/>
                    </a:cubicBezTo>
                    <a:lnTo>
                      <a:pt x="1552065" y="2730388"/>
                    </a:lnTo>
                    <a:cubicBezTo>
                      <a:pt x="1766788" y="2923477"/>
                      <a:pt x="2093518" y="2920333"/>
                      <a:pt x="2304480" y="2723146"/>
                    </a:cubicBezTo>
                    <a:lnTo>
                      <a:pt x="2304480" y="2723146"/>
                    </a:lnTo>
                    <a:cubicBezTo>
                      <a:pt x="2435518" y="2601000"/>
                      <a:pt x="2499510" y="2423105"/>
                      <a:pt x="2476289" y="2245472"/>
                    </a:cubicBezTo>
                    <a:cubicBezTo>
                      <a:pt x="2308949" y="1007062"/>
                      <a:pt x="1266539" y="46628"/>
                      <a:pt x="-70" y="-61"/>
                    </a:cubicBezTo>
                    <a:lnTo>
                      <a:pt x="-70" y="-61"/>
                    </a:lnTo>
                    <a:cubicBezTo>
                      <a:pt x="323517" y="217050"/>
                      <a:pt x="429530" y="827395"/>
                      <a:pt x="10871" y="1140195"/>
                    </a:cubicBezTo>
                    <a:close/>
                  </a:path>
                </a:pathLst>
              </a:custGeom>
              <a:solidFill>
                <a:schemeClr val="accent6"/>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3" name="Freeform: Shape 12">
                <a:extLst>
                  <a:ext uri="{FF2B5EF4-FFF2-40B4-BE49-F238E27FC236}">
                    <a16:creationId xmlns:a16="http://schemas.microsoft.com/office/drawing/2014/main" id="{9F023184-E144-129C-4B79-9E46444BF337}"/>
                  </a:ext>
                </a:extLst>
              </p:cNvPr>
              <p:cNvSpPr/>
              <p:nvPr/>
            </p:nvSpPr>
            <p:spPr>
              <a:xfrm>
                <a:off x="7504726" y="2915641"/>
                <a:ext cx="812270" cy="812269"/>
              </a:xfrm>
              <a:custGeom>
                <a:avLst/>
                <a:gdLst>
                  <a:gd name="connsiteX0" fmla="*/ 902959 w 902959"/>
                  <a:gd name="connsiteY0" fmla="*/ 451479 h 902958"/>
                  <a:gd name="connsiteX1" fmla="*/ 451480 w 902959"/>
                  <a:gd name="connsiteY1" fmla="*/ 902959 h 902958"/>
                  <a:gd name="connsiteX2" fmla="*/ 0 w 902959"/>
                  <a:gd name="connsiteY2" fmla="*/ 451479 h 902958"/>
                  <a:gd name="connsiteX3" fmla="*/ 451480 w 902959"/>
                  <a:gd name="connsiteY3" fmla="*/ 0 h 902958"/>
                  <a:gd name="connsiteX4" fmla="*/ 902959 w 902959"/>
                  <a:gd name="connsiteY4" fmla="*/ 451479 h 90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8">
                    <a:moveTo>
                      <a:pt x="902959" y="451479"/>
                    </a:moveTo>
                    <a:cubicBezTo>
                      <a:pt x="902959" y="700825"/>
                      <a:pt x="700825" y="902959"/>
                      <a:pt x="451480" y="902959"/>
                    </a:cubicBezTo>
                    <a:cubicBezTo>
                      <a:pt x="202134" y="902959"/>
                      <a:pt x="0" y="700825"/>
                      <a:pt x="0" y="451479"/>
                    </a:cubicBezTo>
                    <a:cubicBezTo>
                      <a:pt x="0" y="202134"/>
                      <a:pt x="202134" y="0"/>
                      <a:pt x="451480" y="0"/>
                    </a:cubicBezTo>
                    <a:cubicBezTo>
                      <a:pt x="700825" y="0"/>
                      <a:pt x="902959" y="202134"/>
                      <a:pt x="902959" y="451479"/>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5" name="Freeform: Shape 14">
                <a:extLst>
                  <a:ext uri="{FF2B5EF4-FFF2-40B4-BE49-F238E27FC236}">
                    <a16:creationId xmlns:a16="http://schemas.microsoft.com/office/drawing/2014/main" id="{9E1228EF-BDF1-708E-3F21-045211BE91F2}"/>
                  </a:ext>
                </a:extLst>
              </p:cNvPr>
              <p:cNvSpPr/>
              <p:nvPr/>
            </p:nvSpPr>
            <p:spPr>
              <a:xfrm>
                <a:off x="5845893" y="3686327"/>
                <a:ext cx="2584489" cy="2231916"/>
              </a:xfrm>
              <a:custGeom>
                <a:avLst/>
                <a:gdLst>
                  <a:gd name="connsiteX0" fmla="*/ 1728249 w 2873043"/>
                  <a:gd name="connsiteY0" fmla="*/ 5795 h 2481106"/>
                  <a:gd name="connsiteX1" fmla="*/ 504631 w 2873043"/>
                  <a:gd name="connsiteY1" fmla="*/ 1338353 h 2481106"/>
                  <a:gd name="connsiteX2" fmla="*/ 174419 w 2873043"/>
                  <a:gd name="connsiteY2" fmla="*/ 1516325 h 2481106"/>
                  <a:gd name="connsiteX3" fmla="*/ 142677 w 2873043"/>
                  <a:gd name="connsiteY3" fmla="*/ 1552227 h 2481106"/>
                  <a:gd name="connsiteX4" fmla="*/ 149919 w 2873043"/>
                  <a:gd name="connsiteY4" fmla="*/ 2304488 h 2481106"/>
                  <a:gd name="connsiteX5" fmla="*/ 149919 w 2873043"/>
                  <a:gd name="connsiteY5" fmla="*/ 2304488 h 2481106"/>
                  <a:gd name="connsiteX6" fmla="*/ 627594 w 2873043"/>
                  <a:gd name="connsiteY6" fmla="*/ 2476296 h 2481106"/>
                  <a:gd name="connsiteX7" fmla="*/ 2872974 w 2873043"/>
                  <a:gd name="connsiteY7" fmla="*/ -61 h 2481106"/>
                  <a:gd name="connsiteX8" fmla="*/ 2872974 w 2873043"/>
                  <a:gd name="connsiteY8" fmla="*/ -61 h 2481106"/>
                  <a:gd name="connsiteX9" fmla="*/ 1732718 w 2873043"/>
                  <a:gd name="connsiteY9" fmla="*/ 10880 h 2481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3043" h="2481106">
                    <a:moveTo>
                      <a:pt x="1728249" y="5795"/>
                    </a:moveTo>
                    <a:cubicBezTo>
                      <a:pt x="1679095" y="680133"/>
                      <a:pt x="1172344" y="1232000"/>
                      <a:pt x="504631" y="1338353"/>
                    </a:cubicBezTo>
                    <a:cubicBezTo>
                      <a:pt x="377369" y="1357953"/>
                      <a:pt x="260755" y="1420805"/>
                      <a:pt x="174419" y="1516325"/>
                    </a:cubicBezTo>
                    <a:lnTo>
                      <a:pt x="142677" y="1552227"/>
                    </a:lnTo>
                    <a:cubicBezTo>
                      <a:pt x="-50396" y="1766904"/>
                      <a:pt x="-47253" y="2093571"/>
                      <a:pt x="149919" y="2304488"/>
                    </a:cubicBezTo>
                    <a:lnTo>
                      <a:pt x="149919" y="2304488"/>
                    </a:lnTo>
                    <a:cubicBezTo>
                      <a:pt x="271957" y="2435679"/>
                      <a:pt x="449945" y="2499703"/>
                      <a:pt x="627594" y="2476296"/>
                    </a:cubicBezTo>
                    <a:cubicBezTo>
                      <a:pt x="1866004" y="2308956"/>
                      <a:pt x="2826285" y="1266701"/>
                      <a:pt x="2872974" y="-61"/>
                    </a:cubicBezTo>
                    <a:lnTo>
                      <a:pt x="2872974" y="-61"/>
                    </a:lnTo>
                    <a:cubicBezTo>
                      <a:pt x="2600237" y="411048"/>
                      <a:pt x="2006225" y="383928"/>
                      <a:pt x="1732718" y="10880"/>
                    </a:cubicBezTo>
                    <a:close/>
                  </a:path>
                </a:pathLst>
              </a:custGeom>
              <a:solidFill>
                <a:srgbClr val="F7C84F"/>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8" name="Freeform: Shape 17">
                <a:extLst>
                  <a:ext uri="{FF2B5EF4-FFF2-40B4-BE49-F238E27FC236}">
                    <a16:creationId xmlns:a16="http://schemas.microsoft.com/office/drawing/2014/main" id="{9D885BBD-147B-F963-EB91-710A7E55B0BB}"/>
                  </a:ext>
                </a:extLst>
              </p:cNvPr>
              <p:cNvSpPr/>
              <p:nvPr/>
            </p:nvSpPr>
            <p:spPr>
              <a:xfrm>
                <a:off x="5966401" y="5007029"/>
                <a:ext cx="812270" cy="812269"/>
              </a:xfrm>
              <a:custGeom>
                <a:avLst/>
                <a:gdLst>
                  <a:gd name="connsiteX0" fmla="*/ 902959 w 902959"/>
                  <a:gd name="connsiteY0" fmla="*/ 451480 h 902958"/>
                  <a:gd name="connsiteX1" fmla="*/ 451480 w 902959"/>
                  <a:gd name="connsiteY1" fmla="*/ 902959 h 902958"/>
                  <a:gd name="connsiteX2" fmla="*/ 0 w 902959"/>
                  <a:gd name="connsiteY2" fmla="*/ 451480 h 902958"/>
                  <a:gd name="connsiteX3" fmla="*/ 451480 w 902959"/>
                  <a:gd name="connsiteY3" fmla="*/ 0 h 902958"/>
                  <a:gd name="connsiteX4" fmla="*/ 902959 w 902959"/>
                  <a:gd name="connsiteY4" fmla="*/ 451480 h 90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8">
                    <a:moveTo>
                      <a:pt x="902959" y="451480"/>
                    </a:moveTo>
                    <a:cubicBezTo>
                      <a:pt x="902959" y="700825"/>
                      <a:pt x="700825" y="902959"/>
                      <a:pt x="451480" y="902959"/>
                    </a:cubicBezTo>
                    <a:cubicBezTo>
                      <a:pt x="202134" y="902959"/>
                      <a:pt x="0" y="700825"/>
                      <a:pt x="0" y="451480"/>
                    </a:cubicBezTo>
                    <a:cubicBezTo>
                      <a:pt x="0" y="202134"/>
                      <a:pt x="202134" y="0"/>
                      <a:pt x="451480" y="0"/>
                    </a:cubicBezTo>
                    <a:cubicBezTo>
                      <a:pt x="700825" y="0"/>
                      <a:pt x="902959" y="202134"/>
                      <a:pt x="902959" y="451480"/>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20" name="Freeform: Shape 19">
                <a:extLst>
                  <a:ext uri="{FF2B5EF4-FFF2-40B4-BE49-F238E27FC236}">
                    <a16:creationId xmlns:a16="http://schemas.microsoft.com/office/drawing/2014/main" id="{97A26069-93A6-E07F-25FE-8893DAF1B0AF}"/>
                  </a:ext>
                </a:extLst>
              </p:cNvPr>
              <p:cNvSpPr/>
              <p:nvPr/>
            </p:nvSpPr>
            <p:spPr>
              <a:xfrm>
                <a:off x="3777177" y="3348273"/>
                <a:ext cx="2231501" cy="2584549"/>
              </a:xfrm>
              <a:custGeom>
                <a:avLst/>
                <a:gdLst>
                  <a:gd name="connsiteX0" fmla="*/ 2474103 w 2480644"/>
                  <a:gd name="connsiteY0" fmla="*/ 1727710 h 2873110"/>
                  <a:gd name="connsiteX1" fmla="*/ 1141390 w 2480644"/>
                  <a:gd name="connsiteY1" fmla="*/ 504247 h 2873110"/>
                  <a:gd name="connsiteX2" fmla="*/ 963572 w 2480644"/>
                  <a:gd name="connsiteY2" fmla="*/ 173881 h 2873110"/>
                  <a:gd name="connsiteX3" fmla="*/ 928902 w 2480644"/>
                  <a:gd name="connsiteY3" fmla="*/ 142755 h 2873110"/>
                  <a:gd name="connsiteX4" fmla="*/ 176487 w 2480644"/>
                  <a:gd name="connsiteY4" fmla="*/ 149998 h 2873110"/>
                  <a:gd name="connsiteX5" fmla="*/ 176487 w 2480644"/>
                  <a:gd name="connsiteY5" fmla="*/ 149998 h 2873110"/>
                  <a:gd name="connsiteX6" fmla="*/ 4678 w 2480644"/>
                  <a:gd name="connsiteY6" fmla="*/ 627672 h 2873110"/>
                  <a:gd name="connsiteX7" fmla="*/ 2480575 w 2480644"/>
                  <a:gd name="connsiteY7" fmla="*/ 2873050 h 2873110"/>
                  <a:gd name="connsiteX8" fmla="*/ 2480575 w 2480644"/>
                  <a:gd name="connsiteY8" fmla="*/ 2873050 h 2873110"/>
                  <a:gd name="connsiteX9" fmla="*/ 2469635 w 2480644"/>
                  <a:gd name="connsiteY9" fmla="*/ 1732795 h 287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0644" h="2873110">
                    <a:moveTo>
                      <a:pt x="2474103" y="1727710"/>
                    </a:moveTo>
                    <a:cubicBezTo>
                      <a:pt x="1799750" y="1678633"/>
                      <a:pt x="1247820" y="1171959"/>
                      <a:pt x="1141390" y="504247"/>
                    </a:cubicBezTo>
                    <a:cubicBezTo>
                      <a:pt x="1121790" y="376985"/>
                      <a:pt x="1058999" y="260340"/>
                      <a:pt x="963572" y="173881"/>
                    </a:cubicBezTo>
                    <a:lnTo>
                      <a:pt x="928902" y="142755"/>
                    </a:lnTo>
                    <a:cubicBezTo>
                      <a:pt x="714210" y="-50410"/>
                      <a:pt x="387419" y="-47267"/>
                      <a:pt x="176487" y="149998"/>
                    </a:cubicBezTo>
                    <a:lnTo>
                      <a:pt x="176487" y="149998"/>
                    </a:lnTo>
                    <a:cubicBezTo>
                      <a:pt x="45295" y="272036"/>
                      <a:pt x="-18723" y="450023"/>
                      <a:pt x="4678" y="627672"/>
                    </a:cubicBezTo>
                    <a:cubicBezTo>
                      <a:pt x="171556" y="1866390"/>
                      <a:pt x="1213966" y="2826361"/>
                      <a:pt x="2480575" y="2873050"/>
                    </a:cubicBezTo>
                    <a:lnTo>
                      <a:pt x="2480575" y="2873050"/>
                    </a:lnTo>
                    <a:cubicBezTo>
                      <a:pt x="2095353" y="2700009"/>
                      <a:pt x="2013840" y="2006148"/>
                      <a:pt x="2469635" y="1732795"/>
                    </a:cubicBezTo>
                    <a:close/>
                  </a:path>
                </a:pathLst>
              </a:custGeom>
              <a:solidFill>
                <a:schemeClr val="accent2"/>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23" name="Freeform: Shape 22">
                <a:extLst>
                  <a:ext uri="{FF2B5EF4-FFF2-40B4-BE49-F238E27FC236}">
                    <a16:creationId xmlns:a16="http://schemas.microsoft.com/office/drawing/2014/main" id="{3CDD3D54-C492-F7CB-ACD4-266AF934EB71}"/>
                  </a:ext>
                </a:extLst>
              </p:cNvPr>
              <p:cNvSpPr/>
              <p:nvPr/>
            </p:nvSpPr>
            <p:spPr>
              <a:xfrm rot="20224201">
                <a:off x="3874982" y="3468791"/>
                <a:ext cx="812270" cy="812270"/>
              </a:xfrm>
              <a:custGeom>
                <a:avLst/>
                <a:gdLst>
                  <a:gd name="connsiteX0" fmla="*/ 902890 w 902959"/>
                  <a:gd name="connsiteY0" fmla="*/ 451419 h 902959"/>
                  <a:gd name="connsiteX1" fmla="*/ 451410 w 902959"/>
                  <a:gd name="connsiteY1" fmla="*/ 902898 h 902959"/>
                  <a:gd name="connsiteX2" fmla="*/ -70 w 902959"/>
                  <a:gd name="connsiteY2" fmla="*/ 451419 h 902959"/>
                  <a:gd name="connsiteX3" fmla="*/ 451410 w 902959"/>
                  <a:gd name="connsiteY3" fmla="*/ -61 h 902959"/>
                  <a:gd name="connsiteX4" fmla="*/ 902890 w 902959"/>
                  <a:gd name="connsiteY4" fmla="*/ 451419 h 902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9">
                    <a:moveTo>
                      <a:pt x="902890" y="451419"/>
                    </a:moveTo>
                    <a:cubicBezTo>
                      <a:pt x="902890" y="700764"/>
                      <a:pt x="700756" y="902898"/>
                      <a:pt x="451410" y="902898"/>
                    </a:cubicBezTo>
                    <a:cubicBezTo>
                      <a:pt x="202065" y="902898"/>
                      <a:pt x="-70" y="700764"/>
                      <a:pt x="-70" y="451419"/>
                    </a:cubicBezTo>
                    <a:cubicBezTo>
                      <a:pt x="-70" y="202074"/>
                      <a:pt x="202065" y="-61"/>
                      <a:pt x="451410" y="-61"/>
                    </a:cubicBezTo>
                    <a:cubicBezTo>
                      <a:pt x="700756" y="-61"/>
                      <a:pt x="902890" y="202074"/>
                      <a:pt x="902890" y="451419"/>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pic>
            <p:nvPicPr>
              <p:cNvPr id="27" name="Picture 26">
                <a:extLst>
                  <a:ext uri="{FF2B5EF4-FFF2-40B4-BE49-F238E27FC236}">
                    <a16:creationId xmlns:a16="http://schemas.microsoft.com/office/drawing/2014/main" id="{D6AA7B1A-4E4B-3FE0-A43B-733A49B87E7B}"/>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576478" y="1540459"/>
                <a:ext cx="485988" cy="485986"/>
              </a:xfrm>
              <a:prstGeom prst="rect">
                <a:avLst/>
              </a:prstGeom>
            </p:spPr>
          </p:pic>
          <p:sp>
            <p:nvSpPr>
              <p:cNvPr id="28" name="Rectangle 27">
                <a:extLst>
                  <a:ext uri="{FF2B5EF4-FFF2-40B4-BE49-F238E27FC236}">
                    <a16:creationId xmlns:a16="http://schemas.microsoft.com/office/drawing/2014/main" id="{CB9586E9-8D65-F885-A1ED-2F81FC49FBBC}"/>
                  </a:ext>
                </a:extLst>
              </p:cNvPr>
              <p:cNvSpPr/>
              <p:nvPr/>
            </p:nvSpPr>
            <p:spPr>
              <a:xfrm>
                <a:off x="3927557" y="2155929"/>
                <a:ext cx="1379051" cy="844315"/>
              </a:xfrm>
              <a:prstGeom prst="rect">
                <a:avLst/>
              </a:prstGeom>
            </p:spPr>
            <p:txBody>
              <a:bodyPr wrap="square" lIns="91440" tIns="45720" rIns="91440" bIns="45720" anchor="t">
                <a:spAutoFit/>
              </a:bodyPr>
              <a:lstStyle/>
              <a:p>
                <a:pPr algn="ctr"/>
                <a:r>
                  <a:rPr lang="en-US" sz="800" b="1">
                    <a:solidFill>
                      <a:schemeClr val="bg1"/>
                    </a:solidFill>
                    <a:latin typeface="Lora"/>
                  </a:rPr>
                  <a:t>Data Dog</a:t>
                </a:r>
                <a:endParaRPr lang="en-US" sz="800">
                  <a:solidFill>
                    <a:schemeClr val="bg1"/>
                  </a:solidFill>
                  <a:cs typeface="Arial"/>
                </a:endParaRPr>
              </a:p>
              <a:p>
                <a:pPr algn="ctr"/>
                <a:r>
                  <a:rPr lang="en-US" sz="800" b="1">
                    <a:solidFill>
                      <a:schemeClr val="bg1"/>
                    </a:solidFill>
                    <a:latin typeface="Lora"/>
                  </a:rPr>
                  <a:t>Limitation </a:t>
                </a:r>
                <a:endParaRPr lang="en-US" sz="800">
                  <a:solidFill>
                    <a:schemeClr val="bg1"/>
                  </a:solidFill>
                  <a:cs typeface="Arial"/>
                </a:endParaRPr>
              </a:p>
              <a:p>
                <a:pPr algn="ctr"/>
                <a:endParaRPr lang="en-US" sz="800" b="1">
                  <a:solidFill>
                    <a:schemeClr val="bg1"/>
                  </a:solidFill>
                  <a:latin typeface="Lora" pitchFamily="2" charset="0"/>
                </a:endParaRPr>
              </a:p>
            </p:txBody>
          </p:sp>
          <p:pic>
            <p:nvPicPr>
              <p:cNvPr id="29" name="Picture 28">
                <a:extLst>
                  <a:ext uri="{FF2B5EF4-FFF2-40B4-BE49-F238E27FC236}">
                    <a16:creationId xmlns:a16="http://schemas.microsoft.com/office/drawing/2014/main" id="{C33B1C3A-4E84-EF2A-F618-EA3F8244E183}"/>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128505" y="5169132"/>
                <a:ext cx="488062" cy="488062"/>
              </a:xfrm>
              <a:prstGeom prst="rect">
                <a:avLst/>
              </a:prstGeom>
            </p:spPr>
          </p:pic>
          <p:pic>
            <p:nvPicPr>
              <p:cNvPr id="32" name="Picture 31">
                <a:extLst>
                  <a:ext uri="{FF2B5EF4-FFF2-40B4-BE49-F238E27FC236}">
                    <a16:creationId xmlns:a16="http://schemas.microsoft.com/office/drawing/2014/main" id="{1892FBDD-8899-DAEC-9D04-10A8306A119B}"/>
                  </a:ext>
                </a:extLst>
              </p:cNvPr>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660191" y="3071106"/>
                <a:ext cx="501340" cy="501338"/>
              </a:xfrm>
              <a:prstGeom prst="rect">
                <a:avLst/>
              </a:prstGeom>
            </p:spPr>
          </p:pic>
          <p:pic>
            <p:nvPicPr>
              <p:cNvPr id="33" name="Picture 32">
                <a:extLst>
                  <a:ext uri="{FF2B5EF4-FFF2-40B4-BE49-F238E27FC236}">
                    <a16:creationId xmlns:a16="http://schemas.microsoft.com/office/drawing/2014/main" id="{C8B122D2-D20F-FF87-2340-766988ECF62F}"/>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079672" y="3673482"/>
                <a:ext cx="402890" cy="402888"/>
              </a:xfrm>
              <a:prstGeom prst="rect">
                <a:avLst/>
              </a:prstGeom>
            </p:spPr>
          </p:pic>
          <p:sp>
            <p:nvSpPr>
              <p:cNvPr id="36" name="Rectangle 35">
                <a:extLst>
                  <a:ext uri="{FF2B5EF4-FFF2-40B4-BE49-F238E27FC236}">
                    <a16:creationId xmlns:a16="http://schemas.microsoft.com/office/drawing/2014/main" id="{B5D674C2-2687-08CC-E2AC-51F9698EDB02}"/>
                  </a:ext>
                </a:extLst>
              </p:cNvPr>
              <p:cNvSpPr/>
              <p:nvPr/>
            </p:nvSpPr>
            <p:spPr>
              <a:xfrm>
                <a:off x="6842170" y="2265640"/>
                <a:ext cx="1203204" cy="394014"/>
              </a:xfrm>
              <a:prstGeom prst="rect">
                <a:avLst/>
              </a:prstGeom>
            </p:spPr>
            <p:txBody>
              <a:bodyPr wrap="square" lIns="91440" tIns="45720" rIns="91440" bIns="45720" anchor="t">
                <a:spAutoFit/>
              </a:bodyPr>
              <a:lstStyle/>
              <a:p>
                <a:pPr algn="ctr"/>
                <a:r>
                  <a:rPr lang="en-US" sz="800">
                    <a:solidFill>
                      <a:schemeClr val="bg1"/>
                    </a:solidFill>
                    <a:ea typeface="+mn-lt"/>
                    <a:cs typeface="+mn-lt"/>
                  </a:rPr>
                  <a:t>Approach</a:t>
                </a:r>
                <a:endParaRPr lang="en-US" sz="800">
                  <a:solidFill>
                    <a:schemeClr val="bg1"/>
                  </a:solidFill>
                </a:endParaRPr>
              </a:p>
            </p:txBody>
          </p:sp>
          <p:sp>
            <p:nvSpPr>
              <p:cNvPr id="37" name="Rectangle 36">
                <a:extLst>
                  <a:ext uri="{FF2B5EF4-FFF2-40B4-BE49-F238E27FC236}">
                    <a16:creationId xmlns:a16="http://schemas.microsoft.com/office/drawing/2014/main" id="{8BCBB331-C2B0-C85D-0001-B82F47BD578D}"/>
                  </a:ext>
                </a:extLst>
              </p:cNvPr>
              <p:cNvSpPr/>
              <p:nvPr/>
            </p:nvSpPr>
            <p:spPr>
              <a:xfrm>
                <a:off x="4163625" y="4665609"/>
                <a:ext cx="1203204" cy="394014"/>
              </a:xfrm>
              <a:prstGeom prst="rect">
                <a:avLst/>
              </a:prstGeom>
            </p:spPr>
            <p:txBody>
              <a:bodyPr wrap="square" lIns="91440" tIns="45720" rIns="91440" bIns="45720" anchor="t">
                <a:spAutoFit/>
              </a:bodyPr>
              <a:lstStyle/>
              <a:p>
                <a:pPr algn="ctr"/>
                <a:r>
                  <a:rPr lang="en-US" sz="800">
                    <a:solidFill>
                      <a:schemeClr val="bg1"/>
                    </a:solidFill>
                    <a:ea typeface="+mn-lt"/>
                    <a:cs typeface="+mn-lt"/>
                  </a:rPr>
                  <a:t>Solution</a:t>
                </a:r>
                <a:endParaRPr lang="en-US" sz="800">
                  <a:solidFill>
                    <a:schemeClr val="bg1"/>
                  </a:solidFill>
                  <a:cs typeface="Arial"/>
                </a:endParaRPr>
              </a:p>
            </p:txBody>
          </p:sp>
          <p:sp>
            <p:nvSpPr>
              <p:cNvPr id="38" name="Rectangle 37">
                <a:extLst>
                  <a:ext uri="{FF2B5EF4-FFF2-40B4-BE49-F238E27FC236}">
                    <a16:creationId xmlns:a16="http://schemas.microsoft.com/office/drawing/2014/main" id="{96C6F4A1-274E-D656-91C0-BD3BEC50B8A9}"/>
                  </a:ext>
                </a:extLst>
              </p:cNvPr>
              <p:cNvSpPr/>
              <p:nvPr/>
            </p:nvSpPr>
            <p:spPr>
              <a:xfrm>
                <a:off x="6842170" y="4665609"/>
                <a:ext cx="1203204" cy="394014"/>
              </a:xfrm>
              <a:prstGeom prst="rect">
                <a:avLst/>
              </a:prstGeom>
            </p:spPr>
            <p:txBody>
              <a:bodyPr wrap="square" lIns="91440" tIns="45720" rIns="91440" bIns="45720" anchor="t">
                <a:spAutoFit/>
              </a:bodyPr>
              <a:lstStyle/>
              <a:p>
                <a:pPr algn="ctr"/>
                <a:r>
                  <a:rPr lang="en-US" sz="800">
                    <a:solidFill>
                      <a:schemeClr val="bg1"/>
                    </a:solidFill>
                    <a:ea typeface="+mn-lt"/>
                    <a:cs typeface="+mn-lt"/>
                  </a:rPr>
                  <a:t>Benefits</a:t>
                </a:r>
                <a:endParaRPr lang="en-US" sz="800">
                  <a:solidFill>
                    <a:schemeClr val="bg1"/>
                  </a:solidFill>
                  <a:cs typeface="Arial"/>
                </a:endParaRPr>
              </a:p>
            </p:txBody>
          </p:sp>
        </p:grpSp>
        <p:pic>
          <p:nvPicPr>
            <p:cNvPr id="3" name="Picture 2">
              <a:extLst>
                <a:ext uri="{FF2B5EF4-FFF2-40B4-BE49-F238E27FC236}">
                  <a16:creationId xmlns:a16="http://schemas.microsoft.com/office/drawing/2014/main" id="{AEFF7D8C-92D6-D295-B6BC-4B439C8BE656}"/>
                </a:ext>
              </a:extLst>
            </p:cNvPr>
            <p:cNvPicPr>
              <a:picLocks noChangeAspect="1"/>
            </p:cNvPicPr>
            <p:nvPr/>
          </p:nvPicPr>
          <p:blipFill>
            <a:blip r:embed="rId10"/>
            <a:stretch>
              <a:fillRect/>
            </a:stretch>
          </p:blipFill>
          <p:spPr>
            <a:xfrm>
              <a:off x="5303623" y="3097247"/>
              <a:ext cx="1620486" cy="1620486"/>
            </a:xfrm>
            <a:prstGeom prst="rect">
              <a:avLst/>
            </a:prstGeom>
          </p:spPr>
        </p:pic>
      </p:grpSp>
      <p:cxnSp>
        <p:nvCxnSpPr>
          <p:cNvPr id="10" name="Straight Connector 9">
            <a:extLst>
              <a:ext uri="{FF2B5EF4-FFF2-40B4-BE49-F238E27FC236}">
                <a16:creationId xmlns:a16="http://schemas.microsoft.com/office/drawing/2014/main" id="{01E76F1F-250A-088D-7ACC-9178E1B02C22}"/>
              </a:ext>
              <a:ext uri="{C183D7F6-B498-43B3-948B-1728B52AA6E4}">
                <adec:decorative xmlns:adec="http://schemas.microsoft.com/office/drawing/2017/decorative" val="1"/>
              </a:ext>
            </a:extLst>
          </p:cNvPr>
          <p:cNvCxnSpPr>
            <a:cxnSpLocks/>
          </p:cNvCxnSpPr>
          <p:nvPr/>
        </p:nvCxnSpPr>
        <p:spPr>
          <a:xfrm>
            <a:off x="488191" y="1088493"/>
            <a:ext cx="10761492"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197DC1E8-1894-F8CE-F83C-5E50A24F0C4E}"/>
              </a:ext>
            </a:extLst>
          </p:cNvPr>
          <p:cNvSpPr txBox="1"/>
          <p:nvPr/>
        </p:nvSpPr>
        <p:spPr>
          <a:xfrm>
            <a:off x="621755" y="1847285"/>
            <a:ext cx="2409537" cy="1277273"/>
          </a:xfrm>
          <a:prstGeom prst="rect">
            <a:avLst/>
          </a:prstGeom>
          <a:noFill/>
        </p:spPr>
        <p:txBody>
          <a:bodyPr wrap="square" lIns="91440" tIns="45720" rIns="91440" bIns="45720" anchor="t">
            <a:spAutoFit/>
          </a:bodyPr>
          <a:lstStyle/>
          <a:p>
            <a:pPr marL="171450" indent="-171450">
              <a:spcBef>
                <a:spcPts val="600"/>
              </a:spcBef>
              <a:buFont typeface="Arial,Sans-Serif"/>
              <a:buChar char="•"/>
            </a:pPr>
            <a:r>
              <a:rPr lang="en-US" sz="1200">
                <a:solidFill>
                  <a:schemeClr val="tx1">
                    <a:lumMod val="75000"/>
                    <a:lumOff val="25000"/>
                  </a:schemeClr>
                </a:solidFill>
                <a:ea typeface="+mn-lt"/>
                <a:cs typeface="+mn-lt"/>
              </a:rPr>
              <a:t>Grouping logs by user email across services is not possible in Datadog</a:t>
            </a:r>
          </a:p>
          <a:p>
            <a:pPr marL="171450" indent="-171450">
              <a:spcBef>
                <a:spcPts val="600"/>
              </a:spcBef>
              <a:buFont typeface="Arial,Sans-Serif"/>
              <a:buChar char="•"/>
            </a:pPr>
            <a:r>
              <a:rPr lang="en-US" sz="1200">
                <a:solidFill>
                  <a:schemeClr val="tx1">
                    <a:lumMod val="75000"/>
                    <a:lumOff val="25000"/>
                  </a:schemeClr>
                </a:solidFill>
                <a:ea typeface="+mn-lt"/>
                <a:cs typeface="+mn-lt"/>
              </a:rPr>
              <a:t>It relies on transaction IDs, and few logs contain user email information.</a:t>
            </a:r>
          </a:p>
        </p:txBody>
      </p:sp>
      <p:sp>
        <p:nvSpPr>
          <p:cNvPr id="25" name="Rectangle 24">
            <a:extLst>
              <a:ext uri="{FF2B5EF4-FFF2-40B4-BE49-F238E27FC236}">
                <a16:creationId xmlns:a16="http://schemas.microsoft.com/office/drawing/2014/main" id="{67C3F24A-BFB9-3745-D252-8CF4BAE7E30E}"/>
              </a:ext>
            </a:extLst>
          </p:cNvPr>
          <p:cNvSpPr/>
          <p:nvPr/>
        </p:nvSpPr>
        <p:spPr>
          <a:xfrm>
            <a:off x="5515513" y="1681679"/>
            <a:ext cx="1971709" cy="2092881"/>
          </a:xfrm>
          <a:prstGeom prst="rect">
            <a:avLst/>
          </a:prstGeom>
        </p:spPr>
        <p:txBody>
          <a:bodyPr wrap="square" lIns="91440" tIns="45720" rIns="91440" bIns="45720" anchor="t">
            <a:spAutoFit/>
          </a:bodyPr>
          <a:lstStyle/>
          <a:p>
            <a:pPr marL="285750" indent="-285750">
              <a:spcBef>
                <a:spcPts val="600"/>
              </a:spcBef>
              <a:buFont typeface="Arial,Sans-Serif"/>
              <a:buChar char="•"/>
            </a:pPr>
            <a:r>
              <a:rPr lang="en-US" sz="1200">
                <a:solidFill>
                  <a:schemeClr val="tx1">
                    <a:lumMod val="75000"/>
                    <a:lumOff val="25000"/>
                  </a:schemeClr>
                </a:solidFill>
                <a:latin typeface="Verdana Pro"/>
                <a:ea typeface="+mn-lt"/>
                <a:cs typeface="+mn-lt"/>
              </a:rPr>
              <a:t>Log  Analysis to recognize </a:t>
            </a:r>
            <a:r>
              <a:rPr lang="en-US" sz="1200" b="1">
                <a:solidFill>
                  <a:schemeClr val="tx1">
                    <a:lumMod val="75000"/>
                    <a:lumOff val="25000"/>
                  </a:schemeClr>
                </a:solidFill>
                <a:latin typeface="Verdana Pro"/>
                <a:ea typeface="+mn-lt"/>
                <a:cs typeface="+mn-lt"/>
              </a:rPr>
              <a:t>entities </a:t>
            </a:r>
            <a:r>
              <a:rPr lang="en-US" sz="1200">
                <a:solidFill>
                  <a:schemeClr val="tx1">
                    <a:lumMod val="75000"/>
                    <a:lumOff val="25000"/>
                  </a:schemeClr>
                </a:solidFill>
                <a:latin typeface="Verdana Pro"/>
                <a:ea typeface="+mn-lt"/>
                <a:cs typeface="+mn-lt"/>
              </a:rPr>
              <a:t>especially </a:t>
            </a:r>
            <a:r>
              <a:rPr lang="en-US" sz="1200" b="1">
                <a:solidFill>
                  <a:schemeClr val="tx1">
                    <a:lumMod val="75000"/>
                    <a:lumOff val="25000"/>
                  </a:schemeClr>
                </a:solidFill>
                <a:latin typeface="Verdana Pro"/>
                <a:ea typeface="+mn-lt"/>
                <a:cs typeface="+mn-lt"/>
              </a:rPr>
              <a:t>user info</a:t>
            </a:r>
            <a:endParaRPr lang="en-US" sz="1200">
              <a:solidFill>
                <a:srgbClr val="555555"/>
              </a:solidFill>
              <a:latin typeface="Verdana Pro"/>
              <a:ea typeface="+mn-lt"/>
              <a:cs typeface="+mn-lt"/>
            </a:endParaRPr>
          </a:p>
          <a:p>
            <a:pPr marL="285750" indent="-285750">
              <a:spcBef>
                <a:spcPts val="600"/>
              </a:spcBef>
              <a:buFont typeface="Arial,Sans-Serif"/>
              <a:buChar char="•"/>
            </a:pPr>
            <a:r>
              <a:rPr lang="en-US" sz="1200">
                <a:solidFill>
                  <a:schemeClr val="tx1">
                    <a:lumMod val="75000"/>
                    <a:lumOff val="25000"/>
                  </a:schemeClr>
                </a:solidFill>
                <a:ea typeface="+mn-lt"/>
                <a:cs typeface="+mn-lt"/>
              </a:rPr>
              <a:t>Use </a:t>
            </a:r>
            <a:r>
              <a:rPr lang="en-US" sz="1200" b="1">
                <a:solidFill>
                  <a:schemeClr val="tx1">
                    <a:lumMod val="75000"/>
                    <a:lumOff val="25000"/>
                  </a:schemeClr>
                </a:solidFill>
                <a:ea typeface="+mn-lt"/>
                <a:cs typeface="+mn-lt"/>
              </a:rPr>
              <a:t>Automatic Grouping</a:t>
            </a:r>
            <a:r>
              <a:rPr lang="en-US" sz="1200">
                <a:solidFill>
                  <a:schemeClr val="tx1">
                    <a:lumMod val="75000"/>
                    <a:lumOff val="25000"/>
                  </a:schemeClr>
                </a:solidFill>
                <a:ea typeface="+mn-lt"/>
                <a:cs typeface="+mn-lt"/>
              </a:rPr>
              <a:t> by user email to track logs even when user info is limited.</a:t>
            </a:r>
          </a:p>
          <a:p>
            <a:pPr marL="285750" indent="-285750">
              <a:spcBef>
                <a:spcPts val="600"/>
              </a:spcBef>
              <a:buFont typeface="Arial"/>
              <a:buChar char="•"/>
            </a:pPr>
            <a:endParaRPr lang="en-US" sz="1200">
              <a:solidFill>
                <a:schemeClr val="tx1">
                  <a:lumMod val="75000"/>
                  <a:lumOff val="25000"/>
                </a:schemeClr>
              </a:solidFill>
              <a:latin typeface="Arial"/>
              <a:ea typeface="+mn-lt"/>
              <a:cs typeface="+mn-lt"/>
            </a:endParaRPr>
          </a:p>
        </p:txBody>
      </p:sp>
      <p:sp>
        <p:nvSpPr>
          <p:cNvPr id="126" name="Rectangle 125">
            <a:extLst>
              <a:ext uri="{FF2B5EF4-FFF2-40B4-BE49-F238E27FC236}">
                <a16:creationId xmlns:a16="http://schemas.microsoft.com/office/drawing/2014/main" id="{5A024B3E-8FE5-5143-D03A-9C32716AB71F}"/>
              </a:ext>
            </a:extLst>
          </p:cNvPr>
          <p:cNvSpPr/>
          <p:nvPr/>
        </p:nvSpPr>
        <p:spPr>
          <a:xfrm>
            <a:off x="617366" y="4299574"/>
            <a:ext cx="2436074" cy="1092607"/>
          </a:xfrm>
          <a:prstGeom prst="rect">
            <a:avLst/>
          </a:prstGeom>
        </p:spPr>
        <p:txBody>
          <a:bodyPr wrap="square" lIns="91440" tIns="45720" rIns="91440" bIns="45720" anchor="t">
            <a:spAutoFit/>
          </a:bodyPr>
          <a:lstStyle/>
          <a:p>
            <a:pPr>
              <a:spcBef>
                <a:spcPts val="600"/>
              </a:spcBef>
            </a:pPr>
            <a:r>
              <a:rPr lang="en-US" sz="1200" b="1">
                <a:solidFill>
                  <a:schemeClr val="tx1">
                    <a:lumMod val="75000"/>
                    <a:lumOff val="25000"/>
                  </a:schemeClr>
                </a:solidFill>
                <a:latin typeface="Verdana Pro"/>
                <a:ea typeface="+mn-lt"/>
                <a:cs typeface="+mn-lt"/>
              </a:rPr>
              <a:t>Azure Cognitive Services</a:t>
            </a:r>
            <a:endParaRPr lang="en-US" sz="1200">
              <a:solidFill>
                <a:schemeClr val="tx1">
                  <a:lumMod val="75000"/>
                  <a:lumOff val="25000"/>
                </a:schemeClr>
              </a:solidFill>
              <a:latin typeface="Verdana Pro"/>
              <a:cs typeface="Arial"/>
            </a:endParaRPr>
          </a:p>
          <a:p>
            <a:pPr marL="285750" indent="-285750">
              <a:spcBef>
                <a:spcPts val="600"/>
              </a:spcBef>
              <a:buFont typeface="Arial,Sans-Serif"/>
              <a:buChar char="•"/>
            </a:pPr>
            <a:r>
              <a:rPr lang="en-US" sz="1200">
                <a:solidFill>
                  <a:schemeClr val="tx1">
                    <a:lumMod val="75000"/>
                    <a:lumOff val="25000"/>
                  </a:schemeClr>
                </a:solidFill>
                <a:latin typeface="Arial"/>
                <a:cs typeface="Arial"/>
              </a:rPr>
              <a:t>Azure Cognitive Services groups </a:t>
            </a:r>
            <a:r>
              <a:rPr lang="en-US" sz="1200">
                <a:solidFill>
                  <a:schemeClr val="tx1">
                    <a:lumMod val="75000"/>
                    <a:lumOff val="25000"/>
                  </a:schemeClr>
                </a:solidFill>
                <a:ea typeface="+mn-lt"/>
                <a:cs typeface="+mn-lt"/>
              </a:rPr>
              <a:t>logs based on user email, enabling better tracking across services.</a:t>
            </a:r>
            <a:endParaRPr lang="en-US">
              <a:solidFill>
                <a:schemeClr val="tx1">
                  <a:lumMod val="75000"/>
                  <a:lumOff val="25000"/>
                </a:schemeClr>
              </a:solidFill>
            </a:endParaRPr>
          </a:p>
        </p:txBody>
      </p:sp>
      <p:sp>
        <p:nvSpPr>
          <p:cNvPr id="129" name="TextBox 128">
            <a:extLst>
              <a:ext uri="{FF2B5EF4-FFF2-40B4-BE49-F238E27FC236}">
                <a16:creationId xmlns:a16="http://schemas.microsoft.com/office/drawing/2014/main" id="{9CCCA3C6-04C4-2DC0-D493-05C119F4B0E7}"/>
              </a:ext>
            </a:extLst>
          </p:cNvPr>
          <p:cNvSpPr txBox="1"/>
          <p:nvPr/>
        </p:nvSpPr>
        <p:spPr>
          <a:xfrm>
            <a:off x="5671146" y="4112466"/>
            <a:ext cx="1668727" cy="136960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spcBef>
                <a:spcPts val="600"/>
              </a:spcBef>
              <a:buFont typeface="Arial,Sans-Serif"/>
              <a:buChar char="•"/>
            </a:pPr>
            <a:r>
              <a:rPr lang="en-US" sz="1200">
                <a:solidFill>
                  <a:schemeClr val="tx1">
                    <a:lumMod val="75000"/>
                    <a:lumOff val="25000"/>
                  </a:schemeClr>
                </a:solidFill>
                <a:cs typeface="Arial"/>
              </a:rPr>
              <a:t>Provides insights into users’ common actions and reports</a:t>
            </a:r>
          </a:p>
          <a:p>
            <a:pPr marL="285750" indent="-285750">
              <a:spcBef>
                <a:spcPts val="600"/>
              </a:spcBef>
              <a:buFont typeface="Arial,Sans-Serif"/>
              <a:buChar char="•"/>
            </a:pPr>
            <a:r>
              <a:rPr lang="en-US" sz="1200">
                <a:solidFill>
                  <a:schemeClr val="tx1">
                    <a:lumMod val="75000"/>
                    <a:lumOff val="25000"/>
                  </a:schemeClr>
                </a:solidFill>
                <a:cs typeface="Arial"/>
              </a:rPr>
              <a:t>Enables log tracking across services for individual users</a:t>
            </a:r>
          </a:p>
          <a:p>
            <a:pPr marL="285750" indent="-285750">
              <a:buFont typeface="Arial,Sans-Serif"/>
              <a:buChar char="•"/>
            </a:pPr>
            <a:endParaRPr lang="en-US" sz="1200">
              <a:cs typeface="Arial"/>
            </a:endParaRPr>
          </a:p>
        </p:txBody>
      </p:sp>
      <p:pic>
        <p:nvPicPr>
          <p:cNvPr id="6" name="Picture 5" descr="A screenshot of a computer&#10;&#10;Description automatically generated">
            <a:extLst>
              <a:ext uri="{FF2B5EF4-FFF2-40B4-BE49-F238E27FC236}">
                <a16:creationId xmlns:a16="http://schemas.microsoft.com/office/drawing/2014/main" id="{5E776DAE-0611-D76A-4C0F-CB41D7F083D2}"/>
              </a:ext>
            </a:extLst>
          </p:cNvPr>
          <p:cNvPicPr>
            <a:picLocks noChangeAspect="1"/>
          </p:cNvPicPr>
          <p:nvPr/>
        </p:nvPicPr>
        <p:blipFill>
          <a:blip r:embed="rId11"/>
          <a:stretch>
            <a:fillRect/>
          </a:stretch>
        </p:blipFill>
        <p:spPr>
          <a:xfrm>
            <a:off x="7332088" y="1363896"/>
            <a:ext cx="4635655" cy="1593929"/>
          </a:xfrm>
          <a:prstGeom prst="rect">
            <a:avLst/>
          </a:prstGeom>
        </p:spPr>
      </p:pic>
      <p:pic>
        <p:nvPicPr>
          <p:cNvPr id="19" name="Picture 18" descr="A screenshot of a computer&#10;&#10;Description automatically generated">
            <a:extLst>
              <a:ext uri="{FF2B5EF4-FFF2-40B4-BE49-F238E27FC236}">
                <a16:creationId xmlns:a16="http://schemas.microsoft.com/office/drawing/2014/main" id="{DA4AFDBA-83DA-A83B-2BCA-DEC3E528DE81}"/>
              </a:ext>
            </a:extLst>
          </p:cNvPr>
          <p:cNvPicPr>
            <a:picLocks noChangeAspect="1"/>
          </p:cNvPicPr>
          <p:nvPr/>
        </p:nvPicPr>
        <p:blipFill>
          <a:blip r:embed="rId12"/>
          <a:srcRect t="-1159" r="52353"/>
          <a:stretch/>
        </p:blipFill>
        <p:spPr>
          <a:xfrm>
            <a:off x="7331693" y="3298224"/>
            <a:ext cx="4642936" cy="2521637"/>
          </a:xfrm>
          <a:prstGeom prst="rect">
            <a:avLst/>
          </a:prstGeom>
        </p:spPr>
      </p:pic>
    </p:spTree>
    <p:extLst>
      <p:ext uri="{BB962C8B-B14F-4D97-AF65-F5344CB8AC3E}">
        <p14:creationId xmlns:p14="http://schemas.microsoft.com/office/powerpoint/2010/main" val="14923698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8CDD38D-9F1D-49FB-9B35-1062FBACB790}"/>
              </a:ext>
            </a:extLst>
          </p:cNvPr>
          <p:cNvGrpSpPr/>
          <p:nvPr/>
        </p:nvGrpSpPr>
        <p:grpSpPr>
          <a:xfrm>
            <a:off x="627392" y="1336865"/>
            <a:ext cx="11107881" cy="4999802"/>
            <a:chOff x="627392" y="1429541"/>
            <a:chExt cx="11107881" cy="4999802"/>
          </a:xfrm>
        </p:grpSpPr>
        <p:grpSp>
          <p:nvGrpSpPr>
            <p:cNvPr id="41" name="Group 40">
              <a:extLst>
                <a:ext uri="{FF2B5EF4-FFF2-40B4-BE49-F238E27FC236}">
                  <a16:creationId xmlns:a16="http://schemas.microsoft.com/office/drawing/2014/main" id="{9D11F4F6-6B66-3F63-53B3-84CF50B5A9FB}"/>
                </a:ext>
              </a:extLst>
            </p:cNvPr>
            <p:cNvGrpSpPr/>
            <p:nvPr/>
          </p:nvGrpSpPr>
          <p:grpSpPr>
            <a:xfrm>
              <a:off x="627392" y="1429541"/>
              <a:ext cx="11107881" cy="4999802"/>
              <a:chOff x="616226" y="1098550"/>
              <a:chExt cx="11107881" cy="4999802"/>
            </a:xfrm>
          </p:grpSpPr>
          <p:sp>
            <p:nvSpPr>
              <p:cNvPr id="8" name="Freeform: Shape 7">
                <a:extLst>
                  <a:ext uri="{FF2B5EF4-FFF2-40B4-BE49-F238E27FC236}">
                    <a16:creationId xmlns:a16="http://schemas.microsoft.com/office/drawing/2014/main" id="{EB29871E-3662-CBAE-51A1-AFB023016423}"/>
                  </a:ext>
                </a:extLst>
              </p:cNvPr>
              <p:cNvSpPr/>
              <p:nvPr/>
            </p:nvSpPr>
            <p:spPr>
              <a:xfrm>
                <a:off x="3608427" y="1098550"/>
                <a:ext cx="1551232" cy="1516327"/>
              </a:xfrm>
              <a:custGeom>
                <a:avLst/>
                <a:gdLst>
                  <a:gd name="connsiteX0" fmla="*/ 299823 w 1724424"/>
                  <a:gd name="connsiteY0" fmla="*/ 1674902 h 1685623"/>
                  <a:gd name="connsiteX1" fmla="*/ 79785 w 1724424"/>
                  <a:gd name="connsiteY1" fmla="*/ 1579521 h 1685623"/>
                  <a:gd name="connsiteX2" fmla="*/ 10945 w 1724424"/>
                  <a:gd name="connsiteY2" fmla="*/ 1404985 h 1685623"/>
                  <a:gd name="connsiteX3" fmla="*/ 13681 w 1724424"/>
                  <a:gd name="connsiteY3" fmla="*/ 1399083 h 1685623"/>
                  <a:gd name="connsiteX4" fmla="*/ 1450403 w 1724424"/>
                  <a:gd name="connsiteY4" fmla="*/ 11362 h 1685623"/>
                  <a:gd name="connsiteX5" fmla="*/ 1625648 w 1724424"/>
                  <a:gd name="connsiteY5" fmla="*/ 78984 h 1685623"/>
                  <a:gd name="connsiteX6" fmla="*/ 1627605 w 1724424"/>
                  <a:gd name="connsiteY6" fmla="*/ 83630 h 1685623"/>
                  <a:gd name="connsiteX7" fmla="*/ 1715127 w 1724424"/>
                  <a:gd name="connsiteY7" fmla="*/ 306904 h 1685623"/>
                  <a:gd name="connsiteX8" fmla="*/ 1647020 w 1724424"/>
                  <a:gd name="connsiteY8" fmla="*/ 475631 h 1685623"/>
                  <a:gd name="connsiteX9" fmla="*/ 470091 w 1724424"/>
                  <a:gd name="connsiteY9" fmla="*/ 1612342 h 1685623"/>
                  <a:gd name="connsiteX10" fmla="*/ 299823 w 1724424"/>
                  <a:gd name="connsiteY10" fmla="*/ 1674902 h 1685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424" h="1685623">
                    <a:moveTo>
                      <a:pt x="299823" y="1674902"/>
                    </a:moveTo>
                    <a:lnTo>
                      <a:pt x="79785" y="1579521"/>
                    </a:lnTo>
                    <a:cubicBezTo>
                      <a:pt x="12577" y="1550337"/>
                      <a:pt x="-18244" y="1472183"/>
                      <a:pt x="10945" y="1404985"/>
                    </a:cubicBezTo>
                    <a:cubicBezTo>
                      <a:pt x="11808" y="1402997"/>
                      <a:pt x="12721" y="1401025"/>
                      <a:pt x="13681" y="1399083"/>
                    </a:cubicBezTo>
                    <a:cubicBezTo>
                      <a:pt x="317582" y="784193"/>
                      <a:pt x="825343" y="293752"/>
                      <a:pt x="1450403" y="11362"/>
                    </a:cubicBezTo>
                    <a:cubicBezTo>
                      <a:pt x="1517462" y="-18359"/>
                      <a:pt x="1595924" y="11918"/>
                      <a:pt x="1625648" y="78984"/>
                    </a:cubicBezTo>
                    <a:cubicBezTo>
                      <a:pt x="1626326" y="80520"/>
                      <a:pt x="1626989" y="82069"/>
                      <a:pt x="1627605" y="83630"/>
                    </a:cubicBezTo>
                    <a:lnTo>
                      <a:pt x="1715127" y="306904"/>
                    </a:lnTo>
                    <a:cubicBezTo>
                      <a:pt x="1740891" y="372308"/>
                      <a:pt x="1710967" y="446439"/>
                      <a:pt x="1647020" y="475631"/>
                    </a:cubicBezTo>
                    <a:cubicBezTo>
                      <a:pt x="1136324" y="708890"/>
                      <a:pt x="720947" y="1110060"/>
                      <a:pt x="470091" y="1612342"/>
                    </a:cubicBezTo>
                    <a:cubicBezTo>
                      <a:pt x="438847" y="1674979"/>
                      <a:pt x="364191" y="1702407"/>
                      <a:pt x="299823" y="1674902"/>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12" name="Freeform: Shape 11">
                <a:extLst>
                  <a:ext uri="{FF2B5EF4-FFF2-40B4-BE49-F238E27FC236}">
                    <a16:creationId xmlns:a16="http://schemas.microsoft.com/office/drawing/2014/main" id="{AC73601A-EE45-1ABB-6FA2-65F4ED869633}"/>
                  </a:ext>
                </a:extLst>
              </p:cNvPr>
              <p:cNvSpPr/>
              <p:nvPr/>
            </p:nvSpPr>
            <p:spPr>
              <a:xfrm>
                <a:off x="7078981" y="1110090"/>
                <a:ext cx="1517070" cy="1552187"/>
              </a:xfrm>
              <a:custGeom>
                <a:avLst/>
                <a:gdLst>
                  <a:gd name="connsiteX0" fmla="*/ 11097 w 1686448"/>
                  <a:gd name="connsiteY0" fmla="*/ 299776 h 1725486"/>
                  <a:gd name="connsiteX1" fmla="*/ 106478 w 1686448"/>
                  <a:gd name="connsiteY1" fmla="*/ 79738 h 1725486"/>
                  <a:gd name="connsiteX2" fmla="*/ 281307 w 1686448"/>
                  <a:gd name="connsiteY2" fmla="*/ 11031 h 1725486"/>
                  <a:gd name="connsiteX3" fmla="*/ 286916 w 1686448"/>
                  <a:gd name="connsiteY3" fmla="*/ 13634 h 1725486"/>
                  <a:gd name="connsiteX4" fmla="*/ 1674638 w 1686448"/>
                  <a:gd name="connsiteY4" fmla="*/ 1450356 h 1725486"/>
                  <a:gd name="connsiteX5" fmla="*/ 1608180 w 1686448"/>
                  <a:gd name="connsiteY5" fmla="*/ 1625816 h 1725486"/>
                  <a:gd name="connsiteX6" fmla="*/ 1602216 w 1686448"/>
                  <a:gd name="connsiteY6" fmla="*/ 1628328 h 1725486"/>
                  <a:gd name="connsiteX7" fmla="*/ 1378942 w 1686448"/>
                  <a:gd name="connsiteY7" fmla="*/ 1716004 h 1725486"/>
                  <a:gd name="connsiteX8" fmla="*/ 1209445 w 1686448"/>
                  <a:gd name="connsiteY8" fmla="*/ 1647743 h 1725486"/>
                  <a:gd name="connsiteX9" fmla="*/ 73349 w 1686448"/>
                  <a:gd name="connsiteY9" fmla="*/ 471431 h 1725486"/>
                  <a:gd name="connsiteX10" fmla="*/ 11097 w 1686448"/>
                  <a:gd name="connsiteY10" fmla="*/ 299776 h 172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6448" h="1725486">
                    <a:moveTo>
                      <a:pt x="11097" y="299776"/>
                    </a:moveTo>
                    <a:lnTo>
                      <a:pt x="106478" y="79738"/>
                    </a:lnTo>
                    <a:cubicBezTo>
                      <a:pt x="135786" y="12489"/>
                      <a:pt x="214047" y="-18273"/>
                      <a:pt x="281307" y="11031"/>
                    </a:cubicBezTo>
                    <a:cubicBezTo>
                      <a:pt x="283187" y="11856"/>
                      <a:pt x="285067" y="12723"/>
                      <a:pt x="286916" y="13634"/>
                    </a:cubicBezTo>
                    <a:cubicBezTo>
                      <a:pt x="901745" y="317620"/>
                      <a:pt x="1392163" y="825357"/>
                      <a:pt x="1674638" y="1450356"/>
                    </a:cubicBezTo>
                    <a:cubicBezTo>
                      <a:pt x="1704732" y="1517153"/>
                      <a:pt x="1674977" y="1595723"/>
                      <a:pt x="1608180" y="1625816"/>
                    </a:cubicBezTo>
                    <a:cubicBezTo>
                      <a:pt x="1606207" y="1626694"/>
                      <a:pt x="1604220" y="1627542"/>
                      <a:pt x="1602216" y="1628328"/>
                    </a:cubicBezTo>
                    <a:lnTo>
                      <a:pt x="1378942" y="1716004"/>
                    </a:lnTo>
                    <a:cubicBezTo>
                      <a:pt x="1313285" y="1742153"/>
                      <a:pt x="1238660" y="1712106"/>
                      <a:pt x="1209445" y="1647743"/>
                    </a:cubicBezTo>
                    <a:cubicBezTo>
                      <a:pt x="976154" y="1137433"/>
                      <a:pt x="575247" y="722318"/>
                      <a:pt x="73349" y="471431"/>
                    </a:cubicBezTo>
                    <a:cubicBezTo>
                      <a:pt x="10142" y="439975"/>
                      <a:pt x="-17255" y="364440"/>
                      <a:pt x="11097" y="299776"/>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17" name="Freeform: Shape 16">
                <a:extLst>
                  <a:ext uri="{FF2B5EF4-FFF2-40B4-BE49-F238E27FC236}">
                    <a16:creationId xmlns:a16="http://schemas.microsoft.com/office/drawing/2014/main" id="{D5AA95E7-06BD-4054-3AC8-79C509F055CA}"/>
                  </a:ext>
                </a:extLst>
              </p:cNvPr>
              <p:cNvSpPr/>
              <p:nvPr/>
            </p:nvSpPr>
            <p:spPr>
              <a:xfrm>
                <a:off x="7032350" y="4581800"/>
                <a:ext cx="1551915" cy="1516552"/>
              </a:xfrm>
              <a:custGeom>
                <a:avLst/>
                <a:gdLst>
                  <a:gd name="connsiteX0" fmla="*/ 1425233 w 1725184"/>
                  <a:gd name="connsiteY0" fmla="*/ 10687 h 1685873"/>
                  <a:gd name="connsiteX1" fmla="*/ 1645271 w 1725184"/>
                  <a:gd name="connsiteY1" fmla="*/ 106068 h 1685873"/>
                  <a:gd name="connsiteX2" fmla="*/ 1714149 w 1725184"/>
                  <a:gd name="connsiteY2" fmla="*/ 280358 h 1685873"/>
                  <a:gd name="connsiteX3" fmla="*/ 1711375 w 1725184"/>
                  <a:gd name="connsiteY3" fmla="*/ 286352 h 1685873"/>
                  <a:gd name="connsiteX4" fmla="*/ 274653 w 1725184"/>
                  <a:gd name="connsiteY4" fmla="*/ 1674073 h 1685873"/>
                  <a:gd name="connsiteX5" fmla="*/ 99192 w 1725184"/>
                  <a:gd name="connsiteY5" fmla="*/ 1607614 h 1685873"/>
                  <a:gd name="connsiteX6" fmla="*/ 96680 w 1725184"/>
                  <a:gd name="connsiteY6" fmla="*/ 1601651 h 1685873"/>
                  <a:gd name="connsiteX7" fmla="*/ 9158 w 1725184"/>
                  <a:gd name="connsiteY7" fmla="*/ 1378377 h 1685873"/>
                  <a:gd name="connsiteX8" fmla="*/ 77265 w 1725184"/>
                  <a:gd name="connsiteY8" fmla="*/ 1209650 h 1685873"/>
                  <a:gd name="connsiteX9" fmla="*/ 1254965 w 1725184"/>
                  <a:gd name="connsiteY9" fmla="*/ 72785 h 1685873"/>
                  <a:gd name="connsiteX10" fmla="*/ 1425233 w 1725184"/>
                  <a:gd name="connsiteY10" fmla="*/ 10687 h 168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5184" h="1685873">
                    <a:moveTo>
                      <a:pt x="1425233" y="10687"/>
                    </a:moveTo>
                    <a:lnTo>
                      <a:pt x="1645271" y="106068"/>
                    </a:lnTo>
                    <a:cubicBezTo>
                      <a:pt x="1712423" y="135175"/>
                      <a:pt x="1743256" y="213206"/>
                      <a:pt x="1714149" y="280358"/>
                    </a:cubicBezTo>
                    <a:cubicBezTo>
                      <a:pt x="1713271" y="282376"/>
                      <a:pt x="1712346" y="284379"/>
                      <a:pt x="1711375" y="286352"/>
                    </a:cubicBezTo>
                    <a:cubicBezTo>
                      <a:pt x="1407512" y="901273"/>
                      <a:pt x="899744" y="1391721"/>
                      <a:pt x="274653" y="1674073"/>
                    </a:cubicBezTo>
                    <a:cubicBezTo>
                      <a:pt x="207856" y="1704167"/>
                      <a:pt x="129286" y="1674412"/>
                      <a:pt x="99192" y="1607614"/>
                    </a:cubicBezTo>
                    <a:cubicBezTo>
                      <a:pt x="98314" y="1605642"/>
                      <a:pt x="97466" y="1603654"/>
                      <a:pt x="96680" y="1601651"/>
                    </a:cubicBezTo>
                    <a:lnTo>
                      <a:pt x="9158" y="1378377"/>
                    </a:lnTo>
                    <a:cubicBezTo>
                      <a:pt x="-16606" y="1312967"/>
                      <a:pt x="13319" y="1238835"/>
                      <a:pt x="77265" y="1209650"/>
                    </a:cubicBezTo>
                    <a:cubicBezTo>
                      <a:pt x="588254" y="976483"/>
                      <a:pt x="1003924" y="575237"/>
                      <a:pt x="1254965" y="72785"/>
                    </a:cubicBezTo>
                    <a:cubicBezTo>
                      <a:pt x="1286368" y="10317"/>
                      <a:pt x="1360978" y="-16895"/>
                      <a:pt x="1425233" y="10687"/>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22" name="Freeform: Shape 21">
                <a:extLst>
                  <a:ext uri="{FF2B5EF4-FFF2-40B4-BE49-F238E27FC236}">
                    <a16:creationId xmlns:a16="http://schemas.microsoft.com/office/drawing/2014/main" id="{6B2B4B0E-7ED8-94DE-A08B-2AA84B585F31}"/>
                  </a:ext>
                </a:extLst>
              </p:cNvPr>
              <p:cNvSpPr/>
              <p:nvPr/>
            </p:nvSpPr>
            <p:spPr>
              <a:xfrm>
                <a:off x="3595949" y="4534436"/>
                <a:ext cx="1517201" cy="1552761"/>
              </a:xfrm>
              <a:custGeom>
                <a:avLst/>
                <a:gdLst>
                  <a:gd name="connsiteX0" fmla="*/ 1675222 w 1686594"/>
                  <a:gd name="connsiteY0" fmla="*/ 1426098 h 1726124"/>
                  <a:gd name="connsiteX1" fmla="*/ 1579841 w 1686594"/>
                  <a:gd name="connsiteY1" fmla="*/ 1646137 h 1726124"/>
                  <a:gd name="connsiteX2" fmla="*/ 1405089 w 1686594"/>
                  <a:gd name="connsiteY2" fmla="*/ 1715030 h 1726124"/>
                  <a:gd name="connsiteX3" fmla="*/ 1399403 w 1686594"/>
                  <a:gd name="connsiteY3" fmla="*/ 1712395 h 1726124"/>
                  <a:gd name="connsiteX4" fmla="*/ 11680 w 1686594"/>
                  <a:gd name="connsiteY4" fmla="*/ 275057 h 1726124"/>
                  <a:gd name="connsiteX5" fmla="*/ 78242 w 1686594"/>
                  <a:gd name="connsiteY5" fmla="*/ 99396 h 1726124"/>
                  <a:gd name="connsiteX6" fmla="*/ 84102 w 1686594"/>
                  <a:gd name="connsiteY6" fmla="*/ 96930 h 1726124"/>
                  <a:gd name="connsiteX7" fmla="*/ 307377 w 1686594"/>
                  <a:gd name="connsiteY7" fmla="*/ 9408 h 1726124"/>
                  <a:gd name="connsiteX8" fmla="*/ 476874 w 1686594"/>
                  <a:gd name="connsiteY8" fmla="*/ 77669 h 1726124"/>
                  <a:gd name="connsiteX9" fmla="*/ 1613740 w 1686594"/>
                  <a:gd name="connsiteY9" fmla="*/ 1254443 h 1726124"/>
                  <a:gd name="connsiteX10" fmla="*/ 1675222 w 1686594"/>
                  <a:gd name="connsiteY10" fmla="*/ 1426098 h 172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6594" h="1726124">
                    <a:moveTo>
                      <a:pt x="1675222" y="1426098"/>
                    </a:moveTo>
                    <a:lnTo>
                      <a:pt x="1579841" y="1646137"/>
                    </a:lnTo>
                    <a:cubicBezTo>
                      <a:pt x="1550610" y="1713412"/>
                      <a:pt x="1472364" y="1744260"/>
                      <a:pt x="1405089" y="1715030"/>
                    </a:cubicBezTo>
                    <a:cubicBezTo>
                      <a:pt x="1403178" y="1714198"/>
                      <a:pt x="1401283" y="1713320"/>
                      <a:pt x="1399403" y="1712395"/>
                    </a:cubicBezTo>
                    <a:cubicBezTo>
                      <a:pt x="784481" y="1408255"/>
                      <a:pt x="294040" y="900287"/>
                      <a:pt x="11680" y="275057"/>
                    </a:cubicBezTo>
                    <a:cubicBezTo>
                      <a:pt x="-18445" y="208167"/>
                      <a:pt x="11355" y="129536"/>
                      <a:pt x="78242" y="99396"/>
                    </a:cubicBezTo>
                    <a:cubicBezTo>
                      <a:pt x="80174" y="98533"/>
                      <a:pt x="82130" y="97701"/>
                      <a:pt x="84102" y="96930"/>
                    </a:cubicBezTo>
                    <a:lnTo>
                      <a:pt x="307377" y="9408"/>
                    </a:lnTo>
                    <a:cubicBezTo>
                      <a:pt x="373038" y="-16833"/>
                      <a:pt x="447720" y="13245"/>
                      <a:pt x="476874" y="77669"/>
                    </a:cubicBezTo>
                    <a:cubicBezTo>
                      <a:pt x="710195" y="588335"/>
                      <a:pt x="1111426" y="1003649"/>
                      <a:pt x="1613740" y="1254443"/>
                    </a:cubicBezTo>
                    <a:cubicBezTo>
                      <a:pt x="1676655" y="1286171"/>
                      <a:pt x="1703682" y="1361643"/>
                      <a:pt x="1675222" y="1426098"/>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7" name="Freeform: Shape 6">
                <a:extLst>
                  <a:ext uri="{FF2B5EF4-FFF2-40B4-BE49-F238E27FC236}">
                    <a16:creationId xmlns:a16="http://schemas.microsoft.com/office/drawing/2014/main" id="{6A9F9DAB-59A5-F306-2D16-26F151E17422}"/>
                  </a:ext>
                </a:extLst>
              </p:cNvPr>
              <p:cNvSpPr/>
              <p:nvPr/>
            </p:nvSpPr>
            <p:spPr>
              <a:xfrm>
                <a:off x="3761488" y="1279139"/>
                <a:ext cx="2583957" cy="2231982"/>
              </a:xfrm>
              <a:custGeom>
                <a:avLst/>
                <a:gdLst>
                  <a:gd name="connsiteX0" fmla="*/ 1144809 w 2872452"/>
                  <a:gd name="connsiteY0" fmla="*/ 2474493 h 2481179"/>
                  <a:gd name="connsiteX1" fmla="*/ 2368427 w 2872452"/>
                  <a:gd name="connsiteY1" fmla="*/ 1141781 h 2481179"/>
                  <a:gd name="connsiteX2" fmla="*/ 2698639 w 2872452"/>
                  <a:gd name="connsiteY2" fmla="*/ 963963 h 2481179"/>
                  <a:gd name="connsiteX3" fmla="*/ 2729457 w 2872452"/>
                  <a:gd name="connsiteY3" fmla="*/ 928831 h 2481179"/>
                  <a:gd name="connsiteX4" fmla="*/ 2722369 w 2872452"/>
                  <a:gd name="connsiteY4" fmla="*/ 176570 h 2481179"/>
                  <a:gd name="connsiteX5" fmla="*/ 2722369 w 2872452"/>
                  <a:gd name="connsiteY5" fmla="*/ 176570 h 2481179"/>
                  <a:gd name="connsiteX6" fmla="*/ 2244694 w 2872452"/>
                  <a:gd name="connsiteY6" fmla="*/ 4608 h 2481179"/>
                  <a:gd name="connsiteX7" fmla="*/ -70 w 2872452"/>
                  <a:gd name="connsiteY7" fmla="*/ 2481119 h 2481179"/>
                  <a:gd name="connsiteX8" fmla="*/ -70 w 2872452"/>
                  <a:gd name="connsiteY8" fmla="*/ 2481119 h 2481179"/>
                  <a:gd name="connsiteX9" fmla="*/ 1140186 w 2872452"/>
                  <a:gd name="connsiteY9" fmla="*/ 2470178 h 248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2452" h="2481179">
                    <a:moveTo>
                      <a:pt x="1144809" y="2474493"/>
                    </a:moveTo>
                    <a:cubicBezTo>
                      <a:pt x="1194009" y="1800140"/>
                      <a:pt x="1700715" y="1248256"/>
                      <a:pt x="2368427" y="1141781"/>
                    </a:cubicBezTo>
                    <a:cubicBezTo>
                      <a:pt x="2495643" y="1122181"/>
                      <a:pt x="2612242" y="1059390"/>
                      <a:pt x="2698639" y="963963"/>
                    </a:cubicBezTo>
                    <a:lnTo>
                      <a:pt x="2729457" y="928831"/>
                    </a:lnTo>
                    <a:cubicBezTo>
                      <a:pt x="2922715" y="714247"/>
                      <a:pt x="2919633" y="387470"/>
                      <a:pt x="2722369" y="176570"/>
                    </a:cubicBezTo>
                    <a:lnTo>
                      <a:pt x="2722369" y="176570"/>
                    </a:lnTo>
                    <a:cubicBezTo>
                      <a:pt x="2600253" y="45475"/>
                      <a:pt x="2422343" y="-18572"/>
                      <a:pt x="2244694" y="4608"/>
                    </a:cubicBezTo>
                    <a:cubicBezTo>
                      <a:pt x="1006900" y="172102"/>
                      <a:pt x="46619" y="1214357"/>
                      <a:pt x="-70" y="2481119"/>
                    </a:cubicBezTo>
                    <a:lnTo>
                      <a:pt x="-70" y="2481119"/>
                    </a:lnTo>
                    <a:cubicBezTo>
                      <a:pt x="300557" y="2101599"/>
                      <a:pt x="837710" y="2115158"/>
                      <a:pt x="1140186" y="2470178"/>
                    </a:cubicBezTo>
                    <a:close/>
                  </a:path>
                </a:pathLst>
              </a:custGeom>
              <a:solidFill>
                <a:srgbClr val="FA854B"/>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9" name="Freeform: Shape 8">
                <a:extLst>
                  <a:ext uri="{FF2B5EF4-FFF2-40B4-BE49-F238E27FC236}">
                    <a16:creationId xmlns:a16="http://schemas.microsoft.com/office/drawing/2014/main" id="{A3D8E584-1B16-0ADA-9410-3BD6EAFF61FB}"/>
                  </a:ext>
                </a:extLst>
              </p:cNvPr>
              <p:cNvSpPr/>
              <p:nvPr/>
            </p:nvSpPr>
            <p:spPr>
              <a:xfrm>
                <a:off x="5413337" y="1377318"/>
                <a:ext cx="812270" cy="812269"/>
              </a:xfrm>
              <a:custGeom>
                <a:avLst/>
                <a:gdLst>
                  <a:gd name="connsiteX0" fmla="*/ 902960 w 902959"/>
                  <a:gd name="connsiteY0" fmla="*/ 451479 h 902958"/>
                  <a:gd name="connsiteX1" fmla="*/ 451480 w 902959"/>
                  <a:gd name="connsiteY1" fmla="*/ 902959 h 902958"/>
                  <a:gd name="connsiteX2" fmla="*/ 0 w 902959"/>
                  <a:gd name="connsiteY2" fmla="*/ 451479 h 902958"/>
                  <a:gd name="connsiteX3" fmla="*/ 451480 w 902959"/>
                  <a:gd name="connsiteY3" fmla="*/ 0 h 902958"/>
                  <a:gd name="connsiteX4" fmla="*/ 902960 w 902959"/>
                  <a:gd name="connsiteY4" fmla="*/ 451479 h 90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8">
                    <a:moveTo>
                      <a:pt x="902960" y="451479"/>
                    </a:moveTo>
                    <a:cubicBezTo>
                      <a:pt x="902960" y="700825"/>
                      <a:pt x="700825" y="902959"/>
                      <a:pt x="451480" y="902959"/>
                    </a:cubicBezTo>
                    <a:cubicBezTo>
                      <a:pt x="202134" y="902959"/>
                      <a:pt x="0" y="700825"/>
                      <a:pt x="0" y="451479"/>
                    </a:cubicBezTo>
                    <a:cubicBezTo>
                      <a:pt x="0" y="202134"/>
                      <a:pt x="202134" y="0"/>
                      <a:pt x="451480" y="0"/>
                    </a:cubicBezTo>
                    <a:cubicBezTo>
                      <a:pt x="700825" y="0"/>
                      <a:pt x="902960" y="202134"/>
                      <a:pt x="902960" y="451479"/>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1" name="Freeform: Shape 10">
                <a:extLst>
                  <a:ext uri="{FF2B5EF4-FFF2-40B4-BE49-F238E27FC236}">
                    <a16:creationId xmlns:a16="http://schemas.microsoft.com/office/drawing/2014/main" id="{2067C609-27B8-3708-38DD-7CF591A7016F}"/>
                  </a:ext>
                </a:extLst>
              </p:cNvPr>
              <p:cNvSpPr/>
              <p:nvPr/>
            </p:nvSpPr>
            <p:spPr>
              <a:xfrm>
                <a:off x="6183330" y="1263794"/>
                <a:ext cx="2231861" cy="2584636"/>
              </a:xfrm>
              <a:custGeom>
                <a:avLst/>
                <a:gdLst>
                  <a:gd name="connsiteX0" fmla="*/ 6402 w 2481044"/>
                  <a:gd name="connsiteY0" fmla="*/ 1144817 h 2873206"/>
                  <a:gd name="connsiteX1" fmla="*/ 1339115 w 2481044"/>
                  <a:gd name="connsiteY1" fmla="*/ 2368434 h 2873206"/>
                  <a:gd name="connsiteX2" fmla="*/ 1516933 w 2481044"/>
                  <a:gd name="connsiteY2" fmla="*/ 2698800 h 2873206"/>
                  <a:gd name="connsiteX3" fmla="*/ 1552065 w 2481044"/>
                  <a:gd name="connsiteY3" fmla="*/ 2730388 h 2873206"/>
                  <a:gd name="connsiteX4" fmla="*/ 2304480 w 2481044"/>
                  <a:gd name="connsiteY4" fmla="*/ 2723146 h 2873206"/>
                  <a:gd name="connsiteX5" fmla="*/ 2304480 w 2481044"/>
                  <a:gd name="connsiteY5" fmla="*/ 2723146 h 2873206"/>
                  <a:gd name="connsiteX6" fmla="*/ 2476289 w 2481044"/>
                  <a:gd name="connsiteY6" fmla="*/ 2245472 h 2873206"/>
                  <a:gd name="connsiteX7" fmla="*/ -70 w 2481044"/>
                  <a:gd name="connsiteY7" fmla="*/ -61 h 2873206"/>
                  <a:gd name="connsiteX8" fmla="*/ -70 w 2481044"/>
                  <a:gd name="connsiteY8" fmla="*/ -61 h 2873206"/>
                  <a:gd name="connsiteX9" fmla="*/ 10871 w 2481044"/>
                  <a:gd name="connsiteY9" fmla="*/ 1140195 h 287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1044" h="2873206">
                    <a:moveTo>
                      <a:pt x="6402" y="1144817"/>
                    </a:moveTo>
                    <a:cubicBezTo>
                      <a:pt x="680787" y="1193972"/>
                      <a:pt x="1232686" y="1700692"/>
                      <a:pt x="1339115" y="2368434"/>
                    </a:cubicBezTo>
                    <a:cubicBezTo>
                      <a:pt x="1358761" y="2495681"/>
                      <a:pt x="1421537" y="2612326"/>
                      <a:pt x="1516933" y="2698800"/>
                    </a:cubicBezTo>
                    <a:lnTo>
                      <a:pt x="1552065" y="2730388"/>
                    </a:lnTo>
                    <a:cubicBezTo>
                      <a:pt x="1766788" y="2923477"/>
                      <a:pt x="2093518" y="2920333"/>
                      <a:pt x="2304480" y="2723146"/>
                    </a:cubicBezTo>
                    <a:lnTo>
                      <a:pt x="2304480" y="2723146"/>
                    </a:lnTo>
                    <a:cubicBezTo>
                      <a:pt x="2435518" y="2601000"/>
                      <a:pt x="2499510" y="2423105"/>
                      <a:pt x="2476289" y="2245472"/>
                    </a:cubicBezTo>
                    <a:cubicBezTo>
                      <a:pt x="2308949" y="1007062"/>
                      <a:pt x="1266539" y="46628"/>
                      <a:pt x="-70" y="-61"/>
                    </a:cubicBezTo>
                    <a:lnTo>
                      <a:pt x="-70" y="-61"/>
                    </a:lnTo>
                    <a:cubicBezTo>
                      <a:pt x="323517" y="217050"/>
                      <a:pt x="429530" y="827395"/>
                      <a:pt x="10871" y="1140195"/>
                    </a:cubicBezTo>
                    <a:close/>
                  </a:path>
                </a:pathLst>
              </a:custGeom>
              <a:solidFill>
                <a:schemeClr val="accent6"/>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3" name="Freeform: Shape 12">
                <a:extLst>
                  <a:ext uri="{FF2B5EF4-FFF2-40B4-BE49-F238E27FC236}">
                    <a16:creationId xmlns:a16="http://schemas.microsoft.com/office/drawing/2014/main" id="{9F023184-E144-129C-4B79-9E46444BF337}"/>
                  </a:ext>
                </a:extLst>
              </p:cNvPr>
              <p:cNvSpPr/>
              <p:nvPr/>
            </p:nvSpPr>
            <p:spPr>
              <a:xfrm>
                <a:off x="7504726" y="2915641"/>
                <a:ext cx="812270" cy="812269"/>
              </a:xfrm>
              <a:custGeom>
                <a:avLst/>
                <a:gdLst>
                  <a:gd name="connsiteX0" fmla="*/ 902959 w 902959"/>
                  <a:gd name="connsiteY0" fmla="*/ 451479 h 902958"/>
                  <a:gd name="connsiteX1" fmla="*/ 451480 w 902959"/>
                  <a:gd name="connsiteY1" fmla="*/ 902959 h 902958"/>
                  <a:gd name="connsiteX2" fmla="*/ 0 w 902959"/>
                  <a:gd name="connsiteY2" fmla="*/ 451479 h 902958"/>
                  <a:gd name="connsiteX3" fmla="*/ 451480 w 902959"/>
                  <a:gd name="connsiteY3" fmla="*/ 0 h 902958"/>
                  <a:gd name="connsiteX4" fmla="*/ 902959 w 902959"/>
                  <a:gd name="connsiteY4" fmla="*/ 451479 h 90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8">
                    <a:moveTo>
                      <a:pt x="902959" y="451479"/>
                    </a:moveTo>
                    <a:cubicBezTo>
                      <a:pt x="902959" y="700825"/>
                      <a:pt x="700825" y="902959"/>
                      <a:pt x="451480" y="902959"/>
                    </a:cubicBezTo>
                    <a:cubicBezTo>
                      <a:pt x="202134" y="902959"/>
                      <a:pt x="0" y="700825"/>
                      <a:pt x="0" y="451479"/>
                    </a:cubicBezTo>
                    <a:cubicBezTo>
                      <a:pt x="0" y="202134"/>
                      <a:pt x="202134" y="0"/>
                      <a:pt x="451480" y="0"/>
                    </a:cubicBezTo>
                    <a:cubicBezTo>
                      <a:pt x="700825" y="0"/>
                      <a:pt x="902959" y="202134"/>
                      <a:pt x="902959" y="451479"/>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5" name="Freeform: Shape 14">
                <a:extLst>
                  <a:ext uri="{FF2B5EF4-FFF2-40B4-BE49-F238E27FC236}">
                    <a16:creationId xmlns:a16="http://schemas.microsoft.com/office/drawing/2014/main" id="{9E1228EF-BDF1-708E-3F21-045211BE91F2}"/>
                  </a:ext>
                </a:extLst>
              </p:cNvPr>
              <p:cNvSpPr/>
              <p:nvPr/>
            </p:nvSpPr>
            <p:spPr>
              <a:xfrm>
                <a:off x="5845893" y="3686327"/>
                <a:ext cx="2584489" cy="2231916"/>
              </a:xfrm>
              <a:custGeom>
                <a:avLst/>
                <a:gdLst>
                  <a:gd name="connsiteX0" fmla="*/ 1728249 w 2873043"/>
                  <a:gd name="connsiteY0" fmla="*/ 5795 h 2481106"/>
                  <a:gd name="connsiteX1" fmla="*/ 504631 w 2873043"/>
                  <a:gd name="connsiteY1" fmla="*/ 1338353 h 2481106"/>
                  <a:gd name="connsiteX2" fmla="*/ 174419 w 2873043"/>
                  <a:gd name="connsiteY2" fmla="*/ 1516325 h 2481106"/>
                  <a:gd name="connsiteX3" fmla="*/ 142677 w 2873043"/>
                  <a:gd name="connsiteY3" fmla="*/ 1552227 h 2481106"/>
                  <a:gd name="connsiteX4" fmla="*/ 149919 w 2873043"/>
                  <a:gd name="connsiteY4" fmla="*/ 2304488 h 2481106"/>
                  <a:gd name="connsiteX5" fmla="*/ 149919 w 2873043"/>
                  <a:gd name="connsiteY5" fmla="*/ 2304488 h 2481106"/>
                  <a:gd name="connsiteX6" fmla="*/ 627594 w 2873043"/>
                  <a:gd name="connsiteY6" fmla="*/ 2476296 h 2481106"/>
                  <a:gd name="connsiteX7" fmla="*/ 2872974 w 2873043"/>
                  <a:gd name="connsiteY7" fmla="*/ -61 h 2481106"/>
                  <a:gd name="connsiteX8" fmla="*/ 2872974 w 2873043"/>
                  <a:gd name="connsiteY8" fmla="*/ -61 h 2481106"/>
                  <a:gd name="connsiteX9" fmla="*/ 1732718 w 2873043"/>
                  <a:gd name="connsiteY9" fmla="*/ 10880 h 2481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3043" h="2481106">
                    <a:moveTo>
                      <a:pt x="1728249" y="5795"/>
                    </a:moveTo>
                    <a:cubicBezTo>
                      <a:pt x="1679095" y="680133"/>
                      <a:pt x="1172344" y="1232000"/>
                      <a:pt x="504631" y="1338353"/>
                    </a:cubicBezTo>
                    <a:cubicBezTo>
                      <a:pt x="377369" y="1357953"/>
                      <a:pt x="260755" y="1420805"/>
                      <a:pt x="174419" y="1516325"/>
                    </a:cubicBezTo>
                    <a:lnTo>
                      <a:pt x="142677" y="1552227"/>
                    </a:lnTo>
                    <a:cubicBezTo>
                      <a:pt x="-50396" y="1766904"/>
                      <a:pt x="-47253" y="2093571"/>
                      <a:pt x="149919" y="2304488"/>
                    </a:cubicBezTo>
                    <a:lnTo>
                      <a:pt x="149919" y="2304488"/>
                    </a:lnTo>
                    <a:cubicBezTo>
                      <a:pt x="271957" y="2435679"/>
                      <a:pt x="449945" y="2499703"/>
                      <a:pt x="627594" y="2476296"/>
                    </a:cubicBezTo>
                    <a:cubicBezTo>
                      <a:pt x="1866004" y="2308956"/>
                      <a:pt x="2826285" y="1266701"/>
                      <a:pt x="2872974" y="-61"/>
                    </a:cubicBezTo>
                    <a:lnTo>
                      <a:pt x="2872974" y="-61"/>
                    </a:lnTo>
                    <a:cubicBezTo>
                      <a:pt x="2600237" y="411048"/>
                      <a:pt x="2006225" y="383928"/>
                      <a:pt x="1732718" y="10880"/>
                    </a:cubicBezTo>
                    <a:close/>
                  </a:path>
                </a:pathLst>
              </a:custGeom>
              <a:solidFill>
                <a:srgbClr val="F7C84F"/>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8" name="Freeform: Shape 17">
                <a:extLst>
                  <a:ext uri="{FF2B5EF4-FFF2-40B4-BE49-F238E27FC236}">
                    <a16:creationId xmlns:a16="http://schemas.microsoft.com/office/drawing/2014/main" id="{9D885BBD-147B-F963-EB91-710A7E55B0BB}"/>
                  </a:ext>
                </a:extLst>
              </p:cNvPr>
              <p:cNvSpPr/>
              <p:nvPr/>
            </p:nvSpPr>
            <p:spPr>
              <a:xfrm>
                <a:off x="5966401" y="5007029"/>
                <a:ext cx="812270" cy="812269"/>
              </a:xfrm>
              <a:custGeom>
                <a:avLst/>
                <a:gdLst>
                  <a:gd name="connsiteX0" fmla="*/ 902959 w 902959"/>
                  <a:gd name="connsiteY0" fmla="*/ 451480 h 902958"/>
                  <a:gd name="connsiteX1" fmla="*/ 451480 w 902959"/>
                  <a:gd name="connsiteY1" fmla="*/ 902959 h 902958"/>
                  <a:gd name="connsiteX2" fmla="*/ 0 w 902959"/>
                  <a:gd name="connsiteY2" fmla="*/ 451480 h 902958"/>
                  <a:gd name="connsiteX3" fmla="*/ 451480 w 902959"/>
                  <a:gd name="connsiteY3" fmla="*/ 0 h 902958"/>
                  <a:gd name="connsiteX4" fmla="*/ 902959 w 902959"/>
                  <a:gd name="connsiteY4" fmla="*/ 451480 h 90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8">
                    <a:moveTo>
                      <a:pt x="902959" y="451480"/>
                    </a:moveTo>
                    <a:cubicBezTo>
                      <a:pt x="902959" y="700825"/>
                      <a:pt x="700825" y="902959"/>
                      <a:pt x="451480" y="902959"/>
                    </a:cubicBezTo>
                    <a:cubicBezTo>
                      <a:pt x="202134" y="902959"/>
                      <a:pt x="0" y="700825"/>
                      <a:pt x="0" y="451480"/>
                    </a:cubicBezTo>
                    <a:cubicBezTo>
                      <a:pt x="0" y="202134"/>
                      <a:pt x="202134" y="0"/>
                      <a:pt x="451480" y="0"/>
                    </a:cubicBezTo>
                    <a:cubicBezTo>
                      <a:pt x="700825" y="0"/>
                      <a:pt x="902959" y="202134"/>
                      <a:pt x="902959" y="451480"/>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20" name="Freeform: Shape 19">
                <a:extLst>
                  <a:ext uri="{FF2B5EF4-FFF2-40B4-BE49-F238E27FC236}">
                    <a16:creationId xmlns:a16="http://schemas.microsoft.com/office/drawing/2014/main" id="{97A26069-93A6-E07F-25FE-8893DAF1B0AF}"/>
                  </a:ext>
                </a:extLst>
              </p:cNvPr>
              <p:cNvSpPr/>
              <p:nvPr/>
            </p:nvSpPr>
            <p:spPr>
              <a:xfrm>
                <a:off x="3777177" y="3348273"/>
                <a:ext cx="2231501" cy="2584549"/>
              </a:xfrm>
              <a:custGeom>
                <a:avLst/>
                <a:gdLst>
                  <a:gd name="connsiteX0" fmla="*/ 2474103 w 2480644"/>
                  <a:gd name="connsiteY0" fmla="*/ 1727710 h 2873110"/>
                  <a:gd name="connsiteX1" fmla="*/ 1141390 w 2480644"/>
                  <a:gd name="connsiteY1" fmla="*/ 504247 h 2873110"/>
                  <a:gd name="connsiteX2" fmla="*/ 963572 w 2480644"/>
                  <a:gd name="connsiteY2" fmla="*/ 173881 h 2873110"/>
                  <a:gd name="connsiteX3" fmla="*/ 928902 w 2480644"/>
                  <a:gd name="connsiteY3" fmla="*/ 142755 h 2873110"/>
                  <a:gd name="connsiteX4" fmla="*/ 176487 w 2480644"/>
                  <a:gd name="connsiteY4" fmla="*/ 149998 h 2873110"/>
                  <a:gd name="connsiteX5" fmla="*/ 176487 w 2480644"/>
                  <a:gd name="connsiteY5" fmla="*/ 149998 h 2873110"/>
                  <a:gd name="connsiteX6" fmla="*/ 4678 w 2480644"/>
                  <a:gd name="connsiteY6" fmla="*/ 627672 h 2873110"/>
                  <a:gd name="connsiteX7" fmla="*/ 2480575 w 2480644"/>
                  <a:gd name="connsiteY7" fmla="*/ 2873050 h 2873110"/>
                  <a:gd name="connsiteX8" fmla="*/ 2480575 w 2480644"/>
                  <a:gd name="connsiteY8" fmla="*/ 2873050 h 2873110"/>
                  <a:gd name="connsiteX9" fmla="*/ 2469635 w 2480644"/>
                  <a:gd name="connsiteY9" fmla="*/ 1732795 h 287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0644" h="2873110">
                    <a:moveTo>
                      <a:pt x="2474103" y="1727710"/>
                    </a:moveTo>
                    <a:cubicBezTo>
                      <a:pt x="1799750" y="1678633"/>
                      <a:pt x="1247820" y="1171959"/>
                      <a:pt x="1141390" y="504247"/>
                    </a:cubicBezTo>
                    <a:cubicBezTo>
                      <a:pt x="1121790" y="376985"/>
                      <a:pt x="1058999" y="260340"/>
                      <a:pt x="963572" y="173881"/>
                    </a:cubicBezTo>
                    <a:lnTo>
                      <a:pt x="928902" y="142755"/>
                    </a:lnTo>
                    <a:cubicBezTo>
                      <a:pt x="714210" y="-50410"/>
                      <a:pt x="387419" y="-47267"/>
                      <a:pt x="176487" y="149998"/>
                    </a:cubicBezTo>
                    <a:lnTo>
                      <a:pt x="176487" y="149998"/>
                    </a:lnTo>
                    <a:cubicBezTo>
                      <a:pt x="45295" y="272036"/>
                      <a:pt x="-18723" y="450023"/>
                      <a:pt x="4678" y="627672"/>
                    </a:cubicBezTo>
                    <a:cubicBezTo>
                      <a:pt x="171556" y="1866390"/>
                      <a:pt x="1213966" y="2826361"/>
                      <a:pt x="2480575" y="2873050"/>
                    </a:cubicBezTo>
                    <a:lnTo>
                      <a:pt x="2480575" y="2873050"/>
                    </a:lnTo>
                    <a:cubicBezTo>
                      <a:pt x="2095353" y="2700009"/>
                      <a:pt x="2013840" y="2006148"/>
                      <a:pt x="2469635" y="1732795"/>
                    </a:cubicBezTo>
                    <a:close/>
                  </a:path>
                </a:pathLst>
              </a:custGeom>
              <a:solidFill>
                <a:schemeClr val="accent2"/>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23" name="Freeform: Shape 22">
                <a:extLst>
                  <a:ext uri="{FF2B5EF4-FFF2-40B4-BE49-F238E27FC236}">
                    <a16:creationId xmlns:a16="http://schemas.microsoft.com/office/drawing/2014/main" id="{3CDD3D54-C492-F7CB-ACD4-266AF934EB71}"/>
                  </a:ext>
                </a:extLst>
              </p:cNvPr>
              <p:cNvSpPr/>
              <p:nvPr/>
            </p:nvSpPr>
            <p:spPr>
              <a:xfrm rot="20224201">
                <a:off x="3874982" y="3468791"/>
                <a:ext cx="812270" cy="812270"/>
              </a:xfrm>
              <a:custGeom>
                <a:avLst/>
                <a:gdLst>
                  <a:gd name="connsiteX0" fmla="*/ 902890 w 902959"/>
                  <a:gd name="connsiteY0" fmla="*/ 451419 h 902959"/>
                  <a:gd name="connsiteX1" fmla="*/ 451410 w 902959"/>
                  <a:gd name="connsiteY1" fmla="*/ 902898 h 902959"/>
                  <a:gd name="connsiteX2" fmla="*/ -70 w 902959"/>
                  <a:gd name="connsiteY2" fmla="*/ 451419 h 902959"/>
                  <a:gd name="connsiteX3" fmla="*/ 451410 w 902959"/>
                  <a:gd name="connsiteY3" fmla="*/ -61 h 902959"/>
                  <a:gd name="connsiteX4" fmla="*/ 902890 w 902959"/>
                  <a:gd name="connsiteY4" fmla="*/ 451419 h 902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9">
                    <a:moveTo>
                      <a:pt x="902890" y="451419"/>
                    </a:moveTo>
                    <a:cubicBezTo>
                      <a:pt x="902890" y="700764"/>
                      <a:pt x="700756" y="902898"/>
                      <a:pt x="451410" y="902898"/>
                    </a:cubicBezTo>
                    <a:cubicBezTo>
                      <a:pt x="202065" y="902898"/>
                      <a:pt x="-70" y="700764"/>
                      <a:pt x="-70" y="451419"/>
                    </a:cubicBezTo>
                    <a:cubicBezTo>
                      <a:pt x="-70" y="202074"/>
                      <a:pt x="202065" y="-61"/>
                      <a:pt x="451410" y="-61"/>
                    </a:cubicBezTo>
                    <a:cubicBezTo>
                      <a:pt x="700756" y="-61"/>
                      <a:pt x="902890" y="202074"/>
                      <a:pt x="902890" y="451419"/>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26" name="Rectangle 25">
                <a:extLst>
                  <a:ext uri="{FF2B5EF4-FFF2-40B4-BE49-F238E27FC236}">
                    <a16:creationId xmlns:a16="http://schemas.microsoft.com/office/drawing/2014/main" id="{8C0C1B83-C34E-2D7A-8CDE-4207B3A275AB}"/>
                  </a:ext>
                </a:extLst>
              </p:cNvPr>
              <p:cNvSpPr/>
              <p:nvPr/>
            </p:nvSpPr>
            <p:spPr>
              <a:xfrm>
                <a:off x="8732577" y="1858458"/>
                <a:ext cx="2418023" cy="1277273"/>
              </a:xfrm>
              <a:prstGeom prst="rect">
                <a:avLst/>
              </a:prstGeom>
            </p:spPr>
            <p:txBody>
              <a:bodyPr wrap="square" lIns="91440" tIns="45720" rIns="91440" bIns="45720" anchor="t">
                <a:spAutoFit/>
              </a:bodyPr>
              <a:lstStyle/>
              <a:p>
                <a:pPr marL="285750" indent="-285750">
                  <a:spcBef>
                    <a:spcPts val="600"/>
                  </a:spcBef>
                  <a:buFont typeface="Arial"/>
                  <a:buChar char="•"/>
                </a:pPr>
                <a:r>
                  <a:rPr lang="en-US" sz="1200">
                    <a:solidFill>
                      <a:schemeClr val="tx1">
                        <a:lumMod val="75000"/>
                        <a:lumOff val="25000"/>
                      </a:schemeClr>
                    </a:solidFill>
                    <a:latin typeface="Verdana Pro"/>
                    <a:ea typeface="+mn-lt"/>
                    <a:cs typeface="+mn-lt"/>
                  </a:rPr>
                  <a:t>Log Impact Analysis (Service outages , User experience issues etc..)</a:t>
                </a:r>
              </a:p>
              <a:p>
                <a:pPr marL="285750" indent="-285750">
                  <a:spcBef>
                    <a:spcPts val="600"/>
                  </a:spcBef>
                  <a:buFont typeface="Arial"/>
                  <a:buChar char="•"/>
                </a:pPr>
                <a:r>
                  <a:rPr lang="en-US" sz="1200">
                    <a:solidFill>
                      <a:schemeClr val="tx1">
                        <a:lumMod val="75000"/>
                        <a:lumOff val="25000"/>
                      </a:schemeClr>
                    </a:solidFill>
                    <a:latin typeface="Verdana Pro"/>
                    <a:ea typeface="+mn-lt"/>
                    <a:cs typeface="+mn-lt"/>
                  </a:rPr>
                  <a:t>Tag logs based on these analyses for better context</a:t>
                </a:r>
              </a:p>
            </p:txBody>
          </p:sp>
          <p:pic>
            <p:nvPicPr>
              <p:cNvPr id="27" name="Picture 26">
                <a:extLst>
                  <a:ext uri="{FF2B5EF4-FFF2-40B4-BE49-F238E27FC236}">
                    <a16:creationId xmlns:a16="http://schemas.microsoft.com/office/drawing/2014/main" id="{D6AA7B1A-4E4B-3FE0-A43B-733A49B87E7B}"/>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576478" y="1540459"/>
                <a:ext cx="485988" cy="485986"/>
              </a:xfrm>
              <a:prstGeom prst="rect">
                <a:avLst/>
              </a:prstGeom>
            </p:spPr>
          </p:pic>
          <p:sp>
            <p:nvSpPr>
              <p:cNvPr id="28" name="Rectangle 27">
                <a:extLst>
                  <a:ext uri="{FF2B5EF4-FFF2-40B4-BE49-F238E27FC236}">
                    <a16:creationId xmlns:a16="http://schemas.microsoft.com/office/drawing/2014/main" id="{CB9586E9-8D65-F885-A1ED-2F81FC49FBBC}"/>
                  </a:ext>
                </a:extLst>
              </p:cNvPr>
              <p:cNvSpPr/>
              <p:nvPr/>
            </p:nvSpPr>
            <p:spPr>
              <a:xfrm>
                <a:off x="4172200" y="1972563"/>
                <a:ext cx="1379050" cy="830997"/>
              </a:xfrm>
              <a:prstGeom prst="rect">
                <a:avLst/>
              </a:prstGeom>
            </p:spPr>
            <p:txBody>
              <a:bodyPr wrap="square" lIns="91440" tIns="45720" rIns="91440" bIns="45720" anchor="t">
                <a:spAutoFit/>
              </a:bodyPr>
              <a:lstStyle/>
              <a:p>
                <a:pPr algn="ctr"/>
                <a:r>
                  <a:rPr lang="en-US" sz="1600" b="1">
                    <a:solidFill>
                      <a:schemeClr val="bg1"/>
                    </a:solidFill>
                    <a:latin typeface="Lora"/>
                  </a:rPr>
                  <a:t>Data Dog</a:t>
                </a:r>
                <a:endParaRPr lang="en-US" sz="1600">
                  <a:solidFill>
                    <a:schemeClr val="bg1"/>
                  </a:solidFill>
                  <a:cs typeface="Arial"/>
                </a:endParaRPr>
              </a:p>
              <a:p>
                <a:pPr algn="ctr"/>
                <a:r>
                  <a:rPr lang="en-US" sz="1600" b="1">
                    <a:solidFill>
                      <a:schemeClr val="bg1"/>
                    </a:solidFill>
                    <a:latin typeface="Lora"/>
                  </a:rPr>
                  <a:t>Limitation </a:t>
                </a:r>
                <a:endParaRPr lang="en-US" sz="1600">
                  <a:solidFill>
                    <a:schemeClr val="bg1"/>
                  </a:solidFill>
                  <a:cs typeface="Arial"/>
                </a:endParaRPr>
              </a:p>
              <a:p>
                <a:pPr algn="ctr"/>
                <a:endParaRPr lang="en-US" sz="1600" b="1">
                  <a:solidFill>
                    <a:schemeClr val="bg1"/>
                  </a:solidFill>
                  <a:latin typeface="Lora" pitchFamily="2" charset="0"/>
                </a:endParaRPr>
              </a:p>
            </p:txBody>
          </p:sp>
          <p:pic>
            <p:nvPicPr>
              <p:cNvPr id="29" name="Picture 28">
                <a:extLst>
                  <a:ext uri="{FF2B5EF4-FFF2-40B4-BE49-F238E27FC236}">
                    <a16:creationId xmlns:a16="http://schemas.microsoft.com/office/drawing/2014/main" id="{C33B1C3A-4E84-EF2A-F618-EA3F8244E183}"/>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128505" y="5169132"/>
                <a:ext cx="488062" cy="488062"/>
              </a:xfrm>
              <a:prstGeom prst="rect">
                <a:avLst/>
              </a:prstGeom>
            </p:spPr>
          </p:pic>
          <p:sp>
            <p:nvSpPr>
              <p:cNvPr id="30" name="Rectangle 29">
                <a:extLst>
                  <a:ext uri="{FF2B5EF4-FFF2-40B4-BE49-F238E27FC236}">
                    <a16:creationId xmlns:a16="http://schemas.microsoft.com/office/drawing/2014/main" id="{60A2BDFC-F9FF-969D-7066-07D1C6DC9A8C}"/>
                  </a:ext>
                </a:extLst>
              </p:cNvPr>
              <p:cNvSpPr/>
              <p:nvPr/>
            </p:nvSpPr>
            <p:spPr>
              <a:xfrm>
                <a:off x="8718071" y="4464264"/>
                <a:ext cx="3006036" cy="1092607"/>
              </a:xfrm>
              <a:prstGeom prst="rect">
                <a:avLst/>
              </a:prstGeom>
            </p:spPr>
            <p:txBody>
              <a:bodyPr wrap="square" lIns="91440" tIns="45720" rIns="91440" bIns="45720" anchor="t">
                <a:spAutoFit/>
              </a:bodyPr>
              <a:lstStyle/>
              <a:p>
                <a:pPr marL="285750" indent="-285750">
                  <a:spcBef>
                    <a:spcPts val="600"/>
                  </a:spcBef>
                  <a:buFont typeface="Arial"/>
                  <a:buChar char="•"/>
                </a:pPr>
                <a:r>
                  <a:rPr lang="en-US" sz="1200">
                    <a:solidFill>
                      <a:schemeClr val="tx1">
                        <a:lumMod val="75000"/>
                        <a:lumOff val="25000"/>
                      </a:schemeClr>
                    </a:solidFill>
                    <a:latin typeface="Verdana Pro"/>
                    <a:ea typeface="+mn-lt"/>
                    <a:cs typeface="+mn-lt"/>
                  </a:rPr>
                  <a:t>Enables context-aware categories that go beyond basic severity levels</a:t>
                </a:r>
              </a:p>
              <a:p>
                <a:pPr marL="285750" indent="-285750">
                  <a:spcBef>
                    <a:spcPts val="600"/>
                  </a:spcBef>
                  <a:buFont typeface="Arial"/>
                  <a:buChar char="•"/>
                </a:pPr>
                <a:r>
                  <a:rPr lang="en-US" sz="1200">
                    <a:solidFill>
                      <a:schemeClr val="tx1">
                        <a:lumMod val="75000"/>
                        <a:lumOff val="25000"/>
                      </a:schemeClr>
                    </a:solidFill>
                    <a:latin typeface="Verdana Pro"/>
                    <a:ea typeface="+mn-lt"/>
                    <a:cs typeface="+mn-lt"/>
                  </a:rPr>
                  <a:t>Provides direct insights within logs </a:t>
                </a:r>
                <a:r>
                  <a:rPr lang="en-US" sz="1200" b="0" i="0">
                    <a:solidFill>
                      <a:schemeClr val="tx1">
                        <a:lumMod val="75000"/>
                        <a:lumOff val="25000"/>
                      </a:schemeClr>
                    </a:solidFill>
                    <a:effectLst/>
                    <a:latin typeface="Verdana Pro"/>
                    <a:ea typeface="+mn-lt"/>
                    <a:cs typeface="+mn-lt"/>
                  </a:rPr>
                  <a:t>for</a:t>
                </a:r>
                <a:r>
                  <a:rPr lang="en-US" sz="1200">
                    <a:solidFill>
                      <a:schemeClr val="tx1">
                        <a:lumMod val="75000"/>
                        <a:lumOff val="25000"/>
                      </a:schemeClr>
                    </a:solidFill>
                    <a:latin typeface="Verdana Pro"/>
                    <a:ea typeface="+mn-lt"/>
                    <a:cs typeface="+mn-lt"/>
                  </a:rPr>
                  <a:t> quicker resolutions</a:t>
                </a:r>
                <a:endParaRPr lang="en-US" sz="1200">
                  <a:solidFill>
                    <a:schemeClr val="tx1">
                      <a:lumMod val="75000"/>
                      <a:lumOff val="25000"/>
                    </a:schemeClr>
                  </a:solidFill>
                  <a:latin typeface="Verdana Pro"/>
                  <a:cs typeface="Arial"/>
                </a:endParaRPr>
              </a:p>
            </p:txBody>
          </p:sp>
          <p:sp>
            <p:nvSpPr>
              <p:cNvPr id="31" name="Rectangle 30">
                <a:extLst>
                  <a:ext uri="{FF2B5EF4-FFF2-40B4-BE49-F238E27FC236}">
                    <a16:creationId xmlns:a16="http://schemas.microsoft.com/office/drawing/2014/main" id="{C955208D-028A-8B31-86E0-AB9FE62D2F05}"/>
                  </a:ext>
                </a:extLst>
              </p:cNvPr>
              <p:cNvSpPr/>
              <p:nvPr/>
            </p:nvSpPr>
            <p:spPr>
              <a:xfrm>
                <a:off x="616226" y="4077898"/>
                <a:ext cx="2948237" cy="1538883"/>
              </a:xfrm>
              <a:prstGeom prst="rect">
                <a:avLst/>
              </a:prstGeom>
            </p:spPr>
            <p:txBody>
              <a:bodyPr wrap="square" lIns="91440" tIns="45720" rIns="91440" bIns="45720" anchor="t">
                <a:spAutoFit/>
              </a:bodyPr>
              <a:lstStyle/>
              <a:p>
                <a:pPr>
                  <a:spcBef>
                    <a:spcPts val="600"/>
                  </a:spcBef>
                </a:pPr>
                <a:r>
                  <a:rPr lang="en-US" sz="1200" b="1">
                    <a:solidFill>
                      <a:schemeClr val="tx1">
                        <a:lumMod val="75000"/>
                        <a:lumOff val="25000"/>
                      </a:schemeClr>
                    </a:solidFill>
                    <a:latin typeface="Verdana Pro"/>
                    <a:ea typeface="+mn-lt"/>
                    <a:cs typeface="+mn-lt"/>
                  </a:rPr>
                  <a:t>Azure Cognitive Services</a:t>
                </a:r>
              </a:p>
              <a:p>
                <a:pPr marL="285750" indent="-285750">
                  <a:spcBef>
                    <a:spcPts val="600"/>
                  </a:spcBef>
                  <a:buFont typeface="Arial"/>
                  <a:buChar char="•"/>
                </a:pPr>
                <a:r>
                  <a:rPr lang="en-US" sz="1200">
                    <a:solidFill>
                      <a:schemeClr val="tx1">
                        <a:lumMod val="75000"/>
                        <a:lumOff val="25000"/>
                      </a:schemeClr>
                    </a:solidFill>
                    <a:latin typeface="Verdana Pro"/>
                    <a:ea typeface="+mn-lt"/>
                    <a:cs typeface="+mn-lt"/>
                  </a:rPr>
                  <a:t>Implement custom log categories (e.g., Cache Error, Server Error, Connection Error)</a:t>
                </a:r>
              </a:p>
              <a:p>
                <a:pPr marL="285750" indent="-285750">
                  <a:spcBef>
                    <a:spcPts val="600"/>
                  </a:spcBef>
                  <a:buFont typeface="Arial"/>
                  <a:buChar char="•"/>
                </a:pPr>
                <a:r>
                  <a:rPr lang="en-US" sz="1200">
                    <a:solidFill>
                      <a:schemeClr val="tx1">
                        <a:lumMod val="75000"/>
                        <a:lumOff val="25000"/>
                      </a:schemeClr>
                    </a:solidFill>
                    <a:latin typeface="Verdana Pro"/>
                    <a:ea typeface="+mn-lt"/>
                    <a:cs typeface="+mn-lt"/>
                  </a:rPr>
                  <a:t>Analyze the specific content of log messages for enhanced categorization</a:t>
                </a:r>
              </a:p>
            </p:txBody>
          </p:sp>
          <p:pic>
            <p:nvPicPr>
              <p:cNvPr id="32" name="Picture 31">
                <a:extLst>
                  <a:ext uri="{FF2B5EF4-FFF2-40B4-BE49-F238E27FC236}">
                    <a16:creationId xmlns:a16="http://schemas.microsoft.com/office/drawing/2014/main" id="{1892FBDD-8899-DAEC-9D04-10A8306A119B}"/>
                  </a:ext>
                </a:extLst>
              </p:cNvPr>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660191" y="3071106"/>
                <a:ext cx="501340" cy="501338"/>
              </a:xfrm>
              <a:prstGeom prst="rect">
                <a:avLst/>
              </a:prstGeom>
            </p:spPr>
          </p:pic>
          <p:pic>
            <p:nvPicPr>
              <p:cNvPr id="33" name="Picture 32">
                <a:extLst>
                  <a:ext uri="{FF2B5EF4-FFF2-40B4-BE49-F238E27FC236}">
                    <a16:creationId xmlns:a16="http://schemas.microsoft.com/office/drawing/2014/main" id="{C8B122D2-D20F-FF87-2340-766988ECF62F}"/>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079672" y="3673482"/>
                <a:ext cx="402890" cy="402888"/>
              </a:xfrm>
              <a:prstGeom prst="rect">
                <a:avLst/>
              </a:prstGeom>
            </p:spPr>
          </p:pic>
          <p:sp>
            <p:nvSpPr>
              <p:cNvPr id="35" name="TextBox 34">
                <a:extLst>
                  <a:ext uri="{FF2B5EF4-FFF2-40B4-BE49-F238E27FC236}">
                    <a16:creationId xmlns:a16="http://schemas.microsoft.com/office/drawing/2014/main" id="{8A58E8A2-5C40-1001-EFC1-3B96CA6E39E7}"/>
                  </a:ext>
                </a:extLst>
              </p:cNvPr>
              <p:cNvSpPr txBox="1"/>
              <p:nvPr/>
            </p:nvSpPr>
            <p:spPr>
              <a:xfrm>
                <a:off x="620615" y="1888537"/>
                <a:ext cx="2959027" cy="1092607"/>
              </a:xfrm>
              <a:prstGeom prst="rect">
                <a:avLst/>
              </a:prstGeom>
              <a:noFill/>
            </p:spPr>
            <p:txBody>
              <a:bodyPr wrap="square" lIns="91440" tIns="45720" rIns="91440" bIns="45720" anchor="t">
                <a:spAutoFit/>
              </a:bodyPr>
              <a:lstStyle/>
              <a:p>
                <a:pPr marL="171450" indent="-171450">
                  <a:spcBef>
                    <a:spcPts val="600"/>
                  </a:spcBef>
                  <a:buFont typeface="Arial"/>
                  <a:buChar char="•"/>
                </a:pPr>
                <a:r>
                  <a:rPr lang="en-US" sz="1200">
                    <a:solidFill>
                      <a:schemeClr val="tx1">
                        <a:lumMod val="75000"/>
                        <a:lumOff val="25000"/>
                      </a:schemeClr>
                    </a:solidFill>
                    <a:latin typeface="Verdana Pro"/>
                    <a:ea typeface="+mn-lt"/>
                    <a:cs typeface="+mn-lt"/>
                  </a:rPr>
                  <a:t>Logs are tagged only by severity levels (Error, Warning, Info)</a:t>
                </a:r>
              </a:p>
              <a:p>
                <a:pPr marL="171450" indent="-171450">
                  <a:spcBef>
                    <a:spcPts val="600"/>
                  </a:spcBef>
                  <a:buFont typeface="Arial"/>
                  <a:buChar char="•"/>
                </a:pPr>
                <a:r>
                  <a:rPr lang="en-US" sz="1200">
                    <a:solidFill>
                      <a:schemeClr val="tx1">
                        <a:lumMod val="75000"/>
                        <a:lumOff val="25000"/>
                      </a:schemeClr>
                    </a:solidFill>
                    <a:latin typeface="Verdana Pro"/>
                    <a:ea typeface="+mn-lt"/>
                    <a:cs typeface="+mn-lt"/>
                  </a:rPr>
                  <a:t>Lack of Context: No in-depth understanding of the impact or context of log messages</a:t>
                </a:r>
              </a:p>
            </p:txBody>
          </p:sp>
          <p:sp>
            <p:nvSpPr>
              <p:cNvPr id="36" name="Rectangle 35">
                <a:extLst>
                  <a:ext uri="{FF2B5EF4-FFF2-40B4-BE49-F238E27FC236}">
                    <a16:creationId xmlns:a16="http://schemas.microsoft.com/office/drawing/2014/main" id="{B5D674C2-2687-08CC-E2AC-51F9698EDB02}"/>
                  </a:ext>
                </a:extLst>
              </p:cNvPr>
              <p:cNvSpPr/>
              <p:nvPr/>
            </p:nvSpPr>
            <p:spPr>
              <a:xfrm>
                <a:off x="6842171" y="2265640"/>
                <a:ext cx="1203204" cy="369332"/>
              </a:xfrm>
              <a:prstGeom prst="rect">
                <a:avLst/>
              </a:prstGeom>
            </p:spPr>
            <p:txBody>
              <a:bodyPr wrap="square" lIns="91440" tIns="45720" rIns="91440" bIns="45720" anchor="t">
                <a:spAutoFit/>
              </a:bodyPr>
              <a:lstStyle/>
              <a:p>
                <a:pPr algn="ctr"/>
                <a:r>
                  <a:rPr lang="en-US">
                    <a:solidFill>
                      <a:schemeClr val="bg1"/>
                    </a:solidFill>
                    <a:ea typeface="+mn-lt"/>
                    <a:cs typeface="+mn-lt"/>
                  </a:rPr>
                  <a:t>Approach</a:t>
                </a:r>
                <a:endParaRPr lang="en-US"/>
              </a:p>
            </p:txBody>
          </p:sp>
          <p:sp>
            <p:nvSpPr>
              <p:cNvPr id="37" name="Rectangle 36">
                <a:extLst>
                  <a:ext uri="{FF2B5EF4-FFF2-40B4-BE49-F238E27FC236}">
                    <a16:creationId xmlns:a16="http://schemas.microsoft.com/office/drawing/2014/main" id="{8BCBB331-C2B0-C85D-0001-B82F47BD578D}"/>
                  </a:ext>
                </a:extLst>
              </p:cNvPr>
              <p:cNvSpPr/>
              <p:nvPr/>
            </p:nvSpPr>
            <p:spPr>
              <a:xfrm>
                <a:off x="4163625" y="4665610"/>
                <a:ext cx="1203204" cy="369332"/>
              </a:xfrm>
              <a:prstGeom prst="rect">
                <a:avLst/>
              </a:prstGeom>
            </p:spPr>
            <p:txBody>
              <a:bodyPr wrap="square" lIns="91440" tIns="45720" rIns="91440" bIns="45720" anchor="t">
                <a:spAutoFit/>
              </a:bodyPr>
              <a:lstStyle/>
              <a:p>
                <a:pPr algn="ctr"/>
                <a:r>
                  <a:rPr lang="en-US">
                    <a:solidFill>
                      <a:schemeClr val="bg1"/>
                    </a:solidFill>
                    <a:ea typeface="+mn-lt"/>
                    <a:cs typeface="+mn-lt"/>
                  </a:rPr>
                  <a:t>Solution</a:t>
                </a:r>
                <a:endParaRPr lang="en-US"/>
              </a:p>
            </p:txBody>
          </p:sp>
          <p:sp>
            <p:nvSpPr>
              <p:cNvPr id="38" name="Rectangle 37">
                <a:extLst>
                  <a:ext uri="{FF2B5EF4-FFF2-40B4-BE49-F238E27FC236}">
                    <a16:creationId xmlns:a16="http://schemas.microsoft.com/office/drawing/2014/main" id="{96C6F4A1-274E-D656-91C0-BD3BEC50B8A9}"/>
                  </a:ext>
                </a:extLst>
              </p:cNvPr>
              <p:cNvSpPr/>
              <p:nvPr/>
            </p:nvSpPr>
            <p:spPr>
              <a:xfrm>
                <a:off x="6842171" y="4665610"/>
                <a:ext cx="1203204" cy="369332"/>
              </a:xfrm>
              <a:prstGeom prst="rect">
                <a:avLst/>
              </a:prstGeom>
            </p:spPr>
            <p:txBody>
              <a:bodyPr wrap="square" lIns="91440" tIns="45720" rIns="91440" bIns="45720" anchor="t">
                <a:spAutoFit/>
              </a:bodyPr>
              <a:lstStyle/>
              <a:p>
                <a:pPr algn="ctr"/>
                <a:r>
                  <a:rPr lang="en-US">
                    <a:solidFill>
                      <a:schemeClr val="bg1"/>
                    </a:solidFill>
                    <a:ea typeface="+mn-lt"/>
                    <a:cs typeface="+mn-lt"/>
                  </a:rPr>
                  <a:t>Benefits</a:t>
                </a:r>
                <a:endParaRPr lang="en-US"/>
              </a:p>
            </p:txBody>
          </p:sp>
        </p:grpSp>
        <p:pic>
          <p:nvPicPr>
            <p:cNvPr id="3" name="Picture 2">
              <a:extLst>
                <a:ext uri="{FF2B5EF4-FFF2-40B4-BE49-F238E27FC236}">
                  <a16:creationId xmlns:a16="http://schemas.microsoft.com/office/drawing/2014/main" id="{AEFF7D8C-92D6-D295-B6BC-4B439C8BE656}"/>
                </a:ext>
              </a:extLst>
            </p:cNvPr>
            <p:cNvPicPr>
              <a:picLocks noChangeAspect="1"/>
            </p:cNvPicPr>
            <p:nvPr/>
          </p:nvPicPr>
          <p:blipFill>
            <a:blip r:embed="rId10"/>
            <a:stretch>
              <a:fillRect/>
            </a:stretch>
          </p:blipFill>
          <p:spPr>
            <a:xfrm>
              <a:off x="5303623" y="3097247"/>
              <a:ext cx="1620486" cy="1620486"/>
            </a:xfrm>
            <a:prstGeom prst="rect">
              <a:avLst/>
            </a:prstGeom>
          </p:spPr>
        </p:pic>
      </p:grpSp>
      <p:sp>
        <p:nvSpPr>
          <p:cNvPr id="5" name="TextBox 4">
            <a:extLst>
              <a:ext uri="{FF2B5EF4-FFF2-40B4-BE49-F238E27FC236}">
                <a16:creationId xmlns:a16="http://schemas.microsoft.com/office/drawing/2014/main" id="{216A38B9-872B-E45F-5D50-1619F83F23CB}"/>
              </a:ext>
            </a:extLst>
          </p:cNvPr>
          <p:cNvSpPr txBox="1"/>
          <p:nvPr/>
        </p:nvSpPr>
        <p:spPr>
          <a:xfrm>
            <a:off x="487179" y="543118"/>
            <a:ext cx="9843542" cy="1692771"/>
          </a:xfrm>
          <a:prstGeom prst="rect">
            <a:avLst/>
          </a:prstGeom>
          <a:noFill/>
        </p:spPr>
        <p:txBody>
          <a:bodyPr wrap="square" lIns="91440" tIns="45720" rIns="91440" bIns="45720" anchor="t">
            <a:spAutoFit/>
          </a:bodyPr>
          <a:lstStyle/>
          <a:p>
            <a:r>
              <a:rPr lang="en-US" sz="2600" b="1">
                <a:solidFill>
                  <a:schemeClr val="tx1">
                    <a:lumMod val="75000"/>
                    <a:lumOff val="25000"/>
                  </a:schemeClr>
                </a:solidFill>
                <a:latin typeface="Montserrat"/>
              </a:rPr>
              <a:t>Predictive Monitoring (Log Categorization using NLP)</a:t>
            </a:r>
          </a:p>
          <a:p>
            <a:r>
              <a:rPr lang="en-US" sz="2600" b="1">
                <a:solidFill>
                  <a:schemeClr val="tx1">
                    <a:lumMod val="75000"/>
                    <a:lumOff val="25000"/>
                  </a:schemeClr>
                </a:solidFill>
                <a:highlight>
                  <a:srgbClr val="FFFF00"/>
                </a:highlight>
                <a:latin typeface="Montserrat"/>
              </a:rPr>
              <a:t>Make the diagram in center small and bring the relevant dashboard in slide7 here . So that you explain and show the graph</a:t>
            </a:r>
          </a:p>
        </p:txBody>
      </p:sp>
      <p:cxnSp>
        <p:nvCxnSpPr>
          <p:cNvPr id="10" name="Straight Connector 9">
            <a:extLst>
              <a:ext uri="{FF2B5EF4-FFF2-40B4-BE49-F238E27FC236}">
                <a16:creationId xmlns:a16="http://schemas.microsoft.com/office/drawing/2014/main" id="{01E76F1F-250A-088D-7ACC-9178E1B02C22}"/>
              </a:ext>
              <a:ext uri="{C183D7F6-B498-43B3-948B-1728B52AA6E4}">
                <adec:decorative xmlns:adec="http://schemas.microsoft.com/office/drawing/2017/decorative" val="1"/>
              </a:ext>
            </a:extLst>
          </p:cNvPr>
          <p:cNvCxnSpPr>
            <a:cxnSpLocks/>
          </p:cNvCxnSpPr>
          <p:nvPr/>
        </p:nvCxnSpPr>
        <p:spPr>
          <a:xfrm>
            <a:off x="488191" y="1088493"/>
            <a:ext cx="10761492"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75634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8CDD38D-9F1D-49FB-9B35-1062FBACB790}"/>
              </a:ext>
            </a:extLst>
          </p:cNvPr>
          <p:cNvGrpSpPr/>
          <p:nvPr/>
        </p:nvGrpSpPr>
        <p:grpSpPr>
          <a:xfrm>
            <a:off x="627392" y="1336865"/>
            <a:ext cx="11107881" cy="4999802"/>
            <a:chOff x="627392" y="1429541"/>
            <a:chExt cx="11107881" cy="4999802"/>
          </a:xfrm>
        </p:grpSpPr>
        <p:grpSp>
          <p:nvGrpSpPr>
            <p:cNvPr id="41" name="Group 40">
              <a:extLst>
                <a:ext uri="{FF2B5EF4-FFF2-40B4-BE49-F238E27FC236}">
                  <a16:creationId xmlns:a16="http://schemas.microsoft.com/office/drawing/2014/main" id="{9D11F4F6-6B66-3F63-53B3-84CF50B5A9FB}"/>
                </a:ext>
              </a:extLst>
            </p:cNvPr>
            <p:cNvGrpSpPr/>
            <p:nvPr/>
          </p:nvGrpSpPr>
          <p:grpSpPr>
            <a:xfrm>
              <a:off x="627392" y="1429541"/>
              <a:ext cx="11107881" cy="4999802"/>
              <a:chOff x="616226" y="1098550"/>
              <a:chExt cx="11107881" cy="4999802"/>
            </a:xfrm>
          </p:grpSpPr>
          <p:sp>
            <p:nvSpPr>
              <p:cNvPr id="8" name="Freeform: Shape 7">
                <a:extLst>
                  <a:ext uri="{FF2B5EF4-FFF2-40B4-BE49-F238E27FC236}">
                    <a16:creationId xmlns:a16="http://schemas.microsoft.com/office/drawing/2014/main" id="{EB29871E-3662-CBAE-51A1-AFB023016423}"/>
                  </a:ext>
                </a:extLst>
              </p:cNvPr>
              <p:cNvSpPr/>
              <p:nvPr/>
            </p:nvSpPr>
            <p:spPr>
              <a:xfrm>
                <a:off x="3608427" y="1098550"/>
                <a:ext cx="1551232" cy="1516327"/>
              </a:xfrm>
              <a:custGeom>
                <a:avLst/>
                <a:gdLst>
                  <a:gd name="connsiteX0" fmla="*/ 299823 w 1724424"/>
                  <a:gd name="connsiteY0" fmla="*/ 1674902 h 1685623"/>
                  <a:gd name="connsiteX1" fmla="*/ 79785 w 1724424"/>
                  <a:gd name="connsiteY1" fmla="*/ 1579521 h 1685623"/>
                  <a:gd name="connsiteX2" fmla="*/ 10945 w 1724424"/>
                  <a:gd name="connsiteY2" fmla="*/ 1404985 h 1685623"/>
                  <a:gd name="connsiteX3" fmla="*/ 13681 w 1724424"/>
                  <a:gd name="connsiteY3" fmla="*/ 1399083 h 1685623"/>
                  <a:gd name="connsiteX4" fmla="*/ 1450403 w 1724424"/>
                  <a:gd name="connsiteY4" fmla="*/ 11362 h 1685623"/>
                  <a:gd name="connsiteX5" fmla="*/ 1625648 w 1724424"/>
                  <a:gd name="connsiteY5" fmla="*/ 78984 h 1685623"/>
                  <a:gd name="connsiteX6" fmla="*/ 1627605 w 1724424"/>
                  <a:gd name="connsiteY6" fmla="*/ 83630 h 1685623"/>
                  <a:gd name="connsiteX7" fmla="*/ 1715127 w 1724424"/>
                  <a:gd name="connsiteY7" fmla="*/ 306904 h 1685623"/>
                  <a:gd name="connsiteX8" fmla="*/ 1647020 w 1724424"/>
                  <a:gd name="connsiteY8" fmla="*/ 475631 h 1685623"/>
                  <a:gd name="connsiteX9" fmla="*/ 470091 w 1724424"/>
                  <a:gd name="connsiteY9" fmla="*/ 1612342 h 1685623"/>
                  <a:gd name="connsiteX10" fmla="*/ 299823 w 1724424"/>
                  <a:gd name="connsiteY10" fmla="*/ 1674902 h 1685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424" h="1685623">
                    <a:moveTo>
                      <a:pt x="299823" y="1674902"/>
                    </a:moveTo>
                    <a:lnTo>
                      <a:pt x="79785" y="1579521"/>
                    </a:lnTo>
                    <a:cubicBezTo>
                      <a:pt x="12577" y="1550337"/>
                      <a:pt x="-18244" y="1472183"/>
                      <a:pt x="10945" y="1404985"/>
                    </a:cubicBezTo>
                    <a:cubicBezTo>
                      <a:pt x="11808" y="1402997"/>
                      <a:pt x="12721" y="1401025"/>
                      <a:pt x="13681" y="1399083"/>
                    </a:cubicBezTo>
                    <a:cubicBezTo>
                      <a:pt x="317582" y="784193"/>
                      <a:pt x="825343" y="293752"/>
                      <a:pt x="1450403" y="11362"/>
                    </a:cubicBezTo>
                    <a:cubicBezTo>
                      <a:pt x="1517462" y="-18359"/>
                      <a:pt x="1595924" y="11918"/>
                      <a:pt x="1625648" y="78984"/>
                    </a:cubicBezTo>
                    <a:cubicBezTo>
                      <a:pt x="1626326" y="80520"/>
                      <a:pt x="1626989" y="82069"/>
                      <a:pt x="1627605" y="83630"/>
                    </a:cubicBezTo>
                    <a:lnTo>
                      <a:pt x="1715127" y="306904"/>
                    </a:lnTo>
                    <a:cubicBezTo>
                      <a:pt x="1740891" y="372308"/>
                      <a:pt x="1710967" y="446439"/>
                      <a:pt x="1647020" y="475631"/>
                    </a:cubicBezTo>
                    <a:cubicBezTo>
                      <a:pt x="1136324" y="708890"/>
                      <a:pt x="720947" y="1110060"/>
                      <a:pt x="470091" y="1612342"/>
                    </a:cubicBezTo>
                    <a:cubicBezTo>
                      <a:pt x="438847" y="1674979"/>
                      <a:pt x="364191" y="1702407"/>
                      <a:pt x="299823" y="1674902"/>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12" name="Freeform: Shape 11">
                <a:extLst>
                  <a:ext uri="{FF2B5EF4-FFF2-40B4-BE49-F238E27FC236}">
                    <a16:creationId xmlns:a16="http://schemas.microsoft.com/office/drawing/2014/main" id="{AC73601A-EE45-1ABB-6FA2-65F4ED869633}"/>
                  </a:ext>
                </a:extLst>
              </p:cNvPr>
              <p:cNvSpPr/>
              <p:nvPr/>
            </p:nvSpPr>
            <p:spPr>
              <a:xfrm>
                <a:off x="7078981" y="1110090"/>
                <a:ext cx="1517070" cy="1552187"/>
              </a:xfrm>
              <a:custGeom>
                <a:avLst/>
                <a:gdLst>
                  <a:gd name="connsiteX0" fmla="*/ 11097 w 1686448"/>
                  <a:gd name="connsiteY0" fmla="*/ 299776 h 1725486"/>
                  <a:gd name="connsiteX1" fmla="*/ 106478 w 1686448"/>
                  <a:gd name="connsiteY1" fmla="*/ 79738 h 1725486"/>
                  <a:gd name="connsiteX2" fmla="*/ 281307 w 1686448"/>
                  <a:gd name="connsiteY2" fmla="*/ 11031 h 1725486"/>
                  <a:gd name="connsiteX3" fmla="*/ 286916 w 1686448"/>
                  <a:gd name="connsiteY3" fmla="*/ 13634 h 1725486"/>
                  <a:gd name="connsiteX4" fmla="*/ 1674638 w 1686448"/>
                  <a:gd name="connsiteY4" fmla="*/ 1450356 h 1725486"/>
                  <a:gd name="connsiteX5" fmla="*/ 1608180 w 1686448"/>
                  <a:gd name="connsiteY5" fmla="*/ 1625816 h 1725486"/>
                  <a:gd name="connsiteX6" fmla="*/ 1602216 w 1686448"/>
                  <a:gd name="connsiteY6" fmla="*/ 1628328 h 1725486"/>
                  <a:gd name="connsiteX7" fmla="*/ 1378942 w 1686448"/>
                  <a:gd name="connsiteY7" fmla="*/ 1716004 h 1725486"/>
                  <a:gd name="connsiteX8" fmla="*/ 1209445 w 1686448"/>
                  <a:gd name="connsiteY8" fmla="*/ 1647743 h 1725486"/>
                  <a:gd name="connsiteX9" fmla="*/ 73349 w 1686448"/>
                  <a:gd name="connsiteY9" fmla="*/ 471431 h 1725486"/>
                  <a:gd name="connsiteX10" fmla="*/ 11097 w 1686448"/>
                  <a:gd name="connsiteY10" fmla="*/ 299776 h 172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6448" h="1725486">
                    <a:moveTo>
                      <a:pt x="11097" y="299776"/>
                    </a:moveTo>
                    <a:lnTo>
                      <a:pt x="106478" y="79738"/>
                    </a:lnTo>
                    <a:cubicBezTo>
                      <a:pt x="135786" y="12489"/>
                      <a:pt x="214047" y="-18273"/>
                      <a:pt x="281307" y="11031"/>
                    </a:cubicBezTo>
                    <a:cubicBezTo>
                      <a:pt x="283187" y="11856"/>
                      <a:pt x="285067" y="12723"/>
                      <a:pt x="286916" y="13634"/>
                    </a:cubicBezTo>
                    <a:cubicBezTo>
                      <a:pt x="901745" y="317620"/>
                      <a:pt x="1392163" y="825357"/>
                      <a:pt x="1674638" y="1450356"/>
                    </a:cubicBezTo>
                    <a:cubicBezTo>
                      <a:pt x="1704732" y="1517153"/>
                      <a:pt x="1674977" y="1595723"/>
                      <a:pt x="1608180" y="1625816"/>
                    </a:cubicBezTo>
                    <a:cubicBezTo>
                      <a:pt x="1606207" y="1626694"/>
                      <a:pt x="1604220" y="1627542"/>
                      <a:pt x="1602216" y="1628328"/>
                    </a:cubicBezTo>
                    <a:lnTo>
                      <a:pt x="1378942" y="1716004"/>
                    </a:lnTo>
                    <a:cubicBezTo>
                      <a:pt x="1313285" y="1742153"/>
                      <a:pt x="1238660" y="1712106"/>
                      <a:pt x="1209445" y="1647743"/>
                    </a:cubicBezTo>
                    <a:cubicBezTo>
                      <a:pt x="976154" y="1137433"/>
                      <a:pt x="575247" y="722318"/>
                      <a:pt x="73349" y="471431"/>
                    </a:cubicBezTo>
                    <a:cubicBezTo>
                      <a:pt x="10142" y="439975"/>
                      <a:pt x="-17255" y="364440"/>
                      <a:pt x="11097" y="299776"/>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17" name="Freeform: Shape 16">
                <a:extLst>
                  <a:ext uri="{FF2B5EF4-FFF2-40B4-BE49-F238E27FC236}">
                    <a16:creationId xmlns:a16="http://schemas.microsoft.com/office/drawing/2014/main" id="{D5AA95E7-06BD-4054-3AC8-79C509F055CA}"/>
                  </a:ext>
                </a:extLst>
              </p:cNvPr>
              <p:cNvSpPr/>
              <p:nvPr/>
            </p:nvSpPr>
            <p:spPr>
              <a:xfrm>
                <a:off x="7032350" y="4581800"/>
                <a:ext cx="1551915" cy="1516552"/>
              </a:xfrm>
              <a:custGeom>
                <a:avLst/>
                <a:gdLst>
                  <a:gd name="connsiteX0" fmla="*/ 1425233 w 1725184"/>
                  <a:gd name="connsiteY0" fmla="*/ 10687 h 1685873"/>
                  <a:gd name="connsiteX1" fmla="*/ 1645271 w 1725184"/>
                  <a:gd name="connsiteY1" fmla="*/ 106068 h 1685873"/>
                  <a:gd name="connsiteX2" fmla="*/ 1714149 w 1725184"/>
                  <a:gd name="connsiteY2" fmla="*/ 280358 h 1685873"/>
                  <a:gd name="connsiteX3" fmla="*/ 1711375 w 1725184"/>
                  <a:gd name="connsiteY3" fmla="*/ 286352 h 1685873"/>
                  <a:gd name="connsiteX4" fmla="*/ 274653 w 1725184"/>
                  <a:gd name="connsiteY4" fmla="*/ 1674073 h 1685873"/>
                  <a:gd name="connsiteX5" fmla="*/ 99192 w 1725184"/>
                  <a:gd name="connsiteY5" fmla="*/ 1607614 h 1685873"/>
                  <a:gd name="connsiteX6" fmla="*/ 96680 w 1725184"/>
                  <a:gd name="connsiteY6" fmla="*/ 1601651 h 1685873"/>
                  <a:gd name="connsiteX7" fmla="*/ 9158 w 1725184"/>
                  <a:gd name="connsiteY7" fmla="*/ 1378377 h 1685873"/>
                  <a:gd name="connsiteX8" fmla="*/ 77265 w 1725184"/>
                  <a:gd name="connsiteY8" fmla="*/ 1209650 h 1685873"/>
                  <a:gd name="connsiteX9" fmla="*/ 1254965 w 1725184"/>
                  <a:gd name="connsiteY9" fmla="*/ 72785 h 1685873"/>
                  <a:gd name="connsiteX10" fmla="*/ 1425233 w 1725184"/>
                  <a:gd name="connsiteY10" fmla="*/ 10687 h 168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5184" h="1685873">
                    <a:moveTo>
                      <a:pt x="1425233" y="10687"/>
                    </a:moveTo>
                    <a:lnTo>
                      <a:pt x="1645271" y="106068"/>
                    </a:lnTo>
                    <a:cubicBezTo>
                      <a:pt x="1712423" y="135175"/>
                      <a:pt x="1743256" y="213206"/>
                      <a:pt x="1714149" y="280358"/>
                    </a:cubicBezTo>
                    <a:cubicBezTo>
                      <a:pt x="1713271" y="282376"/>
                      <a:pt x="1712346" y="284379"/>
                      <a:pt x="1711375" y="286352"/>
                    </a:cubicBezTo>
                    <a:cubicBezTo>
                      <a:pt x="1407512" y="901273"/>
                      <a:pt x="899744" y="1391721"/>
                      <a:pt x="274653" y="1674073"/>
                    </a:cubicBezTo>
                    <a:cubicBezTo>
                      <a:pt x="207856" y="1704167"/>
                      <a:pt x="129286" y="1674412"/>
                      <a:pt x="99192" y="1607614"/>
                    </a:cubicBezTo>
                    <a:cubicBezTo>
                      <a:pt x="98314" y="1605642"/>
                      <a:pt x="97466" y="1603654"/>
                      <a:pt x="96680" y="1601651"/>
                    </a:cubicBezTo>
                    <a:lnTo>
                      <a:pt x="9158" y="1378377"/>
                    </a:lnTo>
                    <a:cubicBezTo>
                      <a:pt x="-16606" y="1312967"/>
                      <a:pt x="13319" y="1238835"/>
                      <a:pt x="77265" y="1209650"/>
                    </a:cubicBezTo>
                    <a:cubicBezTo>
                      <a:pt x="588254" y="976483"/>
                      <a:pt x="1003924" y="575237"/>
                      <a:pt x="1254965" y="72785"/>
                    </a:cubicBezTo>
                    <a:cubicBezTo>
                      <a:pt x="1286368" y="10317"/>
                      <a:pt x="1360978" y="-16895"/>
                      <a:pt x="1425233" y="10687"/>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22" name="Freeform: Shape 21">
                <a:extLst>
                  <a:ext uri="{FF2B5EF4-FFF2-40B4-BE49-F238E27FC236}">
                    <a16:creationId xmlns:a16="http://schemas.microsoft.com/office/drawing/2014/main" id="{6B2B4B0E-7ED8-94DE-A08B-2AA84B585F31}"/>
                  </a:ext>
                </a:extLst>
              </p:cNvPr>
              <p:cNvSpPr/>
              <p:nvPr/>
            </p:nvSpPr>
            <p:spPr>
              <a:xfrm>
                <a:off x="3595949" y="4534436"/>
                <a:ext cx="1517201" cy="1552761"/>
              </a:xfrm>
              <a:custGeom>
                <a:avLst/>
                <a:gdLst>
                  <a:gd name="connsiteX0" fmla="*/ 1675222 w 1686594"/>
                  <a:gd name="connsiteY0" fmla="*/ 1426098 h 1726124"/>
                  <a:gd name="connsiteX1" fmla="*/ 1579841 w 1686594"/>
                  <a:gd name="connsiteY1" fmla="*/ 1646137 h 1726124"/>
                  <a:gd name="connsiteX2" fmla="*/ 1405089 w 1686594"/>
                  <a:gd name="connsiteY2" fmla="*/ 1715030 h 1726124"/>
                  <a:gd name="connsiteX3" fmla="*/ 1399403 w 1686594"/>
                  <a:gd name="connsiteY3" fmla="*/ 1712395 h 1726124"/>
                  <a:gd name="connsiteX4" fmla="*/ 11680 w 1686594"/>
                  <a:gd name="connsiteY4" fmla="*/ 275057 h 1726124"/>
                  <a:gd name="connsiteX5" fmla="*/ 78242 w 1686594"/>
                  <a:gd name="connsiteY5" fmla="*/ 99396 h 1726124"/>
                  <a:gd name="connsiteX6" fmla="*/ 84102 w 1686594"/>
                  <a:gd name="connsiteY6" fmla="*/ 96930 h 1726124"/>
                  <a:gd name="connsiteX7" fmla="*/ 307377 w 1686594"/>
                  <a:gd name="connsiteY7" fmla="*/ 9408 h 1726124"/>
                  <a:gd name="connsiteX8" fmla="*/ 476874 w 1686594"/>
                  <a:gd name="connsiteY8" fmla="*/ 77669 h 1726124"/>
                  <a:gd name="connsiteX9" fmla="*/ 1613740 w 1686594"/>
                  <a:gd name="connsiteY9" fmla="*/ 1254443 h 1726124"/>
                  <a:gd name="connsiteX10" fmla="*/ 1675222 w 1686594"/>
                  <a:gd name="connsiteY10" fmla="*/ 1426098 h 172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6594" h="1726124">
                    <a:moveTo>
                      <a:pt x="1675222" y="1426098"/>
                    </a:moveTo>
                    <a:lnTo>
                      <a:pt x="1579841" y="1646137"/>
                    </a:lnTo>
                    <a:cubicBezTo>
                      <a:pt x="1550610" y="1713412"/>
                      <a:pt x="1472364" y="1744260"/>
                      <a:pt x="1405089" y="1715030"/>
                    </a:cubicBezTo>
                    <a:cubicBezTo>
                      <a:pt x="1403178" y="1714198"/>
                      <a:pt x="1401283" y="1713320"/>
                      <a:pt x="1399403" y="1712395"/>
                    </a:cubicBezTo>
                    <a:cubicBezTo>
                      <a:pt x="784481" y="1408255"/>
                      <a:pt x="294040" y="900287"/>
                      <a:pt x="11680" y="275057"/>
                    </a:cubicBezTo>
                    <a:cubicBezTo>
                      <a:pt x="-18445" y="208167"/>
                      <a:pt x="11355" y="129536"/>
                      <a:pt x="78242" y="99396"/>
                    </a:cubicBezTo>
                    <a:cubicBezTo>
                      <a:pt x="80174" y="98533"/>
                      <a:pt x="82130" y="97701"/>
                      <a:pt x="84102" y="96930"/>
                    </a:cubicBezTo>
                    <a:lnTo>
                      <a:pt x="307377" y="9408"/>
                    </a:lnTo>
                    <a:cubicBezTo>
                      <a:pt x="373038" y="-16833"/>
                      <a:pt x="447720" y="13245"/>
                      <a:pt x="476874" y="77669"/>
                    </a:cubicBezTo>
                    <a:cubicBezTo>
                      <a:pt x="710195" y="588335"/>
                      <a:pt x="1111426" y="1003649"/>
                      <a:pt x="1613740" y="1254443"/>
                    </a:cubicBezTo>
                    <a:cubicBezTo>
                      <a:pt x="1676655" y="1286171"/>
                      <a:pt x="1703682" y="1361643"/>
                      <a:pt x="1675222" y="1426098"/>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7" name="Freeform: Shape 6">
                <a:extLst>
                  <a:ext uri="{FF2B5EF4-FFF2-40B4-BE49-F238E27FC236}">
                    <a16:creationId xmlns:a16="http://schemas.microsoft.com/office/drawing/2014/main" id="{6A9F9DAB-59A5-F306-2D16-26F151E17422}"/>
                  </a:ext>
                </a:extLst>
              </p:cNvPr>
              <p:cNvSpPr/>
              <p:nvPr/>
            </p:nvSpPr>
            <p:spPr>
              <a:xfrm>
                <a:off x="3761488" y="1279139"/>
                <a:ext cx="2583957" cy="2231982"/>
              </a:xfrm>
              <a:custGeom>
                <a:avLst/>
                <a:gdLst>
                  <a:gd name="connsiteX0" fmla="*/ 1144809 w 2872452"/>
                  <a:gd name="connsiteY0" fmla="*/ 2474493 h 2481179"/>
                  <a:gd name="connsiteX1" fmla="*/ 2368427 w 2872452"/>
                  <a:gd name="connsiteY1" fmla="*/ 1141781 h 2481179"/>
                  <a:gd name="connsiteX2" fmla="*/ 2698639 w 2872452"/>
                  <a:gd name="connsiteY2" fmla="*/ 963963 h 2481179"/>
                  <a:gd name="connsiteX3" fmla="*/ 2729457 w 2872452"/>
                  <a:gd name="connsiteY3" fmla="*/ 928831 h 2481179"/>
                  <a:gd name="connsiteX4" fmla="*/ 2722369 w 2872452"/>
                  <a:gd name="connsiteY4" fmla="*/ 176570 h 2481179"/>
                  <a:gd name="connsiteX5" fmla="*/ 2722369 w 2872452"/>
                  <a:gd name="connsiteY5" fmla="*/ 176570 h 2481179"/>
                  <a:gd name="connsiteX6" fmla="*/ 2244694 w 2872452"/>
                  <a:gd name="connsiteY6" fmla="*/ 4608 h 2481179"/>
                  <a:gd name="connsiteX7" fmla="*/ -70 w 2872452"/>
                  <a:gd name="connsiteY7" fmla="*/ 2481119 h 2481179"/>
                  <a:gd name="connsiteX8" fmla="*/ -70 w 2872452"/>
                  <a:gd name="connsiteY8" fmla="*/ 2481119 h 2481179"/>
                  <a:gd name="connsiteX9" fmla="*/ 1140186 w 2872452"/>
                  <a:gd name="connsiteY9" fmla="*/ 2470178 h 248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2452" h="2481179">
                    <a:moveTo>
                      <a:pt x="1144809" y="2474493"/>
                    </a:moveTo>
                    <a:cubicBezTo>
                      <a:pt x="1194009" y="1800140"/>
                      <a:pt x="1700715" y="1248256"/>
                      <a:pt x="2368427" y="1141781"/>
                    </a:cubicBezTo>
                    <a:cubicBezTo>
                      <a:pt x="2495643" y="1122181"/>
                      <a:pt x="2612242" y="1059390"/>
                      <a:pt x="2698639" y="963963"/>
                    </a:cubicBezTo>
                    <a:lnTo>
                      <a:pt x="2729457" y="928831"/>
                    </a:lnTo>
                    <a:cubicBezTo>
                      <a:pt x="2922715" y="714247"/>
                      <a:pt x="2919633" y="387470"/>
                      <a:pt x="2722369" y="176570"/>
                    </a:cubicBezTo>
                    <a:lnTo>
                      <a:pt x="2722369" y="176570"/>
                    </a:lnTo>
                    <a:cubicBezTo>
                      <a:pt x="2600253" y="45475"/>
                      <a:pt x="2422343" y="-18572"/>
                      <a:pt x="2244694" y="4608"/>
                    </a:cubicBezTo>
                    <a:cubicBezTo>
                      <a:pt x="1006900" y="172102"/>
                      <a:pt x="46619" y="1214357"/>
                      <a:pt x="-70" y="2481119"/>
                    </a:cubicBezTo>
                    <a:lnTo>
                      <a:pt x="-70" y="2481119"/>
                    </a:lnTo>
                    <a:cubicBezTo>
                      <a:pt x="300557" y="2101599"/>
                      <a:pt x="837710" y="2115158"/>
                      <a:pt x="1140186" y="2470178"/>
                    </a:cubicBezTo>
                    <a:close/>
                  </a:path>
                </a:pathLst>
              </a:custGeom>
              <a:solidFill>
                <a:srgbClr val="FA854B"/>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9" name="Freeform: Shape 8">
                <a:extLst>
                  <a:ext uri="{FF2B5EF4-FFF2-40B4-BE49-F238E27FC236}">
                    <a16:creationId xmlns:a16="http://schemas.microsoft.com/office/drawing/2014/main" id="{A3D8E584-1B16-0ADA-9410-3BD6EAFF61FB}"/>
                  </a:ext>
                </a:extLst>
              </p:cNvPr>
              <p:cNvSpPr/>
              <p:nvPr/>
            </p:nvSpPr>
            <p:spPr>
              <a:xfrm>
                <a:off x="5413337" y="1377318"/>
                <a:ext cx="812270" cy="812269"/>
              </a:xfrm>
              <a:custGeom>
                <a:avLst/>
                <a:gdLst>
                  <a:gd name="connsiteX0" fmla="*/ 902960 w 902959"/>
                  <a:gd name="connsiteY0" fmla="*/ 451479 h 902958"/>
                  <a:gd name="connsiteX1" fmla="*/ 451480 w 902959"/>
                  <a:gd name="connsiteY1" fmla="*/ 902959 h 902958"/>
                  <a:gd name="connsiteX2" fmla="*/ 0 w 902959"/>
                  <a:gd name="connsiteY2" fmla="*/ 451479 h 902958"/>
                  <a:gd name="connsiteX3" fmla="*/ 451480 w 902959"/>
                  <a:gd name="connsiteY3" fmla="*/ 0 h 902958"/>
                  <a:gd name="connsiteX4" fmla="*/ 902960 w 902959"/>
                  <a:gd name="connsiteY4" fmla="*/ 451479 h 90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8">
                    <a:moveTo>
                      <a:pt x="902960" y="451479"/>
                    </a:moveTo>
                    <a:cubicBezTo>
                      <a:pt x="902960" y="700825"/>
                      <a:pt x="700825" y="902959"/>
                      <a:pt x="451480" y="902959"/>
                    </a:cubicBezTo>
                    <a:cubicBezTo>
                      <a:pt x="202134" y="902959"/>
                      <a:pt x="0" y="700825"/>
                      <a:pt x="0" y="451479"/>
                    </a:cubicBezTo>
                    <a:cubicBezTo>
                      <a:pt x="0" y="202134"/>
                      <a:pt x="202134" y="0"/>
                      <a:pt x="451480" y="0"/>
                    </a:cubicBezTo>
                    <a:cubicBezTo>
                      <a:pt x="700825" y="0"/>
                      <a:pt x="902960" y="202134"/>
                      <a:pt x="902960" y="451479"/>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1" name="Freeform: Shape 10">
                <a:extLst>
                  <a:ext uri="{FF2B5EF4-FFF2-40B4-BE49-F238E27FC236}">
                    <a16:creationId xmlns:a16="http://schemas.microsoft.com/office/drawing/2014/main" id="{2067C609-27B8-3708-38DD-7CF591A7016F}"/>
                  </a:ext>
                </a:extLst>
              </p:cNvPr>
              <p:cNvSpPr/>
              <p:nvPr/>
            </p:nvSpPr>
            <p:spPr>
              <a:xfrm>
                <a:off x="6183330" y="1263794"/>
                <a:ext cx="2231861" cy="2584636"/>
              </a:xfrm>
              <a:custGeom>
                <a:avLst/>
                <a:gdLst>
                  <a:gd name="connsiteX0" fmla="*/ 6402 w 2481044"/>
                  <a:gd name="connsiteY0" fmla="*/ 1144817 h 2873206"/>
                  <a:gd name="connsiteX1" fmla="*/ 1339115 w 2481044"/>
                  <a:gd name="connsiteY1" fmla="*/ 2368434 h 2873206"/>
                  <a:gd name="connsiteX2" fmla="*/ 1516933 w 2481044"/>
                  <a:gd name="connsiteY2" fmla="*/ 2698800 h 2873206"/>
                  <a:gd name="connsiteX3" fmla="*/ 1552065 w 2481044"/>
                  <a:gd name="connsiteY3" fmla="*/ 2730388 h 2873206"/>
                  <a:gd name="connsiteX4" fmla="*/ 2304480 w 2481044"/>
                  <a:gd name="connsiteY4" fmla="*/ 2723146 h 2873206"/>
                  <a:gd name="connsiteX5" fmla="*/ 2304480 w 2481044"/>
                  <a:gd name="connsiteY5" fmla="*/ 2723146 h 2873206"/>
                  <a:gd name="connsiteX6" fmla="*/ 2476289 w 2481044"/>
                  <a:gd name="connsiteY6" fmla="*/ 2245472 h 2873206"/>
                  <a:gd name="connsiteX7" fmla="*/ -70 w 2481044"/>
                  <a:gd name="connsiteY7" fmla="*/ -61 h 2873206"/>
                  <a:gd name="connsiteX8" fmla="*/ -70 w 2481044"/>
                  <a:gd name="connsiteY8" fmla="*/ -61 h 2873206"/>
                  <a:gd name="connsiteX9" fmla="*/ 10871 w 2481044"/>
                  <a:gd name="connsiteY9" fmla="*/ 1140195 h 287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1044" h="2873206">
                    <a:moveTo>
                      <a:pt x="6402" y="1144817"/>
                    </a:moveTo>
                    <a:cubicBezTo>
                      <a:pt x="680787" y="1193972"/>
                      <a:pt x="1232686" y="1700692"/>
                      <a:pt x="1339115" y="2368434"/>
                    </a:cubicBezTo>
                    <a:cubicBezTo>
                      <a:pt x="1358761" y="2495681"/>
                      <a:pt x="1421537" y="2612326"/>
                      <a:pt x="1516933" y="2698800"/>
                    </a:cubicBezTo>
                    <a:lnTo>
                      <a:pt x="1552065" y="2730388"/>
                    </a:lnTo>
                    <a:cubicBezTo>
                      <a:pt x="1766788" y="2923477"/>
                      <a:pt x="2093518" y="2920333"/>
                      <a:pt x="2304480" y="2723146"/>
                    </a:cubicBezTo>
                    <a:lnTo>
                      <a:pt x="2304480" y="2723146"/>
                    </a:lnTo>
                    <a:cubicBezTo>
                      <a:pt x="2435518" y="2601000"/>
                      <a:pt x="2499510" y="2423105"/>
                      <a:pt x="2476289" y="2245472"/>
                    </a:cubicBezTo>
                    <a:cubicBezTo>
                      <a:pt x="2308949" y="1007062"/>
                      <a:pt x="1266539" y="46628"/>
                      <a:pt x="-70" y="-61"/>
                    </a:cubicBezTo>
                    <a:lnTo>
                      <a:pt x="-70" y="-61"/>
                    </a:lnTo>
                    <a:cubicBezTo>
                      <a:pt x="323517" y="217050"/>
                      <a:pt x="429530" y="827395"/>
                      <a:pt x="10871" y="1140195"/>
                    </a:cubicBezTo>
                    <a:close/>
                  </a:path>
                </a:pathLst>
              </a:custGeom>
              <a:solidFill>
                <a:schemeClr val="accent6"/>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3" name="Freeform: Shape 12">
                <a:extLst>
                  <a:ext uri="{FF2B5EF4-FFF2-40B4-BE49-F238E27FC236}">
                    <a16:creationId xmlns:a16="http://schemas.microsoft.com/office/drawing/2014/main" id="{9F023184-E144-129C-4B79-9E46444BF337}"/>
                  </a:ext>
                </a:extLst>
              </p:cNvPr>
              <p:cNvSpPr/>
              <p:nvPr/>
            </p:nvSpPr>
            <p:spPr>
              <a:xfrm>
                <a:off x="7504726" y="2915641"/>
                <a:ext cx="812270" cy="812269"/>
              </a:xfrm>
              <a:custGeom>
                <a:avLst/>
                <a:gdLst>
                  <a:gd name="connsiteX0" fmla="*/ 902959 w 902959"/>
                  <a:gd name="connsiteY0" fmla="*/ 451479 h 902958"/>
                  <a:gd name="connsiteX1" fmla="*/ 451480 w 902959"/>
                  <a:gd name="connsiteY1" fmla="*/ 902959 h 902958"/>
                  <a:gd name="connsiteX2" fmla="*/ 0 w 902959"/>
                  <a:gd name="connsiteY2" fmla="*/ 451479 h 902958"/>
                  <a:gd name="connsiteX3" fmla="*/ 451480 w 902959"/>
                  <a:gd name="connsiteY3" fmla="*/ 0 h 902958"/>
                  <a:gd name="connsiteX4" fmla="*/ 902959 w 902959"/>
                  <a:gd name="connsiteY4" fmla="*/ 451479 h 90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8">
                    <a:moveTo>
                      <a:pt x="902959" y="451479"/>
                    </a:moveTo>
                    <a:cubicBezTo>
                      <a:pt x="902959" y="700825"/>
                      <a:pt x="700825" y="902959"/>
                      <a:pt x="451480" y="902959"/>
                    </a:cubicBezTo>
                    <a:cubicBezTo>
                      <a:pt x="202134" y="902959"/>
                      <a:pt x="0" y="700825"/>
                      <a:pt x="0" y="451479"/>
                    </a:cubicBezTo>
                    <a:cubicBezTo>
                      <a:pt x="0" y="202134"/>
                      <a:pt x="202134" y="0"/>
                      <a:pt x="451480" y="0"/>
                    </a:cubicBezTo>
                    <a:cubicBezTo>
                      <a:pt x="700825" y="0"/>
                      <a:pt x="902959" y="202134"/>
                      <a:pt x="902959" y="451479"/>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5" name="Freeform: Shape 14">
                <a:extLst>
                  <a:ext uri="{FF2B5EF4-FFF2-40B4-BE49-F238E27FC236}">
                    <a16:creationId xmlns:a16="http://schemas.microsoft.com/office/drawing/2014/main" id="{9E1228EF-BDF1-708E-3F21-045211BE91F2}"/>
                  </a:ext>
                </a:extLst>
              </p:cNvPr>
              <p:cNvSpPr/>
              <p:nvPr/>
            </p:nvSpPr>
            <p:spPr>
              <a:xfrm>
                <a:off x="5845893" y="3686327"/>
                <a:ext cx="2584489" cy="2231916"/>
              </a:xfrm>
              <a:custGeom>
                <a:avLst/>
                <a:gdLst>
                  <a:gd name="connsiteX0" fmla="*/ 1728249 w 2873043"/>
                  <a:gd name="connsiteY0" fmla="*/ 5795 h 2481106"/>
                  <a:gd name="connsiteX1" fmla="*/ 504631 w 2873043"/>
                  <a:gd name="connsiteY1" fmla="*/ 1338353 h 2481106"/>
                  <a:gd name="connsiteX2" fmla="*/ 174419 w 2873043"/>
                  <a:gd name="connsiteY2" fmla="*/ 1516325 h 2481106"/>
                  <a:gd name="connsiteX3" fmla="*/ 142677 w 2873043"/>
                  <a:gd name="connsiteY3" fmla="*/ 1552227 h 2481106"/>
                  <a:gd name="connsiteX4" fmla="*/ 149919 w 2873043"/>
                  <a:gd name="connsiteY4" fmla="*/ 2304488 h 2481106"/>
                  <a:gd name="connsiteX5" fmla="*/ 149919 w 2873043"/>
                  <a:gd name="connsiteY5" fmla="*/ 2304488 h 2481106"/>
                  <a:gd name="connsiteX6" fmla="*/ 627594 w 2873043"/>
                  <a:gd name="connsiteY6" fmla="*/ 2476296 h 2481106"/>
                  <a:gd name="connsiteX7" fmla="*/ 2872974 w 2873043"/>
                  <a:gd name="connsiteY7" fmla="*/ -61 h 2481106"/>
                  <a:gd name="connsiteX8" fmla="*/ 2872974 w 2873043"/>
                  <a:gd name="connsiteY8" fmla="*/ -61 h 2481106"/>
                  <a:gd name="connsiteX9" fmla="*/ 1732718 w 2873043"/>
                  <a:gd name="connsiteY9" fmla="*/ 10880 h 2481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3043" h="2481106">
                    <a:moveTo>
                      <a:pt x="1728249" y="5795"/>
                    </a:moveTo>
                    <a:cubicBezTo>
                      <a:pt x="1679095" y="680133"/>
                      <a:pt x="1172344" y="1232000"/>
                      <a:pt x="504631" y="1338353"/>
                    </a:cubicBezTo>
                    <a:cubicBezTo>
                      <a:pt x="377369" y="1357953"/>
                      <a:pt x="260755" y="1420805"/>
                      <a:pt x="174419" y="1516325"/>
                    </a:cubicBezTo>
                    <a:lnTo>
                      <a:pt x="142677" y="1552227"/>
                    </a:lnTo>
                    <a:cubicBezTo>
                      <a:pt x="-50396" y="1766904"/>
                      <a:pt x="-47253" y="2093571"/>
                      <a:pt x="149919" y="2304488"/>
                    </a:cubicBezTo>
                    <a:lnTo>
                      <a:pt x="149919" y="2304488"/>
                    </a:lnTo>
                    <a:cubicBezTo>
                      <a:pt x="271957" y="2435679"/>
                      <a:pt x="449945" y="2499703"/>
                      <a:pt x="627594" y="2476296"/>
                    </a:cubicBezTo>
                    <a:cubicBezTo>
                      <a:pt x="1866004" y="2308956"/>
                      <a:pt x="2826285" y="1266701"/>
                      <a:pt x="2872974" y="-61"/>
                    </a:cubicBezTo>
                    <a:lnTo>
                      <a:pt x="2872974" y="-61"/>
                    </a:lnTo>
                    <a:cubicBezTo>
                      <a:pt x="2600237" y="411048"/>
                      <a:pt x="2006225" y="383928"/>
                      <a:pt x="1732718" y="10880"/>
                    </a:cubicBezTo>
                    <a:close/>
                  </a:path>
                </a:pathLst>
              </a:custGeom>
              <a:solidFill>
                <a:srgbClr val="F7C84F"/>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8" name="Freeform: Shape 17">
                <a:extLst>
                  <a:ext uri="{FF2B5EF4-FFF2-40B4-BE49-F238E27FC236}">
                    <a16:creationId xmlns:a16="http://schemas.microsoft.com/office/drawing/2014/main" id="{9D885BBD-147B-F963-EB91-710A7E55B0BB}"/>
                  </a:ext>
                </a:extLst>
              </p:cNvPr>
              <p:cNvSpPr/>
              <p:nvPr/>
            </p:nvSpPr>
            <p:spPr>
              <a:xfrm>
                <a:off x="5966401" y="5007029"/>
                <a:ext cx="812270" cy="812269"/>
              </a:xfrm>
              <a:custGeom>
                <a:avLst/>
                <a:gdLst>
                  <a:gd name="connsiteX0" fmla="*/ 902959 w 902959"/>
                  <a:gd name="connsiteY0" fmla="*/ 451480 h 902958"/>
                  <a:gd name="connsiteX1" fmla="*/ 451480 w 902959"/>
                  <a:gd name="connsiteY1" fmla="*/ 902959 h 902958"/>
                  <a:gd name="connsiteX2" fmla="*/ 0 w 902959"/>
                  <a:gd name="connsiteY2" fmla="*/ 451480 h 902958"/>
                  <a:gd name="connsiteX3" fmla="*/ 451480 w 902959"/>
                  <a:gd name="connsiteY3" fmla="*/ 0 h 902958"/>
                  <a:gd name="connsiteX4" fmla="*/ 902959 w 902959"/>
                  <a:gd name="connsiteY4" fmla="*/ 451480 h 90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8">
                    <a:moveTo>
                      <a:pt x="902959" y="451480"/>
                    </a:moveTo>
                    <a:cubicBezTo>
                      <a:pt x="902959" y="700825"/>
                      <a:pt x="700825" y="902959"/>
                      <a:pt x="451480" y="902959"/>
                    </a:cubicBezTo>
                    <a:cubicBezTo>
                      <a:pt x="202134" y="902959"/>
                      <a:pt x="0" y="700825"/>
                      <a:pt x="0" y="451480"/>
                    </a:cubicBezTo>
                    <a:cubicBezTo>
                      <a:pt x="0" y="202134"/>
                      <a:pt x="202134" y="0"/>
                      <a:pt x="451480" y="0"/>
                    </a:cubicBezTo>
                    <a:cubicBezTo>
                      <a:pt x="700825" y="0"/>
                      <a:pt x="902959" y="202134"/>
                      <a:pt x="902959" y="451480"/>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20" name="Freeform: Shape 19">
                <a:extLst>
                  <a:ext uri="{FF2B5EF4-FFF2-40B4-BE49-F238E27FC236}">
                    <a16:creationId xmlns:a16="http://schemas.microsoft.com/office/drawing/2014/main" id="{97A26069-93A6-E07F-25FE-8893DAF1B0AF}"/>
                  </a:ext>
                </a:extLst>
              </p:cNvPr>
              <p:cNvSpPr/>
              <p:nvPr/>
            </p:nvSpPr>
            <p:spPr>
              <a:xfrm>
                <a:off x="3777177" y="3348273"/>
                <a:ext cx="2231501" cy="2584549"/>
              </a:xfrm>
              <a:custGeom>
                <a:avLst/>
                <a:gdLst>
                  <a:gd name="connsiteX0" fmla="*/ 2474103 w 2480644"/>
                  <a:gd name="connsiteY0" fmla="*/ 1727710 h 2873110"/>
                  <a:gd name="connsiteX1" fmla="*/ 1141390 w 2480644"/>
                  <a:gd name="connsiteY1" fmla="*/ 504247 h 2873110"/>
                  <a:gd name="connsiteX2" fmla="*/ 963572 w 2480644"/>
                  <a:gd name="connsiteY2" fmla="*/ 173881 h 2873110"/>
                  <a:gd name="connsiteX3" fmla="*/ 928902 w 2480644"/>
                  <a:gd name="connsiteY3" fmla="*/ 142755 h 2873110"/>
                  <a:gd name="connsiteX4" fmla="*/ 176487 w 2480644"/>
                  <a:gd name="connsiteY4" fmla="*/ 149998 h 2873110"/>
                  <a:gd name="connsiteX5" fmla="*/ 176487 w 2480644"/>
                  <a:gd name="connsiteY5" fmla="*/ 149998 h 2873110"/>
                  <a:gd name="connsiteX6" fmla="*/ 4678 w 2480644"/>
                  <a:gd name="connsiteY6" fmla="*/ 627672 h 2873110"/>
                  <a:gd name="connsiteX7" fmla="*/ 2480575 w 2480644"/>
                  <a:gd name="connsiteY7" fmla="*/ 2873050 h 2873110"/>
                  <a:gd name="connsiteX8" fmla="*/ 2480575 w 2480644"/>
                  <a:gd name="connsiteY8" fmla="*/ 2873050 h 2873110"/>
                  <a:gd name="connsiteX9" fmla="*/ 2469635 w 2480644"/>
                  <a:gd name="connsiteY9" fmla="*/ 1732795 h 287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0644" h="2873110">
                    <a:moveTo>
                      <a:pt x="2474103" y="1727710"/>
                    </a:moveTo>
                    <a:cubicBezTo>
                      <a:pt x="1799750" y="1678633"/>
                      <a:pt x="1247820" y="1171959"/>
                      <a:pt x="1141390" y="504247"/>
                    </a:cubicBezTo>
                    <a:cubicBezTo>
                      <a:pt x="1121790" y="376985"/>
                      <a:pt x="1058999" y="260340"/>
                      <a:pt x="963572" y="173881"/>
                    </a:cubicBezTo>
                    <a:lnTo>
                      <a:pt x="928902" y="142755"/>
                    </a:lnTo>
                    <a:cubicBezTo>
                      <a:pt x="714210" y="-50410"/>
                      <a:pt x="387419" y="-47267"/>
                      <a:pt x="176487" y="149998"/>
                    </a:cubicBezTo>
                    <a:lnTo>
                      <a:pt x="176487" y="149998"/>
                    </a:lnTo>
                    <a:cubicBezTo>
                      <a:pt x="45295" y="272036"/>
                      <a:pt x="-18723" y="450023"/>
                      <a:pt x="4678" y="627672"/>
                    </a:cubicBezTo>
                    <a:cubicBezTo>
                      <a:pt x="171556" y="1866390"/>
                      <a:pt x="1213966" y="2826361"/>
                      <a:pt x="2480575" y="2873050"/>
                    </a:cubicBezTo>
                    <a:lnTo>
                      <a:pt x="2480575" y="2873050"/>
                    </a:lnTo>
                    <a:cubicBezTo>
                      <a:pt x="2095353" y="2700009"/>
                      <a:pt x="2013840" y="2006148"/>
                      <a:pt x="2469635" y="1732795"/>
                    </a:cubicBezTo>
                    <a:close/>
                  </a:path>
                </a:pathLst>
              </a:custGeom>
              <a:solidFill>
                <a:schemeClr val="accent2"/>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23" name="Freeform: Shape 22">
                <a:extLst>
                  <a:ext uri="{FF2B5EF4-FFF2-40B4-BE49-F238E27FC236}">
                    <a16:creationId xmlns:a16="http://schemas.microsoft.com/office/drawing/2014/main" id="{3CDD3D54-C492-F7CB-ACD4-266AF934EB71}"/>
                  </a:ext>
                </a:extLst>
              </p:cNvPr>
              <p:cNvSpPr/>
              <p:nvPr/>
            </p:nvSpPr>
            <p:spPr>
              <a:xfrm rot="20224201">
                <a:off x="3874982" y="3468791"/>
                <a:ext cx="812270" cy="812270"/>
              </a:xfrm>
              <a:custGeom>
                <a:avLst/>
                <a:gdLst>
                  <a:gd name="connsiteX0" fmla="*/ 902890 w 902959"/>
                  <a:gd name="connsiteY0" fmla="*/ 451419 h 902959"/>
                  <a:gd name="connsiteX1" fmla="*/ 451410 w 902959"/>
                  <a:gd name="connsiteY1" fmla="*/ 902898 h 902959"/>
                  <a:gd name="connsiteX2" fmla="*/ -70 w 902959"/>
                  <a:gd name="connsiteY2" fmla="*/ 451419 h 902959"/>
                  <a:gd name="connsiteX3" fmla="*/ 451410 w 902959"/>
                  <a:gd name="connsiteY3" fmla="*/ -61 h 902959"/>
                  <a:gd name="connsiteX4" fmla="*/ 902890 w 902959"/>
                  <a:gd name="connsiteY4" fmla="*/ 451419 h 902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9">
                    <a:moveTo>
                      <a:pt x="902890" y="451419"/>
                    </a:moveTo>
                    <a:cubicBezTo>
                      <a:pt x="902890" y="700764"/>
                      <a:pt x="700756" y="902898"/>
                      <a:pt x="451410" y="902898"/>
                    </a:cubicBezTo>
                    <a:cubicBezTo>
                      <a:pt x="202065" y="902898"/>
                      <a:pt x="-70" y="700764"/>
                      <a:pt x="-70" y="451419"/>
                    </a:cubicBezTo>
                    <a:cubicBezTo>
                      <a:pt x="-70" y="202074"/>
                      <a:pt x="202065" y="-61"/>
                      <a:pt x="451410" y="-61"/>
                    </a:cubicBezTo>
                    <a:cubicBezTo>
                      <a:pt x="700756" y="-61"/>
                      <a:pt x="902890" y="202074"/>
                      <a:pt x="902890" y="451419"/>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26" name="Rectangle 25">
                <a:extLst>
                  <a:ext uri="{FF2B5EF4-FFF2-40B4-BE49-F238E27FC236}">
                    <a16:creationId xmlns:a16="http://schemas.microsoft.com/office/drawing/2014/main" id="{8C0C1B83-C34E-2D7A-8CDE-4207B3A275AB}"/>
                  </a:ext>
                </a:extLst>
              </p:cNvPr>
              <p:cNvSpPr/>
              <p:nvPr/>
            </p:nvSpPr>
            <p:spPr>
              <a:xfrm>
                <a:off x="8732577" y="1858458"/>
                <a:ext cx="2418023" cy="1277273"/>
              </a:xfrm>
              <a:prstGeom prst="rect">
                <a:avLst/>
              </a:prstGeom>
            </p:spPr>
            <p:txBody>
              <a:bodyPr wrap="square" lIns="91440" tIns="45720" rIns="91440" bIns="45720" anchor="t">
                <a:spAutoFit/>
              </a:bodyPr>
              <a:lstStyle/>
              <a:p>
                <a:pPr marL="285750" indent="-285750">
                  <a:spcBef>
                    <a:spcPts val="600"/>
                  </a:spcBef>
                  <a:buFont typeface="Arial"/>
                  <a:buChar char="•"/>
                </a:pPr>
                <a:r>
                  <a:rPr lang="en-US" sz="1200">
                    <a:solidFill>
                      <a:schemeClr val="tx1">
                        <a:lumMod val="75000"/>
                        <a:lumOff val="25000"/>
                      </a:schemeClr>
                    </a:solidFill>
                    <a:latin typeface="Verdana Pro"/>
                    <a:ea typeface="+mn-lt"/>
                    <a:cs typeface="+mn-lt"/>
                  </a:rPr>
                  <a:t>Log Impact Analysis (Service outages , User experience issues etc..)</a:t>
                </a:r>
              </a:p>
              <a:p>
                <a:pPr marL="285750" indent="-285750">
                  <a:spcBef>
                    <a:spcPts val="600"/>
                  </a:spcBef>
                  <a:buFont typeface="Arial"/>
                  <a:buChar char="•"/>
                </a:pPr>
                <a:r>
                  <a:rPr lang="en-US" sz="1200">
                    <a:solidFill>
                      <a:schemeClr val="tx1">
                        <a:lumMod val="75000"/>
                        <a:lumOff val="25000"/>
                      </a:schemeClr>
                    </a:solidFill>
                    <a:latin typeface="Verdana Pro"/>
                    <a:ea typeface="+mn-lt"/>
                    <a:cs typeface="+mn-lt"/>
                  </a:rPr>
                  <a:t>Tag logs based on these analyses for better context</a:t>
                </a:r>
              </a:p>
            </p:txBody>
          </p:sp>
          <p:pic>
            <p:nvPicPr>
              <p:cNvPr id="27" name="Picture 26">
                <a:extLst>
                  <a:ext uri="{FF2B5EF4-FFF2-40B4-BE49-F238E27FC236}">
                    <a16:creationId xmlns:a16="http://schemas.microsoft.com/office/drawing/2014/main" id="{D6AA7B1A-4E4B-3FE0-A43B-733A49B87E7B}"/>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576478" y="1540459"/>
                <a:ext cx="485988" cy="485986"/>
              </a:xfrm>
              <a:prstGeom prst="rect">
                <a:avLst/>
              </a:prstGeom>
            </p:spPr>
          </p:pic>
          <p:sp>
            <p:nvSpPr>
              <p:cNvPr id="28" name="Rectangle 27">
                <a:extLst>
                  <a:ext uri="{FF2B5EF4-FFF2-40B4-BE49-F238E27FC236}">
                    <a16:creationId xmlns:a16="http://schemas.microsoft.com/office/drawing/2014/main" id="{CB9586E9-8D65-F885-A1ED-2F81FC49FBBC}"/>
                  </a:ext>
                </a:extLst>
              </p:cNvPr>
              <p:cNvSpPr/>
              <p:nvPr/>
            </p:nvSpPr>
            <p:spPr>
              <a:xfrm>
                <a:off x="4172200" y="1972563"/>
                <a:ext cx="1379050" cy="830997"/>
              </a:xfrm>
              <a:prstGeom prst="rect">
                <a:avLst/>
              </a:prstGeom>
            </p:spPr>
            <p:txBody>
              <a:bodyPr wrap="square" lIns="91440" tIns="45720" rIns="91440" bIns="45720" anchor="t">
                <a:spAutoFit/>
              </a:bodyPr>
              <a:lstStyle/>
              <a:p>
                <a:pPr algn="ctr"/>
                <a:r>
                  <a:rPr lang="en-US" sz="1600" b="1">
                    <a:solidFill>
                      <a:schemeClr val="bg1"/>
                    </a:solidFill>
                    <a:latin typeface="Lora"/>
                  </a:rPr>
                  <a:t>Data Dog</a:t>
                </a:r>
                <a:endParaRPr lang="en-US" sz="1600">
                  <a:solidFill>
                    <a:schemeClr val="bg1"/>
                  </a:solidFill>
                  <a:cs typeface="Arial"/>
                </a:endParaRPr>
              </a:p>
              <a:p>
                <a:pPr algn="ctr"/>
                <a:r>
                  <a:rPr lang="en-US" sz="1600" b="1">
                    <a:solidFill>
                      <a:schemeClr val="bg1"/>
                    </a:solidFill>
                    <a:latin typeface="Lora"/>
                  </a:rPr>
                  <a:t>Limitation </a:t>
                </a:r>
                <a:endParaRPr lang="en-US" sz="1600">
                  <a:solidFill>
                    <a:schemeClr val="bg1"/>
                  </a:solidFill>
                  <a:cs typeface="Arial"/>
                </a:endParaRPr>
              </a:p>
              <a:p>
                <a:pPr algn="ctr"/>
                <a:endParaRPr lang="en-US" sz="1600" b="1">
                  <a:solidFill>
                    <a:schemeClr val="bg1"/>
                  </a:solidFill>
                  <a:latin typeface="Lora" pitchFamily="2" charset="0"/>
                </a:endParaRPr>
              </a:p>
            </p:txBody>
          </p:sp>
          <p:pic>
            <p:nvPicPr>
              <p:cNvPr id="29" name="Picture 28">
                <a:extLst>
                  <a:ext uri="{FF2B5EF4-FFF2-40B4-BE49-F238E27FC236}">
                    <a16:creationId xmlns:a16="http://schemas.microsoft.com/office/drawing/2014/main" id="{C33B1C3A-4E84-EF2A-F618-EA3F8244E183}"/>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128505" y="5169132"/>
                <a:ext cx="488062" cy="488062"/>
              </a:xfrm>
              <a:prstGeom prst="rect">
                <a:avLst/>
              </a:prstGeom>
            </p:spPr>
          </p:pic>
          <p:sp>
            <p:nvSpPr>
              <p:cNvPr id="30" name="Rectangle 29">
                <a:extLst>
                  <a:ext uri="{FF2B5EF4-FFF2-40B4-BE49-F238E27FC236}">
                    <a16:creationId xmlns:a16="http://schemas.microsoft.com/office/drawing/2014/main" id="{60A2BDFC-F9FF-969D-7066-07D1C6DC9A8C}"/>
                  </a:ext>
                </a:extLst>
              </p:cNvPr>
              <p:cNvSpPr/>
              <p:nvPr/>
            </p:nvSpPr>
            <p:spPr>
              <a:xfrm>
                <a:off x="8718071" y="4464264"/>
                <a:ext cx="3006036" cy="1092607"/>
              </a:xfrm>
              <a:prstGeom prst="rect">
                <a:avLst/>
              </a:prstGeom>
            </p:spPr>
            <p:txBody>
              <a:bodyPr wrap="square" lIns="91440" tIns="45720" rIns="91440" bIns="45720" anchor="t">
                <a:spAutoFit/>
              </a:bodyPr>
              <a:lstStyle/>
              <a:p>
                <a:pPr marL="285750" indent="-285750">
                  <a:spcBef>
                    <a:spcPts val="600"/>
                  </a:spcBef>
                  <a:buFont typeface="Arial"/>
                  <a:buChar char="•"/>
                </a:pPr>
                <a:r>
                  <a:rPr lang="en-US" sz="1200">
                    <a:solidFill>
                      <a:schemeClr val="tx1">
                        <a:lumMod val="75000"/>
                        <a:lumOff val="25000"/>
                      </a:schemeClr>
                    </a:solidFill>
                    <a:latin typeface="Verdana Pro"/>
                    <a:ea typeface="+mn-lt"/>
                    <a:cs typeface="+mn-lt"/>
                  </a:rPr>
                  <a:t>Enables context-aware categories that go beyond basic severity levels</a:t>
                </a:r>
              </a:p>
              <a:p>
                <a:pPr marL="285750" indent="-285750">
                  <a:spcBef>
                    <a:spcPts val="600"/>
                  </a:spcBef>
                  <a:buFont typeface="Arial"/>
                  <a:buChar char="•"/>
                </a:pPr>
                <a:r>
                  <a:rPr lang="en-US" sz="1200">
                    <a:solidFill>
                      <a:schemeClr val="tx1">
                        <a:lumMod val="75000"/>
                        <a:lumOff val="25000"/>
                      </a:schemeClr>
                    </a:solidFill>
                    <a:latin typeface="Verdana Pro"/>
                    <a:ea typeface="+mn-lt"/>
                    <a:cs typeface="+mn-lt"/>
                  </a:rPr>
                  <a:t>Provides direct insights within logs </a:t>
                </a:r>
                <a:r>
                  <a:rPr lang="en-US" sz="1200" b="0" i="0">
                    <a:solidFill>
                      <a:schemeClr val="tx1">
                        <a:lumMod val="75000"/>
                        <a:lumOff val="25000"/>
                      </a:schemeClr>
                    </a:solidFill>
                    <a:effectLst/>
                    <a:latin typeface="Verdana Pro"/>
                    <a:ea typeface="+mn-lt"/>
                    <a:cs typeface="+mn-lt"/>
                  </a:rPr>
                  <a:t>for</a:t>
                </a:r>
                <a:r>
                  <a:rPr lang="en-US" sz="1200">
                    <a:solidFill>
                      <a:schemeClr val="tx1">
                        <a:lumMod val="75000"/>
                        <a:lumOff val="25000"/>
                      </a:schemeClr>
                    </a:solidFill>
                    <a:latin typeface="Verdana Pro"/>
                    <a:ea typeface="+mn-lt"/>
                    <a:cs typeface="+mn-lt"/>
                  </a:rPr>
                  <a:t> quicker resolutions</a:t>
                </a:r>
                <a:endParaRPr lang="en-US" sz="1200">
                  <a:solidFill>
                    <a:schemeClr val="tx1">
                      <a:lumMod val="75000"/>
                      <a:lumOff val="25000"/>
                    </a:schemeClr>
                  </a:solidFill>
                  <a:latin typeface="Verdana Pro"/>
                  <a:cs typeface="Arial"/>
                </a:endParaRPr>
              </a:p>
            </p:txBody>
          </p:sp>
          <p:sp>
            <p:nvSpPr>
              <p:cNvPr id="31" name="Rectangle 30">
                <a:extLst>
                  <a:ext uri="{FF2B5EF4-FFF2-40B4-BE49-F238E27FC236}">
                    <a16:creationId xmlns:a16="http://schemas.microsoft.com/office/drawing/2014/main" id="{C955208D-028A-8B31-86E0-AB9FE62D2F05}"/>
                  </a:ext>
                </a:extLst>
              </p:cNvPr>
              <p:cNvSpPr/>
              <p:nvPr/>
            </p:nvSpPr>
            <p:spPr>
              <a:xfrm>
                <a:off x="616226" y="4077898"/>
                <a:ext cx="2948237" cy="1538883"/>
              </a:xfrm>
              <a:prstGeom prst="rect">
                <a:avLst/>
              </a:prstGeom>
            </p:spPr>
            <p:txBody>
              <a:bodyPr wrap="square" lIns="91440" tIns="45720" rIns="91440" bIns="45720" anchor="t">
                <a:spAutoFit/>
              </a:bodyPr>
              <a:lstStyle/>
              <a:p>
                <a:pPr>
                  <a:spcBef>
                    <a:spcPts val="600"/>
                  </a:spcBef>
                </a:pPr>
                <a:r>
                  <a:rPr lang="en-US" sz="1200" b="1">
                    <a:solidFill>
                      <a:schemeClr val="tx1">
                        <a:lumMod val="75000"/>
                        <a:lumOff val="25000"/>
                      </a:schemeClr>
                    </a:solidFill>
                    <a:latin typeface="Verdana Pro"/>
                    <a:ea typeface="+mn-lt"/>
                    <a:cs typeface="+mn-lt"/>
                  </a:rPr>
                  <a:t>Azure Cognitive Services</a:t>
                </a:r>
              </a:p>
              <a:p>
                <a:pPr marL="285750" indent="-285750">
                  <a:spcBef>
                    <a:spcPts val="600"/>
                  </a:spcBef>
                  <a:buFont typeface="Arial"/>
                  <a:buChar char="•"/>
                </a:pPr>
                <a:r>
                  <a:rPr lang="en-US" sz="1200">
                    <a:solidFill>
                      <a:schemeClr val="tx1">
                        <a:lumMod val="75000"/>
                        <a:lumOff val="25000"/>
                      </a:schemeClr>
                    </a:solidFill>
                    <a:latin typeface="Verdana Pro"/>
                    <a:ea typeface="+mn-lt"/>
                    <a:cs typeface="+mn-lt"/>
                  </a:rPr>
                  <a:t>Implement custom log categories (e.g., Cache Error, Server Error, Connection Error)</a:t>
                </a:r>
              </a:p>
              <a:p>
                <a:pPr marL="285750" indent="-285750">
                  <a:spcBef>
                    <a:spcPts val="600"/>
                  </a:spcBef>
                  <a:buFont typeface="Arial"/>
                  <a:buChar char="•"/>
                </a:pPr>
                <a:r>
                  <a:rPr lang="en-US" sz="1200">
                    <a:solidFill>
                      <a:schemeClr val="tx1">
                        <a:lumMod val="75000"/>
                        <a:lumOff val="25000"/>
                      </a:schemeClr>
                    </a:solidFill>
                    <a:latin typeface="Verdana Pro"/>
                    <a:ea typeface="+mn-lt"/>
                    <a:cs typeface="+mn-lt"/>
                  </a:rPr>
                  <a:t>Analyze the specific content of log messages for enhanced categorization</a:t>
                </a:r>
              </a:p>
            </p:txBody>
          </p:sp>
          <p:pic>
            <p:nvPicPr>
              <p:cNvPr id="32" name="Picture 31">
                <a:extLst>
                  <a:ext uri="{FF2B5EF4-FFF2-40B4-BE49-F238E27FC236}">
                    <a16:creationId xmlns:a16="http://schemas.microsoft.com/office/drawing/2014/main" id="{1892FBDD-8899-DAEC-9D04-10A8306A119B}"/>
                  </a:ext>
                </a:extLst>
              </p:cNvPr>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660191" y="3071106"/>
                <a:ext cx="501340" cy="501338"/>
              </a:xfrm>
              <a:prstGeom prst="rect">
                <a:avLst/>
              </a:prstGeom>
            </p:spPr>
          </p:pic>
          <p:pic>
            <p:nvPicPr>
              <p:cNvPr id="33" name="Picture 32">
                <a:extLst>
                  <a:ext uri="{FF2B5EF4-FFF2-40B4-BE49-F238E27FC236}">
                    <a16:creationId xmlns:a16="http://schemas.microsoft.com/office/drawing/2014/main" id="{C8B122D2-D20F-FF87-2340-766988ECF62F}"/>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079672" y="3673482"/>
                <a:ext cx="402890" cy="402888"/>
              </a:xfrm>
              <a:prstGeom prst="rect">
                <a:avLst/>
              </a:prstGeom>
            </p:spPr>
          </p:pic>
          <p:sp>
            <p:nvSpPr>
              <p:cNvPr id="35" name="TextBox 34">
                <a:extLst>
                  <a:ext uri="{FF2B5EF4-FFF2-40B4-BE49-F238E27FC236}">
                    <a16:creationId xmlns:a16="http://schemas.microsoft.com/office/drawing/2014/main" id="{8A58E8A2-5C40-1001-EFC1-3B96CA6E39E7}"/>
                  </a:ext>
                </a:extLst>
              </p:cNvPr>
              <p:cNvSpPr txBox="1"/>
              <p:nvPr/>
            </p:nvSpPr>
            <p:spPr>
              <a:xfrm>
                <a:off x="620615" y="1888537"/>
                <a:ext cx="2959027" cy="1092607"/>
              </a:xfrm>
              <a:prstGeom prst="rect">
                <a:avLst/>
              </a:prstGeom>
              <a:noFill/>
            </p:spPr>
            <p:txBody>
              <a:bodyPr wrap="square" lIns="91440" tIns="45720" rIns="91440" bIns="45720" anchor="t">
                <a:spAutoFit/>
              </a:bodyPr>
              <a:lstStyle/>
              <a:p>
                <a:pPr marL="171450" indent="-171450">
                  <a:spcBef>
                    <a:spcPts val="600"/>
                  </a:spcBef>
                  <a:buFont typeface="Arial"/>
                  <a:buChar char="•"/>
                </a:pPr>
                <a:r>
                  <a:rPr lang="en-US" sz="1200">
                    <a:solidFill>
                      <a:schemeClr val="tx1">
                        <a:lumMod val="75000"/>
                        <a:lumOff val="25000"/>
                      </a:schemeClr>
                    </a:solidFill>
                    <a:latin typeface="Verdana Pro"/>
                    <a:ea typeface="+mn-lt"/>
                    <a:cs typeface="+mn-lt"/>
                  </a:rPr>
                  <a:t>Logs are tagged only by severity levels (Error, Warning, Info)</a:t>
                </a:r>
              </a:p>
              <a:p>
                <a:pPr marL="171450" indent="-171450">
                  <a:spcBef>
                    <a:spcPts val="600"/>
                  </a:spcBef>
                  <a:buFont typeface="Arial"/>
                  <a:buChar char="•"/>
                </a:pPr>
                <a:r>
                  <a:rPr lang="en-US" sz="1200">
                    <a:solidFill>
                      <a:schemeClr val="tx1">
                        <a:lumMod val="75000"/>
                        <a:lumOff val="25000"/>
                      </a:schemeClr>
                    </a:solidFill>
                    <a:latin typeface="Verdana Pro"/>
                    <a:ea typeface="+mn-lt"/>
                    <a:cs typeface="+mn-lt"/>
                  </a:rPr>
                  <a:t>Lack of Context: No in-depth understanding of the impact or context of log messages</a:t>
                </a:r>
              </a:p>
            </p:txBody>
          </p:sp>
          <p:sp>
            <p:nvSpPr>
              <p:cNvPr id="36" name="Rectangle 35">
                <a:extLst>
                  <a:ext uri="{FF2B5EF4-FFF2-40B4-BE49-F238E27FC236}">
                    <a16:creationId xmlns:a16="http://schemas.microsoft.com/office/drawing/2014/main" id="{B5D674C2-2687-08CC-E2AC-51F9698EDB02}"/>
                  </a:ext>
                </a:extLst>
              </p:cNvPr>
              <p:cNvSpPr/>
              <p:nvPr/>
            </p:nvSpPr>
            <p:spPr>
              <a:xfrm>
                <a:off x="6842171" y="2265640"/>
                <a:ext cx="1203204" cy="369332"/>
              </a:xfrm>
              <a:prstGeom prst="rect">
                <a:avLst/>
              </a:prstGeom>
            </p:spPr>
            <p:txBody>
              <a:bodyPr wrap="square" lIns="91440" tIns="45720" rIns="91440" bIns="45720" anchor="t">
                <a:spAutoFit/>
              </a:bodyPr>
              <a:lstStyle/>
              <a:p>
                <a:pPr algn="ctr"/>
                <a:r>
                  <a:rPr lang="en-US">
                    <a:solidFill>
                      <a:schemeClr val="bg1"/>
                    </a:solidFill>
                    <a:ea typeface="+mn-lt"/>
                    <a:cs typeface="+mn-lt"/>
                  </a:rPr>
                  <a:t>Approach</a:t>
                </a:r>
                <a:endParaRPr lang="en-US"/>
              </a:p>
            </p:txBody>
          </p:sp>
          <p:sp>
            <p:nvSpPr>
              <p:cNvPr id="37" name="Rectangle 36">
                <a:extLst>
                  <a:ext uri="{FF2B5EF4-FFF2-40B4-BE49-F238E27FC236}">
                    <a16:creationId xmlns:a16="http://schemas.microsoft.com/office/drawing/2014/main" id="{8BCBB331-C2B0-C85D-0001-B82F47BD578D}"/>
                  </a:ext>
                </a:extLst>
              </p:cNvPr>
              <p:cNvSpPr/>
              <p:nvPr/>
            </p:nvSpPr>
            <p:spPr>
              <a:xfrm>
                <a:off x="4163625" y="4665610"/>
                <a:ext cx="1203204" cy="369332"/>
              </a:xfrm>
              <a:prstGeom prst="rect">
                <a:avLst/>
              </a:prstGeom>
            </p:spPr>
            <p:txBody>
              <a:bodyPr wrap="square" lIns="91440" tIns="45720" rIns="91440" bIns="45720" anchor="t">
                <a:spAutoFit/>
              </a:bodyPr>
              <a:lstStyle/>
              <a:p>
                <a:pPr algn="ctr"/>
                <a:r>
                  <a:rPr lang="en-US">
                    <a:solidFill>
                      <a:schemeClr val="bg1"/>
                    </a:solidFill>
                    <a:ea typeface="+mn-lt"/>
                    <a:cs typeface="+mn-lt"/>
                  </a:rPr>
                  <a:t>Solution</a:t>
                </a:r>
                <a:endParaRPr lang="en-US"/>
              </a:p>
            </p:txBody>
          </p:sp>
          <p:sp>
            <p:nvSpPr>
              <p:cNvPr id="38" name="Rectangle 37">
                <a:extLst>
                  <a:ext uri="{FF2B5EF4-FFF2-40B4-BE49-F238E27FC236}">
                    <a16:creationId xmlns:a16="http://schemas.microsoft.com/office/drawing/2014/main" id="{96C6F4A1-274E-D656-91C0-BD3BEC50B8A9}"/>
                  </a:ext>
                </a:extLst>
              </p:cNvPr>
              <p:cNvSpPr/>
              <p:nvPr/>
            </p:nvSpPr>
            <p:spPr>
              <a:xfrm>
                <a:off x="6842171" y="4665610"/>
                <a:ext cx="1203204" cy="369332"/>
              </a:xfrm>
              <a:prstGeom prst="rect">
                <a:avLst/>
              </a:prstGeom>
            </p:spPr>
            <p:txBody>
              <a:bodyPr wrap="square" lIns="91440" tIns="45720" rIns="91440" bIns="45720" anchor="t">
                <a:spAutoFit/>
              </a:bodyPr>
              <a:lstStyle/>
              <a:p>
                <a:pPr algn="ctr"/>
                <a:r>
                  <a:rPr lang="en-US">
                    <a:solidFill>
                      <a:schemeClr val="bg1"/>
                    </a:solidFill>
                    <a:ea typeface="+mn-lt"/>
                    <a:cs typeface="+mn-lt"/>
                  </a:rPr>
                  <a:t>Benefits</a:t>
                </a:r>
                <a:endParaRPr lang="en-US"/>
              </a:p>
            </p:txBody>
          </p:sp>
        </p:grpSp>
        <p:pic>
          <p:nvPicPr>
            <p:cNvPr id="3" name="Picture 2">
              <a:extLst>
                <a:ext uri="{FF2B5EF4-FFF2-40B4-BE49-F238E27FC236}">
                  <a16:creationId xmlns:a16="http://schemas.microsoft.com/office/drawing/2014/main" id="{AEFF7D8C-92D6-D295-B6BC-4B439C8BE656}"/>
                </a:ext>
              </a:extLst>
            </p:cNvPr>
            <p:cNvPicPr>
              <a:picLocks noChangeAspect="1"/>
            </p:cNvPicPr>
            <p:nvPr/>
          </p:nvPicPr>
          <p:blipFill>
            <a:blip r:embed="rId10"/>
            <a:stretch>
              <a:fillRect/>
            </a:stretch>
          </p:blipFill>
          <p:spPr>
            <a:xfrm>
              <a:off x="5303623" y="3097247"/>
              <a:ext cx="1620486" cy="1620486"/>
            </a:xfrm>
            <a:prstGeom prst="rect">
              <a:avLst/>
            </a:prstGeom>
          </p:spPr>
        </p:pic>
      </p:grpSp>
      <p:sp>
        <p:nvSpPr>
          <p:cNvPr id="5" name="TextBox 4">
            <a:extLst>
              <a:ext uri="{FF2B5EF4-FFF2-40B4-BE49-F238E27FC236}">
                <a16:creationId xmlns:a16="http://schemas.microsoft.com/office/drawing/2014/main" id="{216A38B9-872B-E45F-5D50-1619F83F23CB}"/>
              </a:ext>
            </a:extLst>
          </p:cNvPr>
          <p:cNvSpPr txBox="1"/>
          <p:nvPr/>
        </p:nvSpPr>
        <p:spPr>
          <a:xfrm>
            <a:off x="487179" y="543118"/>
            <a:ext cx="9843542" cy="892552"/>
          </a:xfrm>
          <a:prstGeom prst="rect">
            <a:avLst/>
          </a:prstGeom>
          <a:noFill/>
        </p:spPr>
        <p:txBody>
          <a:bodyPr wrap="square" lIns="91440" tIns="45720" rIns="91440" bIns="45720" anchor="t">
            <a:spAutoFit/>
          </a:bodyPr>
          <a:lstStyle/>
          <a:p>
            <a:r>
              <a:rPr lang="en-US" sz="2600" b="1">
                <a:solidFill>
                  <a:schemeClr val="tx1">
                    <a:lumMod val="75000"/>
                    <a:lumOff val="25000"/>
                  </a:schemeClr>
                </a:solidFill>
                <a:latin typeface="Montserrat"/>
              </a:rPr>
              <a:t>Predictive Monitoring (Log Categorization using NLP)</a:t>
            </a:r>
          </a:p>
          <a:p>
            <a:endParaRPr lang="en-US" sz="2600" b="1">
              <a:solidFill>
                <a:schemeClr val="tx1">
                  <a:lumMod val="75000"/>
                  <a:lumOff val="25000"/>
                </a:schemeClr>
              </a:solidFill>
              <a:highlight>
                <a:srgbClr val="FFFF00"/>
              </a:highlight>
              <a:latin typeface="Montserrat"/>
            </a:endParaRPr>
          </a:p>
        </p:txBody>
      </p:sp>
      <p:cxnSp>
        <p:nvCxnSpPr>
          <p:cNvPr id="10" name="Straight Connector 9">
            <a:extLst>
              <a:ext uri="{FF2B5EF4-FFF2-40B4-BE49-F238E27FC236}">
                <a16:creationId xmlns:a16="http://schemas.microsoft.com/office/drawing/2014/main" id="{01E76F1F-250A-088D-7ACC-9178E1B02C22}"/>
              </a:ext>
              <a:ext uri="{C183D7F6-B498-43B3-948B-1728B52AA6E4}">
                <adec:decorative xmlns:adec="http://schemas.microsoft.com/office/drawing/2017/decorative" val="1"/>
              </a:ext>
            </a:extLst>
          </p:cNvPr>
          <p:cNvCxnSpPr>
            <a:cxnSpLocks/>
          </p:cNvCxnSpPr>
          <p:nvPr/>
        </p:nvCxnSpPr>
        <p:spPr>
          <a:xfrm>
            <a:off x="488191" y="1088493"/>
            <a:ext cx="10761492"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27106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16A38B9-872B-E45F-5D50-1619F83F23CB}"/>
              </a:ext>
            </a:extLst>
          </p:cNvPr>
          <p:cNvSpPr txBox="1"/>
          <p:nvPr/>
        </p:nvSpPr>
        <p:spPr>
          <a:xfrm>
            <a:off x="487179" y="543118"/>
            <a:ext cx="9843542" cy="892552"/>
          </a:xfrm>
          <a:prstGeom prst="rect">
            <a:avLst/>
          </a:prstGeom>
          <a:noFill/>
        </p:spPr>
        <p:txBody>
          <a:bodyPr wrap="square" lIns="91440" tIns="45720" rIns="91440" bIns="45720" anchor="t">
            <a:spAutoFit/>
          </a:bodyPr>
          <a:lstStyle/>
          <a:p>
            <a:r>
              <a:rPr lang="en-US" sz="2600" b="1">
                <a:solidFill>
                  <a:schemeClr val="tx1">
                    <a:lumMod val="75000"/>
                    <a:lumOff val="25000"/>
                  </a:schemeClr>
                </a:solidFill>
                <a:latin typeface="Montserrat"/>
              </a:rPr>
              <a:t>Azure Monitor – Dashboard : Predictive Monitoring</a:t>
            </a:r>
          </a:p>
          <a:p>
            <a:endParaRPr lang="en-US" sz="2600" b="1">
              <a:solidFill>
                <a:schemeClr val="tx1">
                  <a:lumMod val="75000"/>
                  <a:lumOff val="25000"/>
                </a:schemeClr>
              </a:solidFill>
              <a:latin typeface="Montserrat"/>
            </a:endParaRPr>
          </a:p>
        </p:txBody>
      </p:sp>
      <p:cxnSp>
        <p:nvCxnSpPr>
          <p:cNvPr id="10" name="Straight Connector 9">
            <a:extLst>
              <a:ext uri="{FF2B5EF4-FFF2-40B4-BE49-F238E27FC236}">
                <a16:creationId xmlns:a16="http://schemas.microsoft.com/office/drawing/2014/main" id="{01E76F1F-250A-088D-7ACC-9178E1B02C22}"/>
              </a:ext>
              <a:ext uri="{C183D7F6-B498-43B3-948B-1728B52AA6E4}">
                <adec:decorative xmlns:adec="http://schemas.microsoft.com/office/drawing/2017/decorative" val="1"/>
              </a:ext>
            </a:extLst>
          </p:cNvPr>
          <p:cNvCxnSpPr>
            <a:cxnSpLocks/>
          </p:cNvCxnSpPr>
          <p:nvPr/>
        </p:nvCxnSpPr>
        <p:spPr>
          <a:xfrm>
            <a:off x="488191" y="1088493"/>
            <a:ext cx="10761492"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pic>
        <p:nvPicPr>
          <p:cNvPr id="6" name="Picture 5" descr="A screenshot of a graph&#10;&#10;Description automatically generated">
            <a:extLst>
              <a:ext uri="{FF2B5EF4-FFF2-40B4-BE49-F238E27FC236}">
                <a16:creationId xmlns:a16="http://schemas.microsoft.com/office/drawing/2014/main" id="{86D6E794-FB2A-3C3B-3E0B-E6EF879B7AB0}"/>
              </a:ext>
            </a:extLst>
          </p:cNvPr>
          <p:cNvPicPr>
            <a:picLocks noChangeAspect="1"/>
          </p:cNvPicPr>
          <p:nvPr/>
        </p:nvPicPr>
        <p:blipFill>
          <a:blip r:embed="rId2"/>
          <a:stretch>
            <a:fillRect/>
          </a:stretch>
        </p:blipFill>
        <p:spPr>
          <a:xfrm>
            <a:off x="427181" y="1442592"/>
            <a:ext cx="10875820" cy="2991293"/>
          </a:xfrm>
          <a:prstGeom prst="rect">
            <a:avLst/>
          </a:prstGeom>
        </p:spPr>
      </p:pic>
      <p:pic>
        <p:nvPicPr>
          <p:cNvPr id="9" name="Picture 8" descr="A screenshot of a service&#10;&#10;Description automatically generated">
            <a:extLst>
              <a:ext uri="{FF2B5EF4-FFF2-40B4-BE49-F238E27FC236}">
                <a16:creationId xmlns:a16="http://schemas.microsoft.com/office/drawing/2014/main" id="{6AF5B6F6-FB35-8986-10EB-87F2A56BD238}"/>
              </a:ext>
            </a:extLst>
          </p:cNvPr>
          <p:cNvPicPr>
            <a:picLocks noChangeAspect="1"/>
          </p:cNvPicPr>
          <p:nvPr/>
        </p:nvPicPr>
        <p:blipFill>
          <a:blip r:embed="rId3"/>
          <a:stretch>
            <a:fillRect/>
          </a:stretch>
        </p:blipFill>
        <p:spPr>
          <a:xfrm>
            <a:off x="687048" y="4691718"/>
            <a:ext cx="5075067" cy="1654413"/>
          </a:xfrm>
          <a:prstGeom prst="rect">
            <a:avLst/>
          </a:prstGeom>
        </p:spPr>
      </p:pic>
      <p:pic>
        <p:nvPicPr>
          <p:cNvPr id="12" name="Picture 11" descr="A screenshot of a service&#10;&#10;Description automatically generated">
            <a:extLst>
              <a:ext uri="{FF2B5EF4-FFF2-40B4-BE49-F238E27FC236}">
                <a16:creationId xmlns:a16="http://schemas.microsoft.com/office/drawing/2014/main" id="{4F5657E1-9FC1-9028-E47C-ED16361310C2}"/>
              </a:ext>
            </a:extLst>
          </p:cNvPr>
          <p:cNvPicPr>
            <a:picLocks noChangeAspect="1"/>
          </p:cNvPicPr>
          <p:nvPr/>
        </p:nvPicPr>
        <p:blipFill>
          <a:blip r:embed="rId4"/>
          <a:stretch>
            <a:fillRect/>
          </a:stretch>
        </p:blipFill>
        <p:spPr>
          <a:xfrm>
            <a:off x="5864445" y="4698933"/>
            <a:ext cx="5198420" cy="1591982"/>
          </a:xfrm>
          <a:prstGeom prst="rect">
            <a:avLst/>
          </a:prstGeom>
        </p:spPr>
      </p:pic>
    </p:spTree>
    <p:extLst>
      <p:ext uri="{BB962C8B-B14F-4D97-AF65-F5344CB8AC3E}">
        <p14:creationId xmlns:p14="http://schemas.microsoft.com/office/powerpoint/2010/main" val="6001777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7712A53-FD77-1BE9-8C02-A4E66ACA38A6}"/>
              </a:ext>
              <a:ext uri="{C183D7F6-B498-43B3-948B-1728B52AA6E4}">
                <adec:decorative xmlns:adec="http://schemas.microsoft.com/office/drawing/2017/decorative" val="1"/>
              </a:ext>
            </a:extLst>
          </p:cNvPr>
          <p:cNvCxnSpPr>
            <a:cxnSpLocks/>
          </p:cNvCxnSpPr>
          <p:nvPr/>
        </p:nvCxnSpPr>
        <p:spPr>
          <a:xfrm>
            <a:off x="488191" y="923736"/>
            <a:ext cx="10855834"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2FADAA82-BCE0-A63C-7B10-43B1D319FCE3}"/>
              </a:ext>
            </a:extLst>
          </p:cNvPr>
          <p:cNvSpPr txBox="1"/>
          <p:nvPr/>
        </p:nvSpPr>
        <p:spPr>
          <a:xfrm>
            <a:off x="487179" y="352618"/>
            <a:ext cx="9843542" cy="492443"/>
          </a:xfrm>
          <a:prstGeom prst="rect">
            <a:avLst/>
          </a:prstGeom>
          <a:noFill/>
        </p:spPr>
        <p:txBody>
          <a:bodyPr wrap="square" lIns="91440" tIns="45720" rIns="91440" bIns="45720" anchor="t">
            <a:spAutoFit/>
          </a:bodyPr>
          <a:lstStyle/>
          <a:p>
            <a:r>
              <a:rPr lang="en-US" sz="2600" b="1">
                <a:solidFill>
                  <a:schemeClr val="tx1">
                    <a:lumMod val="75000"/>
                    <a:lumOff val="25000"/>
                  </a:schemeClr>
                </a:solidFill>
                <a:latin typeface="Montserrat"/>
              </a:rPr>
              <a:t>Solutioning – Building blocks, Flow</a:t>
            </a:r>
            <a:endParaRPr lang="en-US" sz="2600" b="1">
              <a:solidFill>
                <a:schemeClr val="tx1">
                  <a:lumMod val="75000"/>
                  <a:lumOff val="25000"/>
                </a:schemeClr>
              </a:solidFill>
              <a:highlight>
                <a:srgbClr val="FFFF00"/>
              </a:highlight>
              <a:latin typeface="Montserrat"/>
            </a:endParaRPr>
          </a:p>
        </p:txBody>
      </p:sp>
      <p:pic>
        <p:nvPicPr>
          <p:cNvPr id="13" name="Picture 12" descr="A blue circle with a white arrow in center&#10;&#10;Description automatically generated">
            <a:extLst>
              <a:ext uri="{FF2B5EF4-FFF2-40B4-BE49-F238E27FC236}">
                <a16:creationId xmlns:a16="http://schemas.microsoft.com/office/drawing/2014/main" id="{8C42D6E1-BC26-A33E-4C84-7368BD7990B0}"/>
              </a:ext>
            </a:extLst>
          </p:cNvPr>
          <p:cNvPicPr>
            <a:picLocks noChangeAspect="1"/>
          </p:cNvPicPr>
          <p:nvPr/>
        </p:nvPicPr>
        <p:blipFill>
          <a:blip r:embed="rId2"/>
          <a:stretch>
            <a:fillRect/>
          </a:stretch>
        </p:blipFill>
        <p:spPr>
          <a:xfrm>
            <a:off x="4103147" y="4821769"/>
            <a:ext cx="427623" cy="428124"/>
          </a:xfrm>
          <a:prstGeom prst="rect">
            <a:avLst/>
          </a:prstGeom>
        </p:spPr>
      </p:pic>
      <p:pic>
        <p:nvPicPr>
          <p:cNvPr id="15" name="Picture 14" descr="A red circle with white gears&#10;&#10;Description automatically generated">
            <a:extLst>
              <a:ext uri="{FF2B5EF4-FFF2-40B4-BE49-F238E27FC236}">
                <a16:creationId xmlns:a16="http://schemas.microsoft.com/office/drawing/2014/main" id="{BAACFA7C-FACC-8B45-3310-6D3C56D39FF1}"/>
              </a:ext>
            </a:extLst>
          </p:cNvPr>
          <p:cNvPicPr>
            <a:picLocks noChangeAspect="1"/>
          </p:cNvPicPr>
          <p:nvPr/>
        </p:nvPicPr>
        <p:blipFill>
          <a:blip r:embed="rId3"/>
          <a:stretch>
            <a:fillRect/>
          </a:stretch>
        </p:blipFill>
        <p:spPr>
          <a:xfrm>
            <a:off x="1319219" y="1757283"/>
            <a:ext cx="427623" cy="427623"/>
          </a:xfrm>
          <a:prstGeom prst="rect">
            <a:avLst/>
          </a:prstGeom>
        </p:spPr>
      </p:pic>
      <p:pic>
        <p:nvPicPr>
          <p:cNvPr id="17" name="Picture 16" descr="A white and orange clock&#10;&#10;Description automatically generated">
            <a:extLst>
              <a:ext uri="{FF2B5EF4-FFF2-40B4-BE49-F238E27FC236}">
                <a16:creationId xmlns:a16="http://schemas.microsoft.com/office/drawing/2014/main" id="{C652CB23-895B-62AD-F988-9253E95ED1F8}"/>
              </a:ext>
            </a:extLst>
          </p:cNvPr>
          <p:cNvPicPr>
            <a:picLocks noChangeAspect="1"/>
          </p:cNvPicPr>
          <p:nvPr/>
        </p:nvPicPr>
        <p:blipFill>
          <a:blip r:embed="rId4"/>
          <a:stretch>
            <a:fillRect/>
          </a:stretch>
        </p:blipFill>
        <p:spPr>
          <a:xfrm>
            <a:off x="4060025" y="2787362"/>
            <a:ext cx="427623" cy="427623"/>
          </a:xfrm>
          <a:prstGeom prst="rect">
            <a:avLst/>
          </a:prstGeom>
        </p:spPr>
      </p:pic>
      <p:sp>
        <p:nvSpPr>
          <p:cNvPr id="19" name="TextBox 18">
            <a:extLst>
              <a:ext uri="{FF2B5EF4-FFF2-40B4-BE49-F238E27FC236}">
                <a16:creationId xmlns:a16="http://schemas.microsoft.com/office/drawing/2014/main" id="{BB771877-A25E-3CFF-2783-2FACDD58C01E}"/>
              </a:ext>
            </a:extLst>
          </p:cNvPr>
          <p:cNvSpPr txBox="1"/>
          <p:nvPr/>
        </p:nvSpPr>
        <p:spPr>
          <a:xfrm>
            <a:off x="1846833" y="1721419"/>
            <a:ext cx="1585135"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C13018"/>
                </a:solidFill>
                <a:latin typeface="Roboto"/>
                <a:ea typeface="Roboto"/>
                <a:cs typeface="Arial"/>
              </a:rPr>
              <a:t>Data </a:t>
            </a:r>
          </a:p>
          <a:p>
            <a:r>
              <a:rPr lang="en-US" sz="1600" b="1">
                <a:solidFill>
                  <a:srgbClr val="C13018"/>
                </a:solidFill>
                <a:latin typeface="Roboto"/>
                <a:ea typeface="Roboto"/>
                <a:cs typeface="Arial"/>
              </a:rPr>
              <a:t>Collection</a:t>
            </a:r>
            <a:endParaRPr lang="en-US" sz="1600" b="1">
              <a:solidFill>
                <a:srgbClr val="C13018"/>
              </a:solidFill>
              <a:latin typeface="Roboto"/>
              <a:ea typeface="Roboto"/>
              <a:cs typeface="Roboto"/>
            </a:endParaRPr>
          </a:p>
        </p:txBody>
      </p:sp>
      <p:sp>
        <p:nvSpPr>
          <p:cNvPr id="21" name="TextBox 20">
            <a:extLst>
              <a:ext uri="{FF2B5EF4-FFF2-40B4-BE49-F238E27FC236}">
                <a16:creationId xmlns:a16="http://schemas.microsoft.com/office/drawing/2014/main" id="{38369C4F-A052-A35F-9AEF-C5A89ABF0512}"/>
              </a:ext>
            </a:extLst>
          </p:cNvPr>
          <p:cNvSpPr txBox="1"/>
          <p:nvPr/>
        </p:nvSpPr>
        <p:spPr>
          <a:xfrm>
            <a:off x="2461484" y="2752168"/>
            <a:ext cx="1585135"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a:r>
              <a:rPr lang="en-US" sz="1600" b="1">
                <a:solidFill>
                  <a:srgbClr val="ED8D1E"/>
                </a:solidFill>
                <a:latin typeface="Roboto"/>
                <a:ea typeface="Roboto"/>
                <a:cs typeface="Arial"/>
              </a:rPr>
              <a:t>Data </a:t>
            </a:r>
          </a:p>
          <a:p>
            <a:pPr algn="r"/>
            <a:r>
              <a:rPr lang="en-US" sz="1600" b="1">
                <a:solidFill>
                  <a:srgbClr val="ED8D1E"/>
                </a:solidFill>
                <a:latin typeface="Roboto"/>
                <a:ea typeface="Roboto"/>
                <a:cs typeface="Arial"/>
              </a:rPr>
              <a:t>Processing</a:t>
            </a:r>
            <a:endParaRPr lang="en-US">
              <a:solidFill>
                <a:srgbClr val="ED8D1E"/>
              </a:solidFill>
            </a:endParaRPr>
          </a:p>
        </p:txBody>
      </p:sp>
      <p:sp>
        <p:nvSpPr>
          <p:cNvPr id="23" name="TextBox 22">
            <a:extLst>
              <a:ext uri="{FF2B5EF4-FFF2-40B4-BE49-F238E27FC236}">
                <a16:creationId xmlns:a16="http://schemas.microsoft.com/office/drawing/2014/main" id="{92BDC87A-D09D-BF0E-55C6-8A673020BAF7}"/>
              </a:ext>
            </a:extLst>
          </p:cNvPr>
          <p:cNvSpPr txBox="1"/>
          <p:nvPr/>
        </p:nvSpPr>
        <p:spPr>
          <a:xfrm>
            <a:off x="2518011" y="4952478"/>
            <a:ext cx="1585135"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a:r>
              <a:rPr lang="en-US" sz="1600" b="1">
                <a:solidFill>
                  <a:srgbClr val="4CC1EF"/>
                </a:solidFill>
                <a:latin typeface="Roboto"/>
                <a:ea typeface="Roboto"/>
                <a:cs typeface="Arial"/>
              </a:rPr>
              <a:t>Visualization</a:t>
            </a:r>
            <a:endParaRPr lang="en-US">
              <a:solidFill>
                <a:srgbClr val="4CC1EF"/>
              </a:solidFill>
            </a:endParaRPr>
          </a:p>
        </p:txBody>
      </p:sp>
      <p:sp>
        <p:nvSpPr>
          <p:cNvPr id="25" name="Freeform: Shape 24">
            <a:extLst>
              <a:ext uri="{FF2B5EF4-FFF2-40B4-BE49-F238E27FC236}">
                <a16:creationId xmlns:a16="http://schemas.microsoft.com/office/drawing/2014/main" id="{F8AECC62-1A3C-F461-3AC4-A5873324DA43}"/>
              </a:ext>
            </a:extLst>
          </p:cNvPr>
          <p:cNvSpPr/>
          <p:nvPr/>
        </p:nvSpPr>
        <p:spPr>
          <a:xfrm>
            <a:off x="1224264" y="1174556"/>
            <a:ext cx="3389060" cy="4630256"/>
          </a:xfrm>
          <a:custGeom>
            <a:avLst/>
            <a:gdLst>
              <a:gd name="connsiteX0" fmla="*/ 1864361 w 3731264"/>
              <a:gd name="connsiteY0" fmla="*/ 0 h 5097787"/>
              <a:gd name="connsiteX1" fmla="*/ 1864362 w 3731264"/>
              <a:gd name="connsiteY1" fmla="*/ 0 h 5097787"/>
              <a:gd name="connsiteX2" fmla="*/ 1864362 w 3731264"/>
              <a:gd name="connsiteY2" fmla="*/ 0 h 5097787"/>
              <a:gd name="connsiteX3" fmla="*/ 1864363 w 3731264"/>
              <a:gd name="connsiteY3" fmla="*/ 0 h 5097787"/>
              <a:gd name="connsiteX4" fmla="*/ 1888353 w 3731264"/>
              <a:gd name="connsiteY4" fmla="*/ 4882 h 5097787"/>
              <a:gd name="connsiteX5" fmla="*/ 1907156 w 3731264"/>
              <a:gd name="connsiteY5" fmla="*/ 17726 h 5097787"/>
              <a:gd name="connsiteX6" fmla="*/ 1907469 w 3731264"/>
              <a:gd name="connsiteY6" fmla="*/ 17856 h 5097787"/>
              <a:gd name="connsiteX7" fmla="*/ 1907574 w 3731264"/>
              <a:gd name="connsiteY7" fmla="*/ 18011 h 5097787"/>
              <a:gd name="connsiteX8" fmla="*/ 1907701 w 3731264"/>
              <a:gd name="connsiteY8" fmla="*/ 18098 h 5097787"/>
              <a:gd name="connsiteX9" fmla="*/ 1913011 w 3731264"/>
              <a:gd name="connsiteY9" fmla="*/ 26076 h 5097787"/>
              <a:gd name="connsiteX10" fmla="*/ 1920534 w 3731264"/>
              <a:gd name="connsiteY10" fmla="*/ 37233 h 5097787"/>
              <a:gd name="connsiteX11" fmla="*/ 1920575 w 3731264"/>
              <a:gd name="connsiteY11" fmla="*/ 37440 h 5097787"/>
              <a:gd name="connsiteX12" fmla="*/ 1920619 w 3731264"/>
              <a:gd name="connsiteY12" fmla="*/ 37506 h 5097787"/>
              <a:gd name="connsiteX13" fmla="*/ 1925034 w 3731264"/>
              <a:gd name="connsiteY13" fmla="*/ 59523 h 5097787"/>
              <a:gd name="connsiteX14" fmla="*/ 1925324 w 3731264"/>
              <a:gd name="connsiteY14" fmla="*/ 60962 h 5097787"/>
              <a:gd name="connsiteX15" fmla="*/ 1920534 w 3731264"/>
              <a:gd name="connsiteY15" fmla="*/ 84691 h 5097787"/>
              <a:gd name="connsiteX16" fmla="*/ 1920477 w 3731264"/>
              <a:gd name="connsiteY16" fmla="*/ 84775 h 5097787"/>
              <a:gd name="connsiteX17" fmla="*/ 1920441 w 3731264"/>
              <a:gd name="connsiteY17" fmla="*/ 84953 h 5097787"/>
              <a:gd name="connsiteX18" fmla="*/ 1913985 w 3731264"/>
              <a:gd name="connsiteY18" fmla="*/ 94403 h 5097787"/>
              <a:gd name="connsiteX19" fmla="*/ 1907469 w 3731264"/>
              <a:gd name="connsiteY19" fmla="*/ 104069 h 5097787"/>
              <a:gd name="connsiteX20" fmla="*/ 1907349 w 3731264"/>
              <a:gd name="connsiteY20" fmla="*/ 104118 h 5097787"/>
              <a:gd name="connsiteX21" fmla="*/ 1907224 w 3731264"/>
              <a:gd name="connsiteY21" fmla="*/ 104301 h 5097787"/>
              <a:gd name="connsiteX22" fmla="*/ 1878415 w 3731264"/>
              <a:gd name="connsiteY22" fmla="*/ 116145 h 5097787"/>
              <a:gd name="connsiteX23" fmla="*/ 1878415 w 3731264"/>
              <a:gd name="connsiteY23" fmla="*/ 433151 h 5097787"/>
              <a:gd name="connsiteX24" fmla="*/ 1725882 w 3731264"/>
              <a:gd name="connsiteY24" fmla="*/ 585424 h 5097787"/>
              <a:gd name="connsiteX25" fmla="*/ 314912 w 3731264"/>
              <a:gd name="connsiteY25" fmla="*/ 585424 h 5097787"/>
              <a:gd name="connsiteX26" fmla="*/ 25393 w 3731264"/>
              <a:gd name="connsiteY26" fmla="*/ 874974 h 5097787"/>
              <a:gd name="connsiteX27" fmla="*/ 314912 w 3731264"/>
              <a:gd name="connsiteY27" fmla="*/ 1164524 h 5097787"/>
              <a:gd name="connsiteX28" fmla="*/ 1725882 w 3731264"/>
              <a:gd name="connsiteY28" fmla="*/ 1164524 h 5097787"/>
              <a:gd name="connsiteX29" fmla="*/ 1878415 w 3731264"/>
              <a:gd name="connsiteY29" fmla="*/ 1317028 h 5097787"/>
              <a:gd name="connsiteX30" fmla="*/ 1878415 w 3731264"/>
              <a:gd name="connsiteY30" fmla="*/ 1558358 h 5097787"/>
              <a:gd name="connsiteX31" fmla="*/ 1915210 w 3731264"/>
              <a:gd name="connsiteY31" fmla="*/ 1648568 h 5097787"/>
              <a:gd name="connsiteX32" fmla="*/ 2005382 w 3731264"/>
              <a:gd name="connsiteY32" fmla="*/ 1685252 h 5097787"/>
              <a:gd name="connsiteX33" fmla="*/ 3416352 w 3731264"/>
              <a:gd name="connsiteY33" fmla="*/ 1685252 h 5097787"/>
              <a:gd name="connsiteX34" fmla="*/ 3731264 w 3731264"/>
              <a:gd name="connsiteY34" fmla="*/ 2000181 h 5097787"/>
              <a:gd name="connsiteX35" fmla="*/ 3416352 w 3731264"/>
              <a:gd name="connsiteY35" fmla="*/ 2315109 h 5097787"/>
              <a:gd name="connsiteX36" fmla="*/ 2005382 w 3731264"/>
              <a:gd name="connsiteY36" fmla="*/ 2315109 h 5097787"/>
              <a:gd name="connsiteX37" fmla="*/ 1915210 w 3731264"/>
              <a:gd name="connsiteY37" fmla="*/ 2352024 h 5097787"/>
              <a:gd name="connsiteX38" fmla="*/ 1878415 w 3731264"/>
              <a:gd name="connsiteY38" fmla="*/ 2442235 h 5097787"/>
              <a:gd name="connsiteX39" fmla="*/ 1878415 w 3731264"/>
              <a:gd name="connsiteY39" fmla="*/ 2712635 h 5097787"/>
              <a:gd name="connsiteX40" fmla="*/ 1725882 w 3731264"/>
              <a:gd name="connsiteY40" fmla="*/ 2865139 h 5097787"/>
              <a:gd name="connsiteX41" fmla="*/ 314912 w 3731264"/>
              <a:gd name="connsiteY41" fmla="*/ 2865139 h 5097787"/>
              <a:gd name="connsiteX42" fmla="*/ 25393 w 3731264"/>
              <a:gd name="connsiteY42" fmla="*/ 3154689 h 5097787"/>
              <a:gd name="connsiteX43" fmla="*/ 314912 w 3731264"/>
              <a:gd name="connsiteY43" fmla="*/ 3444238 h 5097787"/>
              <a:gd name="connsiteX44" fmla="*/ 1725882 w 3731264"/>
              <a:gd name="connsiteY44" fmla="*/ 3444238 h 5097787"/>
              <a:gd name="connsiteX45" fmla="*/ 1878415 w 3731264"/>
              <a:gd name="connsiteY45" fmla="*/ 3596742 h 5097787"/>
              <a:gd name="connsiteX46" fmla="*/ 1878415 w 3731264"/>
              <a:gd name="connsiteY46" fmla="*/ 3837842 h 5097787"/>
              <a:gd name="connsiteX47" fmla="*/ 1915210 w 3731264"/>
              <a:gd name="connsiteY47" fmla="*/ 3928052 h 5097787"/>
              <a:gd name="connsiteX48" fmla="*/ 2005382 w 3731264"/>
              <a:gd name="connsiteY48" fmla="*/ 3964967 h 5097787"/>
              <a:gd name="connsiteX49" fmla="*/ 3416352 w 3731264"/>
              <a:gd name="connsiteY49" fmla="*/ 3964967 h 5097787"/>
              <a:gd name="connsiteX50" fmla="*/ 3731264 w 3731264"/>
              <a:gd name="connsiteY50" fmla="*/ 4277358 h 5097787"/>
              <a:gd name="connsiteX51" fmla="*/ 3416352 w 3731264"/>
              <a:gd name="connsiteY51" fmla="*/ 4592286 h 5097787"/>
              <a:gd name="connsiteX52" fmla="*/ 2005382 w 3731264"/>
              <a:gd name="connsiteY52" fmla="*/ 4592286 h 5097787"/>
              <a:gd name="connsiteX53" fmla="*/ 1878415 w 3731264"/>
              <a:gd name="connsiteY53" fmla="*/ 4719411 h 5097787"/>
              <a:gd name="connsiteX54" fmla="*/ 1878415 w 3731264"/>
              <a:gd name="connsiteY54" fmla="*/ 4977122 h 5097787"/>
              <a:gd name="connsiteX55" fmla="*/ 1926611 w 3731264"/>
              <a:gd name="connsiteY55" fmla="*/ 5036878 h 5097787"/>
              <a:gd name="connsiteX56" fmla="*/ 1865632 w 3731264"/>
              <a:gd name="connsiteY56" fmla="*/ 5097787 h 5097787"/>
              <a:gd name="connsiteX57" fmla="*/ 1804654 w 3731264"/>
              <a:gd name="connsiteY57" fmla="*/ 5036878 h 5097787"/>
              <a:gd name="connsiteX58" fmla="*/ 1852849 w 3731264"/>
              <a:gd name="connsiteY58" fmla="*/ 4977122 h 5097787"/>
              <a:gd name="connsiteX59" fmla="*/ 1852849 w 3731264"/>
              <a:gd name="connsiteY59" fmla="*/ 4719411 h 5097787"/>
              <a:gd name="connsiteX60" fmla="*/ 2005382 w 3731264"/>
              <a:gd name="connsiteY60" fmla="*/ 4566907 h 5097787"/>
              <a:gd name="connsiteX61" fmla="*/ 3416352 w 3731264"/>
              <a:gd name="connsiteY61" fmla="*/ 4566907 h 5097787"/>
              <a:gd name="connsiteX62" fmla="*/ 3705871 w 3731264"/>
              <a:gd name="connsiteY62" fmla="*/ 4277358 h 5097787"/>
              <a:gd name="connsiteX63" fmla="*/ 3416352 w 3731264"/>
              <a:gd name="connsiteY63" fmla="*/ 3987808 h 5097787"/>
              <a:gd name="connsiteX64" fmla="*/ 2005382 w 3731264"/>
              <a:gd name="connsiteY64" fmla="*/ 3987808 h 5097787"/>
              <a:gd name="connsiteX65" fmla="*/ 1897417 w 3731264"/>
              <a:gd name="connsiteY65" fmla="*/ 3943279 h 5097787"/>
              <a:gd name="connsiteX66" fmla="*/ 1852849 w 3731264"/>
              <a:gd name="connsiteY66" fmla="*/ 3835304 h 5097787"/>
              <a:gd name="connsiteX67" fmla="*/ 1852849 w 3731264"/>
              <a:gd name="connsiteY67" fmla="*/ 3594204 h 5097787"/>
              <a:gd name="connsiteX68" fmla="*/ 1725882 w 3731264"/>
              <a:gd name="connsiteY68" fmla="*/ 3467079 h 5097787"/>
              <a:gd name="connsiteX69" fmla="*/ 314912 w 3731264"/>
              <a:gd name="connsiteY69" fmla="*/ 3467079 h 5097787"/>
              <a:gd name="connsiteX70" fmla="*/ 0 w 3731264"/>
              <a:gd name="connsiteY70" fmla="*/ 3152151 h 5097787"/>
              <a:gd name="connsiteX71" fmla="*/ 314912 w 3731264"/>
              <a:gd name="connsiteY71" fmla="*/ 2837222 h 5097787"/>
              <a:gd name="connsiteX72" fmla="*/ 1725882 w 3731264"/>
              <a:gd name="connsiteY72" fmla="*/ 2837222 h 5097787"/>
              <a:gd name="connsiteX73" fmla="*/ 1852849 w 3731264"/>
              <a:gd name="connsiteY73" fmla="*/ 2710097 h 5097787"/>
              <a:gd name="connsiteX74" fmla="*/ 1852849 w 3731264"/>
              <a:gd name="connsiteY74" fmla="*/ 2439697 h 5097787"/>
              <a:gd name="connsiteX75" fmla="*/ 1897417 w 3731264"/>
              <a:gd name="connsiteY75" fmla="*/ 2331721 h 5097787"/>
              <a:gd name="connsiteX76" fmla="*/ 2005382 w 3731264"/>
              <a:gd name="connsiteY76" fmla="*/ 2287193 h 5097787"/>
              <a:gd name="connsiteX77" fmla="*/ 3416352 w 3731264"/>
              <a:gd name="connsiteY77" fmla="*/ 2287193 h 5097787"/>
              <a:gd name="connsiteX78" fmla="*/ 3705871 w 3731264"/>
              <a:gd name="connsiteY78" fmla="*/ 1997643 h 5097787"/>
              <a:gd name="connsiteX79" fmla="*/ 3416352 w 3731264"/>
              <a:gd name="connsiteY79" fmla="*/ 1708093 h 5097787"/>
              <a:gd name="connsiteX80" fmla="*/ 2005382 w 3731264"/>
              <a:gd name="connsiteY80" fmla="*/ 1708093 h 5097787"/>
              <a:gd name="connsiteX81" fmla="*/ 1897417 w 3731264"/>
              <a:gd name="connsiteY81" fmla="*/ 1663795 h 5097787"/>
              <a:gd name="connsiteX82" fmla="*/ 1852849 w 3731264"/>
              <a:gd name="connsiteY82" fmla="*/ 1555820 h 5097787"/>
              <a:gd name="connsiteX83" fmla="*/ 1852849 w 3731264"/>
              <a:gd name="connsiteY83" fmla="*/ 1314490 h 5097787"/>
              <a:gd name="connsiteX84" fmla="*/ 1725882 w 3731264"/>
              <a:gd name="connsiteY84" fmla="*/ 1187365 h 5097787"/>
              <a:gd name="connsiteX85" fmla="*/ 314912 w 3731264"/>
              <a:gd name="connsiteY85" fmla="*/ 1187365 h 5097787"/>
              <a:gd name="connsiteX86" fmla="*/ 0 w 3731264"/>
              <a:gd name="connsiteY86" fmla="*/ 872436 h 5097787"/>
              <a:gd name="connsiteX87" fmla="*/ 314912 w 3731264"/>
              <a:gd name="connsiteY87" fmla="*/ 557508 h 5097787"/>
              <a:gd name="connsiteX88" fmla="*/ 1725882 w 3731264"/>
              <a:gd name="connsiteY88" fmla="*/ 557508 h 5097787"/>
              <a:gd name="connsiteX89" fmla="*/ 1852849 w 3731264"/>
              <a:gd name="connsiteY89" fmla="*/ 430613 h 5097787"/>
              <a:gd name="connsiteX90" fmla="*/ 1852849 w 3731264"/>
              <a:gd name="connsiteY90" fmla="*/ 117155 h 5097787"/>
              <a:gd name="connsiteX91" fmla="*/ 1821256 w 3731264"/>
              <a:gd name="connsiteY91" fmla="*/ 104069 h 5097787"/>
              <a:gd name="connsiteX92" fmla="*/ 1808191 w 3731264"/>
              <a:gd name="connsiteY92" fmla="*/ 84691 h 5097787"/>
              <a:gd name="connsiteX93" fmla="*/ 1803409 w 3731264"/>
              <a:gd name="connsiteY93" fmla="*/ 61004 h 5097787"/>
              <a:gd name="connsiteX94" fmla="*/ 1803399 w 3731264"/>
              <a:gd name="connsiteY94" fmla="*/ 60962 h 5097787"/>
              <a:gd name="connsiteX95" fmla="*/ 1803528 w 3731264"/>
              <a:gd name="connsiteY95" fmla="*/ 60329 h 5097787"/>
              <a:gd name="connsiteX96" fmla="*/ 1808191 w 3731264"/>
              <a:gd name="connsiteY96" fmla="*/ 37233 h 5097787"/>
              <a:gd name="connsiteX97" fmla="*/ 1808243 w 3731264"/>
              <a:gd name="connsiteY97" fmla="*/ 37155 h 5097787"/>
              <a:gd name="connsiteX98" fmla="*/ 1808281 w 3731264"/>
              <a:gd name="connsiteY98" fmla="*/ 36970 h 5097787"/>
              <a:gd name="connsiteX99" fmla="*/ 1815009 w 3731264"/>
              <a:gd name="connsiteY99" fmla="*/ 27121 h 5097787"/>
              <a:gd name="connsiteX100" fmla="*/ 1821256 w 3731264"/>
              <a:gd name="connsiteY100" fmla="*/ 17856 h 5097787"/>
              <a:gd name="connsiteX101" fmla="*/ 1821370 w 3731264"/>
              <a:gd name="connsiteY101" fmla="*/ 17808 h 5097787"/>
              <a:gd name="connsiteX102" fmla="*/ 1821497 w 3731264"/>
              <a:gd name="connsiteY102" fmla="*/ 17622 h 5097787"/>
              <a:gd name="connsiteX103" fmla="*/ 1864361 w 3731264"/>
              <a:gd name="connsiteY103" fmla="*/ 0 h 509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731264" h="5097787">
                <a:moveTo>
                  <a:pt x="1864361" y="0"/>
                </a:moveTo>
                <a:lnTo>
                  <a:pt x="1864362" y="0"/>
                </a:lnTo>
                <a:lnTo>
                  <a:pt x="1864362" y="0"/>
                </a:lnTo>
                <a:lnTo>
                  <a:pt x="1864363" y="0"/>
                </a:lnTo>
                <a:lnTo>
                  <a:pt x="1888353" y="4882"/>
                </a:lnTo>
                <a:lnTo>
                  <a:pt x="1907156" y="17726"/>
                </a:lnTo>
                <a:lnTo>
                  <a:pt x="1907469" y="17856"/>
                </a:lnTo>
                <a:lnTo>
                  <a:pt x="1907574" y="18011"/>
                </a:lnTo>
                <a:lnTo>
                  <a:pt x="1907701" y="18098"/>
                </a:lnTo>
                <a:lnTo>
                  <a:pt x="1913011" y="26076"/>
                </a:lnTo>
                <a:lnTo>
                  <a:pt x="1920534" y="37233"/>
                </a:lnTo>
                <a:lnTo>
                  <a:pt x="1920575" y="37440"/>
                </a:lnTo>
                <a:lnTo>
                  <a:pt x="1920619" y="37506"/>
                </a:lnTo>
                <a:lnTo>
                  <a:pt x="1925034" y="59523"/>
                </a:lnTo>
                <a:lnTo>
                  <a:pt x="1925324" y="60962"/>
                </a:lnTo>
                <a:cubicBezTo>
                  <a:pt x="1925324" y="69379"/>
                  <a:pt x="1923618" y="77398"/>
                  <a:pt x="1920534" y="84691"/>
                </a:cubicBezTo>
                <a:lnTo>
                  <a:pt x="1920477" y="84775"/>
                </a:lnTo>
                <a:lnTo>
                  <a:pt x="1920441" y="84953"/>
                </a:lnTo>
                <a:lnTo>
                  <a:pt x="1913985" y="94403"/>
                </a:lnTo>
                <a:lnTo>
                  <a:pt x="1907469" y="104069"/>
                </a:lnTo>
                <a:lnTo>
                  <a:pt x="1907349" y="104118"/>
                </a:lnTo>
                <a:lnTo>
                  <a:pt x="1907224" y="104301"/>
                </a:lnTo>
                <a:lnTo>
                  <a:pt x="1878415" y="116145"/>
                </a:lnTo>
                <a:lnTo>
                  <a:pt x="1878415" y="433151"/>
                </a:lnTo>
                <a:cubicBezTo>
                  <a:pt x="1878415" y="516901"/>
                  <a:pt x="1809836" y="585424"/>
                  <a:pt x="1725882" y="585424"/>
                </a:cubicBezTo>
                <a:lnTo>
                  <a:pt x="314912" y="585424"/>
                </a:lnTo>
                <a:cubicBezTo>
                  <a:pt x="154951" y="585424"/>
                  <a:pt x="25393" y="715087"/>
                  <a:pt x="25393" y="874974"/>
                </a:cubicBezTo>
                <a:cubicBezTo>
                  <a:pt x="25393" y="1035092"/>
                  <a:pt x="154951" y="1164524"/>
                  <a:pt x="314912" y="1164524"/>
                </a:cubicBezTo>
                <a:lnTo>
                  <a:pt x="1725882" y="1164524"/>
                </a:lnTo>
                <a:cubicBezTo>
                  <a:pt x="1809836" y="1164524"/>
                  <a:pt x="1878415" y="1233278"/>
                  <a:pt x="1878415" y="1317028"/>
                </a:cubicBezTo>
                <a:lnTo>
                  <a:pt x="1878415" y="1558358"/>
                </a:lnTo>
                <a:cubicBezTo>
                  <a:pt x="1878415" y="1592504"/>
                  <a:pt x="1891026" y="1624343"/>
                  <a:pt x="1915210" y="1648568"/>
                </a:cubicBezTo>
                <a:cubicBezTo>
                  <a:pt x="1939221" y="1672563"/>
                  <a:pt x="1971006" y="1685252"/>
                  <a:pt x="2005382" y="1685252"/>
                </a:cubicBezTo>
                <a:lnTo>
                  <a:pt x="3416352" y="1685252"/>
                </a:lnTo>
                <a:cubicBezTo>
                  <a:pt x="3590305" y="1685252"/>
                  <a:pt x="3731264" y="1826220"/>
                  <a:pt x="3731264" y="2000181"/>
                </a:cubicBezTo>
                <a:cubicBezTo>
                  <a:pt x="3731264" y="2174141"/>
                  <a:pt x="3590305" y="2315109"/>
                  <a:pt x="3416352" y="2315109"/>
                </a:cubicBezTo>
                <a:lnTo>
                  <a:pt x="2005382" y="2315109"/>
                </a:lnTo>
                <a:cubicBezTo>
                  <a:pt x="1971006" y="2315109"/>
                  <a:pt x="1939221" y="2327799"/>
                  <a:pt x="1915210" y="2352024"/>
                </a:cubicBezTo>
                <a:cubicBezTo>
                  <a:pt x="1891026" y="2376250"/>
                  <a:pt x="1878415" y="2407858"/>
                  <a:pt x="1878415" y="2442235"/>
                </a:cubicBezTo>
                <a:lnTo>
                  <a:pt x="1878415" y="2712635"/>
                </a:lnTo>
                <a:cubicBezTo>
                  <a:pt x="1878415" y="2796616"/>
                  <a:pt x="1809836" y="2865139"/>
                  <a:pt x="1725882" y="2865139"/>
                </a:cubicBezTo>
                <a:lnTo>
                  <a:pt x="314912" y="2865139"/>
                </a:lnTo>
                <a:cubicBezTo>
                  <a:pt x="154951" y="2865139"/>
                  <a:pt x="25393" y="2994571"/>
                  <a:pt x="25393" y="3154689"/>
                </a:cubicBezTo>
                <a:cubicBezTo>
                  <a:pt x="25393" y="3314806"/>
                  <a:pt x="154951" y="3444238"/>
                  <a:pt x="314912" y="3444238"/>
                </a:cubicBezTo>
                <a:lnTo>
                  <a:pt x="1725882" y="3444238"/>
                </a:lnTo>
                <a:cubicBezTo>
                  <a:pt x="1809836" y="3444238"/>
                  <a:pt x="1878415" y="3512761"/>
                  <a:pt x="1878415" y="3596742"/>
                </a:cubicBezTo>
                <a:lnTo>
                  <a:pt x="1878415" y="3837842"/>
                </a:lnTo>
                <a:cubicBezTo>
                  <a:pt x="1878415" y="3872218"/>
                  <a:pt x="1891026" y="3904057"/>
                  <a:pt x="1915210" y="3928052"/>
                </a:cubicBezTo>
                <a:cubicBezTo>
                  <a:pt x="1939221" y="3952277"/>
                  <a:pt x="1971006" y="3964967"/>
                  <a:pt x="2005382" y="3964967"/>
                </a:cubicBezTo>
                <a:lnTo>
                  <a:pt x="3416352" y="3964967"/>
                </a:lnTo>
                <a:cubicBezTo>
                  <a:pt x="3590305" y="3964967"/>
                  <a:pt x="3731264" y="4103397"/>
                  <a:pt x="3731264" y="4277358"/>
                </a:cubicBezTo>
                <a:cubicBezTo>
                  <a:pt x="3731264" y="4451318"/>
                  <a:pt x="3590305" y="4592286"/>
                  <a:pt x="3416352" y="4592286"/>
                </a:cubicBezTo>
                <a:lnTo>
                  <a:pt x="2005382" y="4592286"/>
                </a:lnTo>
                <a:cubicBezTo>
                  <a:pt x="1935421" y="4592286"/>
                  <a:pt x="1878415" y="4649504"/>
                  <a:pt x="1878415" y="4719411"/>
                </a:cubicBezTo>
                <a:lnTo>
                  <a:pt x="1878415" y="4977122"/>
                </a:lnTo>
                <a:cubicBezTo>
                  <a:pt x="1906227" y="4983582"/>
                  <a:pt x="1926611" y="5007577"/>
                  <a:pt x="1926611" y="5036878"/>
                </a:cubicBezTo>
                <a:cubicBezTo>
                  <a:pt x="1926611" y="5071024"/>
                  <a:pt x="1898626" y="5097787"/>
                  <a:pt x="1865632" y="5097787"/>
                </a:cubicBezTo>
                <a:cubicBezTo>
                  <a:pt x="1831429" y="5097787"/>
                  <a:pt x="1804654" y="5069870"/>
                  <a:pt x="1804654" y="5036878"/>
                </a:cubicBezTo>
                <a:cubicBezTo>
                  <a:pt x="1804654" y="5007577"/>
                  <a:pt x="1826247" y="4983582"/>
                  <a:pt x="1852849" y="4977122"/>
                </a:cubicBezTo>
                <a:lnTo>
                  <a:pt x="1852849" y="4719411"/>
                </a:lnTo>
                <a:cubicBezTo>
                  <a:pt x="1852849" y="4635430"/>
                  <a:pt x="1921428" y="4566907"/>
                  <a:pt x="2005382" y="4566907"/>
                </a:cubicBezTo>
                <a:lnTo>
                  <a:pt x="3416352" y="4566907"/>
                </a:lnTo>
                <a:cubicBezTo>
                  <a:pt x="3576313" y="4566907"/>
                  <a:pt x="3705871" y="4437475"/>
                  <a:pt x="3705871" y="4277358"/>
                </a:cubicBezTo>
                <a:cubicBezTo>
                  <a:pt x="3705871" y="4117240"/>
                  <a:pt x="3576313" y="3987808"/>
                  <a:pt x="3416352" y="3987808"/>
                </a:cubicBezTo>
                <a:lnTo>
                  <a:pt x="2005382" y="3987808"/>
                </a:lnTo>
                <a:cubicBezTo>
                  <a:pt x="1964614" y="3987808"/>
                  <a:pt x="1926611" y="3972580"/>
                  <a:pt x="1897417" y="3943279"/>
                </a:cubicBezTo>
                <a:cubicBezTo>
                  <a:pt x="1868223" y="3914209"/>
                  <a:pt x="1852849" y="3876141"/>
                  <a:pt x="1852849" y="3835304"/>
                </a:cubicBezTo>
                <a:lnTo>
                  <a:pt x="1852849" y="3594204"/>
                </a:lnTo>
                <a:cubicBezTo>
                  <a:pt x="1852849" y="3524297"/>
                  <a:pt x="1795843" y="3467079"/>
                  <a:pt x="1725882" y="3467079"/>
                </a:cubicBezTo>
                <a:lnTo>
                  <a:pt x="314912" y="3467079"/>
                </a:lnTo>
                <a:cubicBezTo>
                  <a:pt x="140959" y="3467079"/>
                  <a:pt x="0" y="3326111"/>
                  <a:pt x="0" y="3152151"/>
                </a:cubicBezTo>
                <a:cubicBezTo>
                  <a:pt x="0" y="2978190"/>
                  <a:pt x="140959" y="2837222"/>
                  <a:pt x="314912" y="2837222"/>
                </a:cubicBezTo>
                <a:lnTo>
                  <a:pt x="1725882" y="2837222"/>
                </a:lnTo>
                <a:cubicBezTo>
                  <a:pt x="1795843" y="2837222"/>
                  <a:pt x="1852849" y="2780004"/>
                  <a:pt x="1852849" y="2710097"/>
                </a:cubicBezTo>
                <a:lnTo>
                  <a:pt x="1852849" y="2439697"/>
                </a:lnTo>
                <a:cubicBezTo>
                  <a:pt x="1852849" y="2399090"/>
                  <a:pt x="1868223" y="2361022"/>
                  <a:pt x="1897417" y="2331721"/>
                </a:cubicBezTo>
                <a:cubicBezTo>
                  <a:pt x="1926611" y="2302420"/>
                  <a:pt x="1964614" y="2287193"/>
                  <a:pt x="2005382" y="2287193"/>
                </a:cubicBezTo>
                <a:lnTo>
                  <a:pt x="3416352" y="2287193"/>
                </a:lnTo>
                <a:cubicBezTo>
                  <a:pt x="3576313" y="2287193"/>
                  <a:pt x="3705871" y="2157761"/>
                  <a:pt x="3705871" y="1997643"/>
                </a:cubicBezTo>
                <a:cubicBezTo>
                  <a:pt x="3705871" y="1837756"/>
                  <a:pt x="3576313" y="1708093"/>
                  <a:pt x="3416352" y="1708093"/>
                </a:cubicBezTo>
                <a:lnTo>
                  <a:pt x="2005382" y="1708093"/>
                </a:lnTo>
                <a:cubicBezTo>
                  <a:pt x="1964614" y="1708093"/>
                  <a:pt x="1926611" y="1692866"/>
                  <a:pt x="1897417" y="1663795"/>
                </a:cubicBezTo>
                <a:cubicBezTo>
                  <a:pt x="1868223" y="1634494"/>
                  <a:pt x="1852849" y="1596426"/>
                  <a:pt x="1852849" y="1555820"/>
                </a:cubicBezTo>
                <a:lnTo>
                  <a:pt x="1852849" y="1314490"/>
                </a:lnTo>
                <a:cubicBezTo>
                  <a:pt x="1852849" y="1244583"/>
                  <a:pt x="1795843" y="1187365"/>
                  <a:pt x="1725882" y="1187365"/>
                </a:cubicBezTo>
                <a:lnTo>
                  <a:pt x="314912" y="1187365"/>
                </a:lnTo>
                <a:cubicBezTo>
                  <a:pt x="140959" y="1187365"/>
                  <a:pt x="0" y="1046397"/>
                  <a:pt x="0" y="872436"/>
                </a:cubicBezTo>
                <a:cubicBezTo>
                  <a:pt x="0" y="698476"/>
                  <a:pt x="140959" y="557508"/>
                  <a:pt x="314912" y="557508"/>
                </a:cubicBezTo>
                <a:lnTo>
                  <a:pt x="1725882" y="557508"/>
                </a:lnTo>
                <a:cubicBezTo>
                  <a:pt x="1795843" y="557508"/>
                  <a:pt x="1852849" y="500290"/>
                  <a:pt x="1852849" y="430613"/>
                </a:cubicBezTo>
                <a:lnTo>
                  <a:pt x="1852849" y="117155"/>
                </a:lnTo>
                <a:lnTo>
                  <a:pt x="1821256" y="104069"/>
                </a:lnTo>
                <a:cubicBezTo>
                  <a:pt x="1815740" y="98553"/>
                  <a:pt x="1811276" y="91984"/>
                  <a:pt x="1808191" y="84691"/>
                </a:cubicBezTo>
                <a:lnTo>
                  <a:pt x="1803409" y="61004"/>
                </a:lnTo>
                <a:lnTo>
                  <a:pt x="1803399" y="60962"/>
                </a:lnTo>
                <a:lnTo>
                  <a:pt x="1803528" y="60329"/>
                </a:lnTo>
                <a:lnTo>
                  <a:pt x="1808191" y="37233"/>
                </a:lnTo>
                <a:lnTo>
                  <a:pt x="1808243" y="37155"/>
                </a:lnTo>
                <a:lnTo>
                  <a:pt x="1808281" y="36970"/>
                </a:lnTo>
                <a:lnTo>
                  <a:pt x="1815009" y="27121"/>
                </a:lnTo>
                <a:lnTo>
                  <a:pt x="1821256" y="17856"/>
                </a:lnTo>
                <a:lnTo>
                  <a:pt x="1821370" y="17808"/>
                </a:lnTo>
                <a:lnTo>
                  <a:pt x="1821497" y="17622"/>
                </a:lnTo>
                <a:cubicBezTo>
                  <a:pt x="1832610" y="6668"/>
                  <a:pt x="1847851" y="0"/>
                  <a:pt x="1864361" y="0"/>
                </a:cubicBezTo>
                <a:close/>
              </a:path>
            </a:pathLst>
          </a:custGeom>
          <a:solidFill>
            <a:schemeClr val="bg2">
              <a:lumMod val="75000"/>
            </a:schemeClr>
          </a:solidFill>
          <a:ln w="12700">
            <a:miter lim="400000"/>
          </a:ln>
        </p:spPr>
        <p:txBody>
          <a:bodyPr wrap="square" lIns="28575" tIns="28575" rIns="28575" bIns="28575" anchor="ctr">
            <a:noAutofit/>
          </a:bodyPr>
          <a:lstStyle/>
          <a:p>
            <a:pPr>
              <a:defRPr sz="3000">
                <a:solidFill>
                  <a:srgbClr val="FFFFFF"/>
                </a:solidFill>
              </a:defRPr>
            </a:pPr>
            <a:endParaRPr sz="2400"/>
          </a:p>
        </p:txBody>
      </p:sp>
      <p:grpSp>
        <p:nvGrpSpPr>
          <p:cNvPr id="29" name="Group 28">
            <a:extLst>
              <a:ext uri="{FF2B5EF4-FFF2-40B4-BE49-F238E27FC236}">
                <a16:creationId xmlns:a16="http://schemas.microsoft.com/office/drawing/2014/main" id="{6C695E83-E2A0-2A2A-EB28-7C34082615FA}"/>
              </a:ext>
            </a:extLst>
          </p:cNvPr>
          <p:cNvGrpSpPr/>
          <p:nvPr/>
        </p:nvGrpSpPr>
        <p:grpSpPr>
          <a:xfrm>
            <a:off x="1340798" y="3840520"/>
            <a:ext cx="406044" cy="406044"/>
            <a:chOff x="4331336" y="3808094"/>
            <a:chExt cx="447043" cy="447043"/>
          </a:xfrm>
        </p:grpSpPr>
        <p:sp>
          <p:nvSpPr>
            <p:cNvPr id="27" name="Circle">
              <a:extLst>
                <a:ext uri="{FF2B5EF4-FFF2-40B4-BE49-F238E27FC236}">
                  <a16:creationId xmlns:a16="http://schemas.microsoft.com/office/drawing/2014/main" id="{0414B7BF-51B7-FB19-684B-BEA962E31C19}"/>
                </a:ext>
              </a:extLst>
            </p:cNvPr>
            <p:cNvSpPr/>
            <p:nvPr/>
          </p:nvSpPr>
          <p:spPr>
            <a:xfrm>
              <a:off x="4331336" y="3808094"/>
              <a:ext cx="447043" cy="447043"/>
            </a:xfrm>
            <a:prstGeom prst="ellipse">
              <a:avLst/>
            </a:prstGeom>
            <a:solidFill>
              <a:schemeClr val="accent6"/>
            </a:solidFill>
            <a:ln w="12700">
              <a:miter lim="400000"/>
            </a:ln>
          </p:spPr>
          <p:txBody>
            <a:bodyPr lIns="28575" tIns="28575" rIns="28575" bIns="28575" anchor="ctr"/>
            <a:lstStyle/>
            <a:p>
              <a:pPr>
                <a:defRPr sz="3000">
                  <a:solidFill>
                    <a:srgbClr val="FFFFFF"/>
                  </a:solidFill>
                </a:defRPr>
              </a:pPr>
              <a:endParaRPr sz="2400"/>
            </a:p>
          </p:txBody>
        </p:sp>
        <p:pic>
          <p:nvPicPr>
            <p:cNvPr id="28" name="Graphic 27" descr="Hourglass Finished with solid fill">
              <a:extLst>
                <a:ext uri="{FF2B5EF4-FFF2-40B4-BE49-F238E27FC236}">
                  <a16:creationId xmlns:a16="http://schemas.microsoft.com/office/drawing/2014/main" id="{5563F118-A3FB-E75E-12CD-75FAC94C0C5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79775" y="3856533"/>
              <a:ext cx="350164" cy="350164"/>
            </a:xfrm>
            <a:prstGeom prst="rect">
              <a:avLst/>
            </a:prstGeom>
          </p:spPr>
        </p:pic>
      </p:grpSp>
      <p:sp>
        <p:nvSpPr>
          <p:cNvPr id="31" name="TextBox 30">
            <a:extLst>
              <a:ext uri="{FF2B5EF4-FFF2-40B4-BE49-F238E27FC236}">
                <a16:creationId xmlns:a16="http://schemas.microsoft.com/office/drawing/2014/main" id="{E9F0A50B-B6DB-1B5B-B3E2-A8EEE6372DDE}"/>
              </a:ext>
            </a:extLst>
          </p:cNvPr>
          <p:cNvSpPr txBox="1"/>
          <p:nvPr/>
        </p:nvSpPr>
        <p:spPr>
          <a:xfrm>
            <a:off x="1790839" y="3785368"/>
            <a:ext cx="1585135"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FFB500"/>
                </a:solidFill>
                <a:latin typeface="Roboto"/>
                <a:ea typeface="Roboto"/>
                <a:cs typeface="Arial"/>
              </a:rPr>
              <a:t>Advanced Analytics</a:t>
            </a:r>
            <a:endParaRPr lang="en-US">
              <a:solidFill>
                <a:srgbClr val="FFB500"/>
              </a:solidFill>
            </a:endParaRPr>
          </a:p>
        </p:txBody>
      </p:sp>
      <p:sp>
        <p:nvSpPr>
          <p:cNvPr id="33" name="TextBox 32">
            <a:extLst>
              <a:ext uri="{FF2B5EF4-FFF2-40B4-BE49-F238E27FC236}">
                <a16:creationId xmlns:a16="http://schemas.microsoft.com/office/drawing/2014/main" id="{2217454F-F6B4-8AC6-1906-457EB2DDB646}"/>
              </a:ext>
            </a:extLst>
          </p:cNvPr>
          <p:cNvSpPr txBox="1"/>
          <p:nvPr/>
        </p:nvSpPr>
        <p:spPr>
          <a:xfrm>
            <a:off x="3048122" y="1704305"/>
            <a:ext cx="1585135" cy="50783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mj-lt"/>
              <a:buAutoNum type="arabicPeriod"/>
            </a:pPr>
            <a:r>
              <a:rPr lang="en-US" sz="1100">
                <a:solidFill>
                  <a:srgbClr val="444444"/>
                </a:solidFill>
                <a:latin typeface="Calibri"/>
                <a:cs typeface="Arial"/>
              </a:rPr>
              <a:t>Logs collections</a:t>
            </a:r>
          </a:p>
          <a:p>
            <a:pPr marL="228600" lvl="1" indent="-228600">
              <a:buFont typeface="+mj-lt"/>
              <a:buAutoNum type="arabicPeriod"/>
            </a:pPr>
            <a:r>
              <a:rPr lang="en-US" sz="1100">
                <a:solidFill>
                  <a:srgbClr val="444444"/>
                </a:solidFill>
                <a:latin typeface="Calibri"/>
                <a:cs typeface="Arial"/>
              </a:rPr>
              <a:t>Ingestion into </a:t>
            </a:r>
            <a:r>
              <a:rPr lang="en-US" sz="1100" b="1">
                <a:solidFill>
                  <a:srgbClr val="444444"/>
                </a:solidFill>
                <a:latin typeface="Calibri"/>
                <a:cs typeface="Arial"/>
              </a:rPr>
              <a:t>ADX/Log Analytics</a:t>
            </a:r>
          </a:p>
        </p:txBody>
      </p:sp>
      <p:sp>
        <p:nvSpPr>
          <p:cNvPr id="35" name="TextBox 34">
            <a:extLst>
              <a:ext uri="{FF2B5EF4-FFF2-40B4-BE49-F238E27FC236}">
                <a16:creationId xmlns:a16="http://schemas.microsoft.com/office/drawing/2014/main" id="{2C0C27AC-9CAD-25C6-1F5C-91B791B3DF43}"/>
              </a:ext>
            </a:extLst>
          </p:cNvPr>
          <p:cNvSpPr txBox="1"/>
          <p:nvPr/>
        </p:nvSpPr>
        <p:spPr>
          <a:xfrm>
            <a:off x="3043865" y="3652837"/>
            <a:ext cx="1742128" cy="135421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mj-lt"/>
              <a:buAutoNum type="arabicPeriod"/>
            </a:pPr>
            <a:r>
              <a:rPr lang="en-US" sz="1100">
                <a:solidFill>
                  <a:srgbClr val="444444"/>
                </a:solidFill>
                <a:latin typeface="Calibri"/>
                <a:cs typeface="Arial"/>
              </a:rPr>
              <a:t>Azure ML</a:t>
            </a:r>
          </a:p>
          <a:p>
            <a:pPr marL="228600" lvl="1" indent="-228600">
              <a:buFont typeface="+mj-lt"/>
              <a:buAutoNum type="arabicPeriod"/>
            </a:pPr>
            <a:r>
              <a:rPr lang="en-US" sz="1100" b="1">
                <a:solidFill>
                  <a:srgbClr val="444444"/>
                </a:solidFill>
                <a:latin typeface="Calibri"/>
                <a:cs typeface="Arial"/>
              </a:rPr>
              <a:t>K-Means</a:t>
            </a:r>
            <a:r>
              <a:rPr lang="en-US" sz="1100">
                <a:solidFill>
                  <a:srgbClr val="444444"/>
                </a:solidFill>
                <a:latin typeface="Calibri"/>
                <a:cs typeface="Arial"/>
              </a:rPr>
              <a:t> Clustering </a:t>
            </a:r>
          </a:p>
          <a:p>
            <a:pPr marL="228600" lvl="1" indent="-228600">
              <a:buFont typeface="+mj-lt"/>
              <a:buAutoNum type="arabicPeriod"/>
            </a:pPr>
            <a:r>
              <a:rPr lang="en-US" sz="1100" b="1">
                <a:solidFill>
                  <a:srgbClr val="444444"/>
                </a:solidFill>
                <a:latin typeface="Calibri"/>
                <a:cs typeface="Arial"/>
              </a:rPr>
              <a:t>Group</a:t>
            </a:r>
            <a:r>
              <a:rPr lang="en-US" sz="1100">
                <a:solidFill>
                  <a:srgbClr val="444444"/>
                </a:solidFill>
                <a:latin typeface="Calibri"/>
                <a:cs typeface="Arial"/>
              </a:rPr>
              <a:t> </a:t>
            </a:r>
            <a:r>
              <a:rPr lang="en-US" sz="1100" b="1">
                <a:solidFill>
                  <a:srgbClr val="444444"/>
                </a:solidFill>
                <a:latin typeface="Calibri"/>
                <a:cs typeface="Arial"/>
              </a:rPr>
              <a:t>Logs</a:t>
            </a:r>
            <a:r>
              <a:rPr lang="en-US" sz="1100">
                <a:solidFill>
                  <a:srgbClr val="444444"/>
                </a:solidFill>
                <a:latin typeface="Calibri"/>
                <a:cs typeface="Arial"/>
              </a:rPr>
              <a:t> Based on </a:t>
            </a:r>
            <a:r>
              <a:rPr lang="en-US" sz="1100" b="1">
                <a:solidFill>
                  <a:srgbClr val="444444"/>
                </a:solidFill>
                <a:latin typeface="Calibri"/>
                <a:cs typeface="Arial"/>
              </a:rPr>
              <a:t>Patterns</a:t>
            </a:r>
            <a:r>
              <a:rPr lang="en-US" sz="1100">
                <a:solidFill>
                  <a:srgbClr val="444444"/>
                </a:solidFill>
                <a:latin typeface="Calibri"/>
                <a:cs typeface="Arial"/>
              </a:rPr>
              <a:t> </a:t>
            </a:r>
          </a:p>
          <a:p>
            <a:pPr marL="228600" lvl="1" indent="-228600">
              <a:buFont typeface="+mj-lt"/>
              <a:buAutoNum type="arabicPeriod"/>
            </a:pPr>
            <a:r>
              <a:rPr lang="en-US" sz="1100">
                <a:solidFill>
                  <a:srgbClr val="444444"/>
                </a:solidFill>
                <a:latin typeface="Calibri"/>
                <a:cs typeface="Arial"/>
              </a:rPr>
              <a:t>Store in </a:t>
            </a:r>
            <a:r>
              <a:rPr lang="en-US" sz="1100" b="1">
                <a:solidFill>
                  <a:srgbClr val="444444"/>
                </a:solidFill>
                <a:latin typeface="Calibri"/>
                <a:cs typeface="Arial"/>
              </a:rPr>
              <a:t>Custom Table </a:t>
            </a:r>
            <a:r>
              <a:rPr lang="en-US" sz="1100">
                <a:solidFill>
                  <a:srgbClr val="444444"/>
                </a:solidFill>
                <a:latin typeface="Calibri"/>
                <a:cs typeface="Arial"/>
              </a:rPr>
              <a:t>in ADX</a:t>
            </a:r>
          </a:p>
          <a:p>
            <a:pPr marL="228600" lvl="1" indent="-228600">
              <a:buFont typeface=""/>
              <a:buChar char="•"/>
            </a:pPr>
            <a:endParaRPr lang="en-US" sz="1100">
              <a:solidFill>
                <a:srgbClr val="444444"/>
              </a:solidFill>
              <a:latin typeface="Calibri"/>
              <a:cs typeface="Arial"/>
            </a:endParaRPr>
          </a:p>
          <a:p>
            <a:pPr marL="228600" lvl="1" indent="-228600">
              <a:buFont typeface=""/>
              <a:buChar char="•"/>
            </a:pPr>
            <a:endParaRPr lang="en-US" sz="1100">
              <a:solidFill>
                <a:srgbClr val="444444"/>
              </a:solidFill>
              <a:latin typeface="Calibri"/>
              <a:cs typeface="Arial"/>
            </a:endParaRPr>
          </a:p>
        </p:txBody>
      </p:sp>
      <p:sp>
        <p:nvSpPr>
          <p:cNvPr id="37" name="TextBox 36">
            <a:extLst>
              <a:ext uri="{FF2B5EF4-FFF2-40B4-BE49-F238E27FC236}">
                <a16:creationId xmlns:a16="http://schemas.microsoft.com/office/drawing/2014/main" id="{E2550765-1CFC-7467-1BEC-FE8B24F31891}"/>
              </a:ext>
            </a:extLst>
          </p:cNvPr>
          <p:cNvSpPr txBox="1"/>
          <p:nvPr/>
        </p:nvSpPr>
        <p:spPr>
          <a:xfrm>
            <a:off x="761608" y="2669410"/>
            <a:ext cx="2113061" cy="67710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mj-lt"/>
              <a:buAutoNum type="arabicPeriod"/>
            </a:pPr>
            <a:r>
              <a:rPr lang="en-US" sz="1100" b="1">
                <a:solidFill>
                  <a:srgbClr val="444444"/>
                </a:solidFill>
                <a:latin typeface="Calibri"/>
                <a:cs typeface="Arial"/>
              </a:rPr>
              <a:t>Azure AI Service</a:t>
            </a:r>
          </a:p>
          <a:p>
            <a:pPr marL="228600" lvl="1" indent="-228600">
              <a:buFont typeface="+mj-lt"/>
              <a:buAutoNum type="arabicPeriod"/>
            </a:pPr>
            <a:r>
              <a:rPr lang="en-US" sz="1100" b="1">
                <a:solidFill>
                  <a:srgbClr val="444444"/>
                </a:solidFill>
                <a:latin typeface="Calibri"/>
                <a:cs typeface="Arial"/>
              </a:rPr>
              <a:t>Text Analytics</a:t>
            </a:r>
            <a:r>
              <a:rPr lang="en-US" sz="1100">
                <a:solidFill>
                  <a:srgbClr val="444444"/>
                </a:solidFill>
                <a:latin typeface="Calibri"/>
                <a:cs typeface="Arial"/>
              </a:rPr>
              <a:t> </a:t>
            </a:r>
          </a:p>
          <a:p>
            <a:pPr marL="228600" lvl="1" indent="-228600">
              <a:buFont typeface="+mj-lt"/>
              <a:buAutoNum type="arabicPeriod"/>
            </a:pPr>
            <a:r>
              <a:rPr lang="en-US" sz="1100">
                <a:solidFill>
                  <a:srgbClr val="444444"/>
                </a:solidFill>
                <a:latin typeface="Calibri"/>
                <a:cs typeface="Arial"/>
              </a:rPr>
              <a:t>Extract </a:t>
            </a:r>
            <a:r>
              <a:rPr lang="en-US" sz="1100" b="1">
                <a:solidFill>
                  <a:srgbClr val="444444"/>
                </a:solidFill>
                <a:latin typeface="Calibri"/>
                <a:cs typeface="Arial"/>
              </a:rPr>
              <a:t>Insights</a:t>
            </a:r>
            <a:r>
              <a:rPr lang="en-US" sz="1100">
                <a:solidFill>
                  <a:srgbClr val="444444"/>
                </a:solidFill>
                <a:latin typeface="Calibri"/>
                <a:cs typeface="Arial"/>
              </a:rPr>
              <a:t> from Logs</a:t>
            </a:r>
          </a:p>
          <a:p>
            <a:pPr marL="228600" lvl="1" indent="-228600">
              <a:buFont typeface="+mj-lt"/>
              <a:buAutoNum type="arabicPeriod"/>
            </a:pPr>
            <a:r>
              <a:rPr lang="en-US" sz="1100">
                <a:solidFill>
                  <a:srgbClr val="444444"/>
                </a:solidFill>
                <a:latin typeface="Calibri"/>
                <a:cs typeface="Arial"/>
              </a:rPr>
              <a:t>Store in </a:t>
            </a:r>
            <a:r>
              <a:rPr lang="en-US" sz="1100" b="1">
                <a:solidFill>
                  <a:srgbClr val="444444"/>
                </a:solidFill>
                <a:latin typeface="Calibri"/>
                <a:cs typeface="Arial"/>
              </a:rPr>
              <a:t>Custom Table in ADX</a:t>
            </a:r>
          </a:p>
        </p:txBody>
      </p:sp>
      <p:sp>
        <p:nvSpPr>
          <p:cNvPr id="39" name="TextBox 38">
            <a:extLst>
              <a:ext uri="{FF2B5EF4-FFF2-40B4-BE49-F238E27FC236}">
                <a16:creationId xmlns:a16="http://schemas.microsoft.com/office/drawing/2014/main" id="{3FBBE36F-C848-FABE-4E89-27D4EABFFC59}"/>
              </a:ext>
            </a:extLst>
          </p:cNvPr>
          <p:cNvSpPr txBox="1"/>
          <p:nvPr/>
        </p:nvSpPr>
        <p:spPr>
          <a:xfrm>
            <a:off x="774388" y="4716661"/>
            <a:ext cx="2063683" cy="67710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mj-lt"/>
              <a:buAutoNum type="arabicPeriod"/>
            </a:pPr>
            <a:r>
              <a:rPr lang="en-US" sz="1100">
                <a:solidFill>
                  <a:srgbClr val="444444"/>
                </a:solidFill>
                <a:latin typeface="Calibri"/>
                <a:cs typeface="Arial"/>
              </a:rPr>
              <a:t>Azure </a:t>
            </a:r>
            <a:r>
              <a:rPr lang="en-US" sz="1100" b="1">
                <a:solidFill>
                  <a:srgbClr val="444444"/>
                </a:solidFill>
                <a:latin typeface="Calibri"/>
                <a:cs typeface="Arial"/>
              </a:rPr>
              <a:t>Dashboard</a:t>
            </a:r>
            <a:r>
              <a:rPr lang="en-US" sz="1100">
                <a:solidFill>
                  <a:srgbClr val="444444"/>
                </a:solidFill>
                <a:latin typeface="Calibri"/>
                <a:cs typeface="Arial"/>
              </a:rPr>
              <a:t> </a:t>
            </a:r>
          </a:p>
          <a:p>
            <a:pPr marL="228600" lvl="1" indent="-228600">
              <a:buFont typeface="+mj-lt"/>
              <a:buAutoNum type="arabicPeriod"/>
            </a:pPr>
            <a:r>
              <a:rPr lang="en-US" sz="1100">
                <a:solidFill>
                  <a:srgbClr val="444444"/>
                </a:solidFill>
                <a:latin typeface="Calibri"/>
                <a:cs typeface="Arial"/>
              </a:rPr>
              <a:t>Real-Time Monitoring, Clustering, and Predictive Analytics</a:t>
            </a:r>
          </a:p>
        </p:txBody>
      </p:sp>
      <p:sp>
        <p:nvSpPr>
          <p:cNvPr id="41" name="Shape">
            <a:extLst>
              <a:ext uri="{FF2B5EF4-FFF2-40B4-BE49-F238E27FC236}">
                <a16:creationId xmlns:a16="http://schemas.microsoft.com/office/drawing/2014/main" id="{0257FD96-BB7A-2167-3908-4B11F4D97340}"/>
              </a:ext>
            </a:extLst>
          </p:cNvPr>
          <p:cNvSpPr/>
          <p:nvPr/>
        </p:nvSpPr>
        <p:spPr>
          <a:xfrm>
            <a:off x="4685662" y="1223954"/>
            <a:ext cx="206481" cy="1537651"/>
          </a:xfrm>
          <a:custGeom>
            <a:avLst/>
            <a:gdLst/>
            <a:ahLst/>
            <a:cxnLst>
              <a:cxn ang="0">
                <a:pos x="wd2" y="hd2"/>
              </a:cxn>
              <a:cxn ang="5400000">
                <a:pos x="wd2" y="hd2"/>
              </a:cxn>
              <a:cxn ang="10800000">
                <a:pos x="wd2" y="hd2"/>
              </a:cxn>
              <a:cxn ang="16200000">
                <a:pos x="wd2" y="hd2"/>
              </a:cxn>
            </a:cxnLst>
            <a:rect l="0" t="0" r="r" b="b"/>
            <a:pathLst>
              <a:path w="21600" h="21600" extrusionOk="0">
                <a:moveTo>
                  <a:pt x="1207" y="0"/>
                </a:moveTo>
                <a:cubicBezTo>
                  <a:pt x="12429" y="0"/>
                  <a:pt x="21600" y="1183"/>
                  <a:pt x="21600" y="2641"/>
                </a:cubicBezTo>
                <a:lnTo>
                  <a:pt x="21600" y="18959"/>
                </a:lnTo>
                <a:cubicBezTo>
                  <a:pt x="21600" y="20417"/>
                  <a:pt x="12429" y="21600"/>
                  <a:pt x="1207" y="21600"/>
                </a:cubicBezTo>
                <a:cubicBezTo>
                  <a:pt x="483" y="21600"/>
                  <a:pt x="0" y="21535"/>
                  <a:pt x="0" y="21438"/>
                </a:cubicBezTo>
                <a:cubicBezTo>
                  <a:pt x="0" y="21357"/>
                  <a:pt x="483" y="21276"/>
                  <a:pt x="1207" y="21276"/>
                </a:cubicBezTo>
                <a:cubicBezTo>
                  <a:pt x="11102" y="21276"/>
                  <a:pt x="19187" y="20223"/>
                  <a:pt x="19187" y="18943"/>
                </a:cubicBezTo>
                <a:lnTo>
                  <a:pt x="19187" y="2625"/>
                </a:lnTo>
                <a:cubicBezTo>
                  <a:pt x="19187" y="1345"/>
                  <a:pt x="11102" y="292"/>
                  <a:pt x="1207" y="292"/>
                </a:cubicBezTo>
                <a:cubicBezTo>
                  <a:pt x="483" y="292"/>
                  <a:pt x="0" y="227"/>
                  <a:pt x="0" y="130"/>
                </a:cubicBezTo>
                <a:cubicBezTo>
                  <a:pt x="0" y="65"/>
                  <a:pt x="483" y="0"/>
                  <a:pt x="1207" y="0"/>
                </a:cubicBezTo>
                <a:close/>
              </a:path>
            </a:pathLst>
          </a:custGeom>
          <a:solidFill>
            <a:schemeClr val="accent5"/>
          </a:solidFill>
          <a:ln w="12700">
            <a:miter lim="400000"/>
          </a:ln>
        </p:spPr>
        <p:txBody>
          <a:bodyPr lIns="28575" tIns="28575" rIns="28575" bIns="28575" anchor="ctr"/>
          <a:lstStyle/>
          <a:p>
            <a:pPr>
              <a:defRPr sz="3000">
                <a:solidFill>
                  <a:srgbClr val="FFFFFF"/>
                </a:solidFill>
              </a:defRPr>
            </a:pPr>
            <a:endParaRPr sz="2400"/>
          </a:p>
        </p:txBody>
      </p:sp>
      <p:sp>
        <p:nvSpPr>
          <p:cNvPr id="47" name="Shape">
            <a:extLst>
              <a:ext uri="{FF2B5EF4-FFF2-40B4-BE49-F238E27FC236}">
                <a16:creationId xmlns:a16="http://schemas.microsoft.com/office/drawing/2014/main" id="{0EAC1B5A-06BF-BBAF-2C6B-91D65E2CF5FB}"/>
              </a:ext>
            </a:extLst>
          </p:cNvPr>
          <p:cNvSpPr/>
          <p:nvPr/>
        </p:nvSpPr>
        <p:spPr>
          <a:xfrm>
            <a:off x="4714332" y="3261305"/>
            <a:ext cx="206481" cy="1538805"/>
          </a:xfrm>
          <a:custGeom>
            <a:avLst/>
            <a:gdLst/>
            <a:ahLst/>
            <a:cxnLst>
              <a:cxn ang="0">
                <a:pos x="wd2" y="hd2"/>
              </a:cxn>
              <a:cxn ang="5400000">
                <a:pos x="wd2" y="hd2"/>
              </a:cxn>
              <a:cxn ang="10800000">
                <a:pos x="wd2" y="hd2"/>
              </a:cxn>
              <a:cxn ang="16200000">
                <a:pos x="wd2" y="hd2"/>
              </a:cxn>
            </a:cxnLst>
            <a:rect l="0" t="0" r="r" b="b"/>
            <a:pathLst>
              <a:path w="21600" h="21600" extrusionOk="0">
                <a:moveTo>
                  <a:pt x="1207" y="0"/>
                </a:moveTo>
                <a:cubicBezTo>
                  <a:pt x="12429" y="0"/>
                  <a:pt x="21600" y="1182"/>
                  <a:pt x="21600" y="2639"/>
                </a:cubicBezTo>
                <a:lnTo>
                  <a:pt x="21600" y="18961"/>
                </a:lnTo>
                <a:cubicBezTo>
                  <a:pt x="21600" y="20418"/>
                  <a:pt x="12429" y="21600"/>
                  <a:pt x="1207" y="21600"/>
                </a:cubicBezTo>
                <a:cubicBezTo>
                  <a:pt x="483" y="21600"/>
                  <a:pt x="0" y="21535"/>
                  <a:pt x="0" y="21438"/>
                </a:cubicBezTo>
                <a:cubicBezTo>
                  <a:pt x="0" y="21341"/>
                  <a:pt x="483" y="21276"/>
                  <a:pt x="1207" y="21276"/>
                </a:cubicBezTo>
                <a:cubicBezTo>
                  <a:pt x="11102" y="21276"/>
                  <a:pt x="19187" y="20224"/>
                  <a:pt x="19187" y="18945"/>
                </a:cubicBezTo>
                <a:lnTo>
                  <a:pt x="19187" y="2639"/>
                </a:lnTo>
                <a:cubicBezTo>
                  <a:pt x="19187" y="1360"/>
                  <a:pt x="11102" y="308"/>
                  <a:pt x="1207" y="308"/>
                </a:cubicBezTo>
                <a:cubicBezTo>
                  <a:pt x="483" y="308"/>
                  <a:pt x="0" y="243"/>
                  <a:pt x="0" y="146"/>
                </a:cubicBezTo>
                <a:cubicBezTo>
                  <a:pt x="0" y="49"/>
                  <a:pt x="483" y="0"/>
                  <a:pt x="1207" y="0"/>
                </a:cubicBezTo>
                <a:close/>
              </a:path>
            </a:pathLst>
          </a:custGeom>
          <a:solidFill>
            <a:schemeClr val="accent6"/>
          </a:solidFill>
          <a:ln w="12700">
            <a:miter lim="400000"/>
          </a:ln>
        </p:spPr>
        <p:txBody>
          <a:bodyPr lIns="28575" tIns="28575" rIns="28575" bIns="28575" anchor="ctr"/>
          <a:lstStyle/>
          <a:p>
            <a:pPr>
              <a:defRPr sz="3000">
                <a:solidFill>
                  <a:srgbClr val="FFFFFF"/>
                </a:solidFill>
              </a:defRPr>
            </a:pPr>
            <a:endParaRPr sz="2400"/>
          </a:p>
        </p:txBody>
      </p:sp>
      <p:sp>
        <p:nvSpPr>
          <p:cNvPr id="53" name="Shape">
            <a:extLst>
              <a:ext uri="{FF2B5EF4-FFF2-40B4-BE49-F238E27FC236}">
                <a16:creationId xmlns:a16="http://schemas.microsoft.com/office/drawing/2014/main" id="{6F62D8D5-D6D7-6367-4959-56DC1D1400BF}"/>
              </a:ext>
            </a:extLst>
          </p:cNvPr>
          <p:cNvSpPr/>
          <p:nvPr/>
        </p:nvSpPr>
        <p:spPr>
          <a:xfrm>
            <a:off x="568492" y="4267161"/>
            <a:ext cx="206481" cy="1537651"/>
          </a:xfrm>
          <a:custGeom>
            <a:avLst/>
            <a:gdLst/>
            <a:ahLst/>
            <a:cxnLst>
              <a:cxn ang="0">
                <a:pos x="wd2" y="hd2"/>
              </a:cxn>
              <a:cxn ang="5400000">
                <a:pos x="wd2" y="hd2"/>
              </a:cxn>
              <a:cxn ang="10800000">
                <a:pos x="wd2" y="hd2"/>
              </a:cxn>
              <a:cxn ang="16200000">
                <a:pos x="wd2" y="hd2"/>
              </a:cxn>
            </a:cxnLst>
            <a:rect l="0" t="0" r="r" b="b"/>
            <a:pathLst>
              <a:path w="21600" h="21600" extrusionOk="0">
                <a:moveTo>
                  <a:pt x="20393" y="21600"/>
                </a:moveTo>
                <a:cubicBezTo>
                  <a:pt x="9171" y="21600"/>
                  <a:pt x="0" y="20417"/>
                  <a:pt x="0" y="18959"/>
                </a:cubicBezTo>
                <a:lnTo>
                  <a:pt x="0" y="2641"/>
                </a:lnTo>
                <a:cubicBezTo>
                  <a:pt x="0" y="1183"/>
                  <a:pt x="9171" y="0"/>
                  <a:pt x="20393" y="0"/>
                </a:cubicBezTo>
                <a:cubicBezTo>
                  <a:pt x="21117" y="0"/>
                  <a:pt x="21600" y="65"/>
                  <a:pt x="21600" y="162"/>
                </a:cubicBezTo>
                <a:cubicBezTo>
                  <a:pt x="21600" y="243"/>
                  <a:pt x="21117" y="324"/>
                  <a:pt x="20393" y="324"/>
                </a:cubicBezTo>
                <a:cubicBezTo>
                  <a:pt x="10498" y="324"/>
                  <a:pt x="2413" y="1377"/>
                  <a:pt x="2413" y="2657"/>
                </a:cubicBezTo>
                <a:lnTo>
                  <a:pt x="2413" y="18975"/>
                </a:lnTo>
                <a:cubicBezTo>
                  <a:pt x="2413" y="20255"/>
                  <a:pt x="10498" y="21308"/>
                  <a:pt x="20393" y="21308"/>
                </a:cubicBezTo>
                <a:cubicBezTo>
                  <a:pt x="21117" y="21308"/>
                  <a:pt x="21600" y="21373"/>
                  <a:pt x="21600" y="21470"/>
                </a:cubicBezTo>
                <a:cubicBezTo>
                  <a:pt x="21600" y="21535"/>
                  <a:pt x="21117" y="21600"/>
                  <a:pt x="20393" y="21600"/>
                </a:cubicBezTo>
                <a:close/>
              </a:path>
            </a:pathLst>
          </a:custGeom>
          <a:solidFill>
            <a:schemeClr val="accent2"/>
          </a:solidFill>
          <a:ln w="12700">
            <a:miter lim="400000"/>
          </a:ln>
        </p:spPr>
        <p:txBody>
          <a:bodyPr lIns="28575" tIns="28575" rIns="28575" bIns="28575" anchor="ctr"/>
          <a:lstStyle/>
          <a:p>
            <a:pPr>
              <a:defRPr sz="3000">
                <a:solidFill>
                  <a:srgbClr val="FFFFFF"/>
                </a:solidFill>
              </a:defRPr>
            </a:pPr>
            <a:endParaRPr sz="2400"/>
          </a:p>
        </p:txBody>
      </p:sp>
      <p:sp>
        <p:nvSpPr>
          <p:cNvPr id="55" name="Shape">
            <a:extLst>
              <a:ext uri="{FF2B5EF4-FFF2-40B4-BE49-F238E27FC236}">
                <a16:creationId xmlns:a16="http://schemas.microsoft.com/office/drawing/2014/main" id="{E5C48739-F6E4-9A14-38A6-C7C6FD3E1A94}"/>
              </a:ext>
            </a:extLst>
          </p:cNvPr>
          <p:cNvSpPr/>
          <p:nvPr/>
        </p:nvSpPr>
        <p:spPr>
          <a:xfrm>
            <a:off x="576367" y="2247717"/>
            <a:ext cx="206481" cy="1537651"/>
          </a:xfrm>
          <a:custGeom>
            <a:avLst/>
            <a:gdLst/>
            <a:ahLst/>
            <a:cxnLst>
              <a:cxn ang="0">
                <a:pos x="wd2" y="hd2"/>
              </a:cxn>
              <a:cxn ang="5400000">
                <a:pos x="wd2" y="hd2"/>
              </a:cxn>
              <a:cxn ang="10800000">
                <a:pos x="wd2" y="hd2"/>
              </a:cxn>
              <a:cxn ang="16200000">
                <a:pos x="wd2" y="hd2"/>
              </a:cxn>
            </a:cxnLst>
            <a:rect l="0" t="0" r="r" b="b"/>
            <a:pathLst>
              <a:path w="21600" h="21600" extrusionOk="0">
                <a:moveTo>
                  <a:pt x="20393" y="21600"/>
                </a:moveTo>
                <a:cubicBezTo>
                  <a:pt x="9171" y="21600"/>
                  <a:pt x="0" y="20417"/>
                  <a:pt x="0" y="18959"/>
                </a:cubicBezTo>
                <a:lnTo>
                  <a:pt x="0" y="2641"/>
                </a:lnTo>
                <a:cubicBezTo>
                  <a:pt x="0" y="1183"/>
                  <a:pt x="9171" y="0"/>
                  <a:pt x="20393" y="0"/>
                </a:cubicBezTo>
                <a:cubicBezTo>
                  <a:pt x="21117" y="0"/>
                  <a:pt x="21600" y="65"/>
                  <a:pt x="21600" y="162"/>
                </a:cubicBezTo>
                <a:cubicBezTo>
                  <a:pt x="21600" y="243"/>
                  <a:pt x="21117" y="324"/>
                  <a:pt x="20393" y="324"/>
                </a:cubicBezTo>
                <a:cubicBezTo>
                  <a:pt x="10498" y="324"/>
                  <a:pt x="2413" y="1377"/>
                  <a:pt x="2413" y="2657"/>
                </a:cubicBezTo>
                <a:lnTo>
                  <a:pt x="2413" y="18975"/>
                </a:lnTo>
                <a:cubicBezTo>
                  <a:pt x="2413" y="20255"/>
                  <a:pt x="10498" y="21308"/>
                  <a:pt x="20393" y="21308"/>
                </a:cubicBezTo>
                <a:cubicBezTo>
                  <a:pt x="21117" y="21308"/>
                  <a:pt x="21600" y="21373"/>
                  <a:pt x="21600" y="21470"/>
                </a:cubicBezTo>
                <a:cubicBezTo>
                  <a:pt x="21600" y="21535"/>
                  <a:pt x="21117" y="21600"/>
                  <a:pt x="20393" y="21600"/>
                </a:cubicBezTo>
                <a:close/>
              </a:path>
            </a:pathLst>
          </a:custGeom>
          <a:solidFill>
            <a:schemeClr val="accent3"/>
          </a:solidFill>
          <a:ln w="12700">
            <a:miter lim="400000"/>
          </a:ln>
        </p:spPr>
        <p:txBody>
          <a:bodyPr lIns="28575" tIns="28575" rIns="28575" bIns="28575" anchor="ctr"/>
          <a:lstStyle/>
          <a:p>
            <a:pPr>
              <a:defRPr sz="3000">
                <a:solidFill>
                  <a:srgbClr val="FFFFFF"/>
                </a:solidFill>
              </a:defRPr>
            </a:pPr>
            <a:endParaRPr sz="2400"/>
          </a:p>
        </p:txBody>
      </p:sp>
      <p:sp>
        <p:nvSpPr>
          <p:cNvPr id="60" name="TextBox 59">
            <a:extLst>
              <a:ext uri="{FF2B5EF4-FFF2-40B4-BE49-F238E27FC236}">
                <a16:creationId xmlns:a16="http://schemas.microsoft.com/office/drawing/2014/main" id="{A761F7C1-59A5-0D3E-7079-8EA11ED00B65}"/>
              </a:ext>
            </a:extLst>
          </p:cNvPr>
          <p:cNvSpPr txBox="1"/>
          <p:nvPr/>
        </p:nvSpPr>
        <p:spPr>
          <a:xfrm>
            <a:off x="5530729" y="3180910"/>
            <a:ext cx="2743200" cy="5847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1000">
                <a:solidFill>
                  <a:schemeClr val="lt1"/>
                </a:solidFill>
                <a:latin typeface="Aptos"/>
              </a:rPr>
              <a:t>ADX/LOG ANALYTICS WORKSPACE </a:t>
            </a:r>
          </a:p>
          <a:p>
            <a:pPr algn="ctr"/>
            <a:r>
              <a:rPr lang="en-US" sz="1000">
                <a:solidFill>
                  <a:srgbClr val="FFFFFF"/>
                </a:solidFill>
                <a:latin typeface="Aptos"/>
              </a:rPr>
              <a:t>ADX/LOG ANALYTICS WORKSPACE </a:t>
            </a:r>
            <a:endParaRPr lang="en-US"/>
          </a:p>
          <a:p>
            <a:pPr algn="ctr"/>
            <a:endParaRPr lang="en-US">
              <a:cs typeface="Arial"/>
            </a:endParaRPr>
          </a:p>
        </p:txBody>
      </p:sp>
      <p:cxnSp>
        <p:nvCxnSpPr>
          <p:cNvPr id="62" name="Connector: Elbow 61">
            <a:extLst>
              <a:ext uri="{FF2B5EF4-FFF2-40B4-BE49-F238E27FC236}">
                <a16:creationId xmlns:a16="http://schemas.microsoft.com/office/drawing/2014/main" id="{CF09B805-1A5D-C6CA-D7E3-95A4F126DD2C}"/>
              </a:ext>
            </a:extLst>
          </p:cNvPr>
          <p:cNvCxnSpPr>
            <a:cxnSpLocks/>
          </p:cNvCxnSpPr>
          <p:nvPr/>
        </p:nvCxnSpPr>
        <p:spPr>
          <a:xfrm flipV="1">
            <a:off x="6683905" y="1858456"/>
            <a:ext cx="1213204" cy="1"/>
          </a:xfrm>
          <a:prstGeom prst="bentConnector3">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26" name="Connector: Elbow 1025">
            <a:extLst>
              <a:ext uri="{FF2B5EF4-FFF2-40B4-BE49-F238E27FC236}">
                <a16:creationId xmlns:a16="http://schemas.microsoft.com/office/drawing/2014/main" id="{261EB920-987A-371E-54CC-BCB4C591FFFF}"/>
              </a:ext>
            </a:extLst>
          </p:cNvPr>
          <p:cNvCxnSpPr>
            <a:cxnSpLocks/>
          </p:cNvCxnSpPr>
          <p:nvPr/>
        </p:nvCxnSpPr>
        <p:spPr>
          <a:xfrm flipV="1">
            <a:off x="9153319" y="1858455"/>
            <a:ext cx="1201883" cy="1"/>
          </a:xfrm>
          <a:prstGeom prst="bentConnector3">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30" name="Connector: Elbow 1029">
            <a:extLst>
              <a:ext uri="{FF2B5EF4-FFF2-40B4-BE49-F238E27FC236}">
                <a16:creationId xmlns:a16="http://schemas.microsoft.com/office/drawing/2014/main" id="{D0B73A42-70FD-89DE-4CDA-54C14EEE6E73}"/>
              </a:ext>
            </a:extLst>
          </p:cNvPr>
          <p:cNvCxnSpPr>
            <a:cxnSpLocks/>
          </p:cNvCxnSpPr>
          <p:nvPr/>
        </p:nvCxnSpPr>
        <p:spPr>
          <a:xfrm rot="10800000" flipV="1">
            <a:off x="9153320" y="3626902"/>
            <a:ext cx="1201882" cy="1"/>
          </a:xfrm>
          <a:prstGeom prst="bentConnector3">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36" name="Straight Arrow Connector 1035">
            <a:extLst>
              <a:ext uri="{FF2B5EF4-FFF2-40B4-BE49-F238E27FC236}">
                <a16:creationId xmlns:a16="http://schemas.microsoft.com/office/drawing/2014/main" id="{66A39897-DB9A-0AFC-7D79-BBC5C0BCAF68}"/>
              </a:ext>
            </a:extLst>
          </p:cNvPr>
          <p:cNvCxnSpPr>
            <a:cxnSpLocks/>
          </p:cNvCxnSpPr>
          <p:nvPr/>
        </p:nvCxnSpPr>
        <p:spPr>
          <a:xfrm flipH="1">
            <a:off x="8525214" y="3947008"/>
            <a:ext cx="2" cy="1091513"/>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038" name="Flowchart: Alternate Process 1037">
            <a:extLst>
              <a:ext uri="{FF2B5EF4-FFF2-40B4-BE49-F238E27FC236}">
                <a16:creationId xmlns:a16="http://schemas.microsoft.com/office/drawing/2014/main" id="{A4FD32F0-12E0-C9FD-5BB5-BE1481BF7294}"/>
              </a:ext>
            </a:extLst>
          </p:cNvPr>
          <p:cNvSpPr/>
          <p:nvPr/>
        </p:nvSpPr>
        <p:spPr>
          <a:xfrm>
            <a:off x="5427695" y="1538351"/>
            <a:ext cx="1256210" cy="640210"/>
          </a:xfrm>
          <a:prstGeom prst="flowChartAlternateProcess">
            <a:avLst/>
          </a:prstGeom>
          <a:solidFill>
            <a:schemeClr val="bg1"/>
          </a:solidFill>
          <a:ln w="1905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Data Collection from the services </a:t>
            </a:r>
            <a:endParaRPr lang="en-US">
              <a:solidFill>
                <a:schemeClr val="tx1"/>
              </a:solidFill>
            </a:endParaRPr>
          </a:p>
        </p:txBody>
      </p:sp>
      <p:sp>
        <p:nvSpPr>
          <p:cNvPr id="1042" name="Flowchart: Alternate Process 1041">
            <a:extLst>
              <a:ext uri="{FF2B5EF4-FFF2-40B4-BE49-F238E27FC236}">
                <a16:creationId xmlns:a16="http://schemas.microsoft.com/office/drawing/2014/main" id="{6B434994-3B79-AB2F-D67D-39D3984C2CF2}"/>
              </a:ext>
            </a:extLst>
          </p:cNvPr>
          <p:cNvSpPr/>
          <p:nvPr/>
        </p:nvSpPr>
        <p:spPr>
          <a:xfrm>
            <a:off x="7897109" y="1538350"/>
            <a:ext cx="1256210" cy="640210"/>
          </a:xfrm>
          <a:prstGeom prst="flowChartAlternateProcess">
            <a:avLst/>
          </a:prstGeom>
          <a:solidFill>
            <a:schemeClr val="bg1"/>
          </a:solidFill>
          <a:ln w="19050">
            <a:solidFill>
              <a:srgbClr val="C50B75"/>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ADX</a:t>
            </a:r>
            <a:r>
              <a:rPr lang="en-US" sz="1000" b="1">
                <a:solidFill>
                  <a:schemeClr val="tx1"/>
                </a:solidFill>
                <a:effectLst/>
              </a:rPr>
              <a:t>/LOG ANALYTICS WORKSPACE </a:t>
            </a:r>
            <a:endParaRPr lang="en-US" sz="1000" b="1">
              <a:solidFill>
                <a:schemeClr val="tx1"/>
              </a:solidFill>
            </a:endParaRPr>
          </a:p>
        </p:txBody>
      </p:sp>
      <p:sp>
        <p:nvSpPr>
          <p:cNvPr id="1047" name="Flowchart: Alternate Process 1046">
            <a:extLst>
              <a:ext uri="{FF2B5EF4-FFF2-40B4-BE49-F238E27FC236}">
                <a16:creationId xmlns:a16="http://schemas.microsoft.com/office/drawing/2014/main" id="{B84D98B5-68F0-4269-0CA1-09BF853C549B}"/>
              </a:ext>
            </a:extLst>
          </p:cNvPr>
          <p:cNvSpPr/>
          <p:nvPr/>
        </p:nvSpPr>
        <p:spPr>
          <a:xfrm>
            <a:off x="10355202" y="1538349"/>
            <a:ext cx="1256210" cy="640210"/>
          </a:xfrm>
          <a:prstGeom prst="flowChartAlternateProcess">
            <a:avLst/>
          </a:prstGeom>
          <a:solidFill>
            <a:schemeClr val="bg1"/>
          </a:solidFill>
          <a:ln>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effectLst/>
              </a:rPr>
              <a:t>DASHBOARD</a:t>
            </a:r>
            <a:endParaRPr lang="en-US" sz="1000" b="1">
              <a:solidFill>
                <a:schemeClr val="tx1"/>
              </a:solidFill>
            </a:endParaRPr>
          </a:p>
        </p:txBody>
      </p:sp>
      <p:sp>
        <p:nvSpPr>
          <p:cNvPr id="1049" name="Flowchart: Alternate Process 1048">
            <a:extLst>
              <a:ext uri="{FF2B5EF4-FFF2-40B4-BE49-F238E27FC236}">
                <a16:creationId xmlns:a16="http://schemas.microsoft.com/office/drawing/2014/main" id="{94A8766F-2A37-131F-2F19-1679473CA485}"/>
              </a:ext>
            </a:extLst>
          </p:cNvPr>
          <p:cNvSpPr/>
          <p:nvPr/>
        </p:nvSpPr>
        <p:spPr>
          <a:xfrm>
            <a:off x="7897109" y="3306799"/>
            <a:ext cx="1256210" cy="640210"/>
          </a:xfrm>
          <a:prstGeom prst="flowChartAlternateProcess">
            <a:avLst/>
          </a:prstGeom>
          <a:solidFill>
            <a:schemeClr val="bg1"/>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TEXT</a:t>
            </a:r>
            <a:r>
              <a:rPr lang="en-US" sz="1000" b="1">
                <a:solidFill>
                  <a:schemeClr val="tx1"/>
                </a:solidFill>
                <a:effectLst/>
              </a:rPr>
              <a:t> ANALYTICS</a:t>
            </a:r>
            <a:endParaRPr lang="en-US" sz="1000" b="1">
              <a:solidFill>
                <a:schemeClr val="tx1"/>
              </a:solidFill>
            </a:endParaRPr>
          </a:p>
        </p:txBody>
      </p:sp>
      <p:sp>
        <p:nvSpPr>
          <p:cNvPr id="1051" name="Flowchart: Alternate Process 1050">
            <a:extLst>
              <a:ext uri="{FF2B5EF4-FFF2-40B4-BE49-F238E27FC236}">
                <a16:creationId xmlns:a16="http://schemas.microsoft.com/office/drawing/2014/main" id="{7B2A725D-DE25-F8DF-4494-7139E6F7E58F}"/>
              </a:ext>
            </a:extLst>
          </p:cNvPr>
          <p:cNvSpPr/>
          <p:nvPr/>
        </p:nvSpPr>
        <p:spPr>
          <a:xfrm>
            <a:off x="10343831" y="3282608"/>
            <a:ext cx="1279677" cy="628836"/>
          </a:xfrm>
          <a:prstGeom prst="flowChartAlternateProcess">
            <a:avLst/>
          </a:prstGeom>
          <a:ln/>
        </p:spPr>
        <p:style>
          <a:lnRef idx="2">
            <a:schemeClr val="dk1"/>
          </a:lnRef>
          <a:fillRef idx="1">
            <a:schemeClr val="lt1"/>
          </a:fillRef>
          <a:effectRef idx="0">
            <a:schemeClr val="dk1"/>
          </a:effectRef>
          <a:fontRef idx="minor">
            <a:schemeClr val="dk1"/>
          </a:fontRef>
        </p:style>
        <p:txBody>
          <a:bodyPr lIns="91440" tIns="45720" rIns="91440" bIns="45720"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it-IT" sz="1000" b="1">
                <a:solidFill>
                  <a:schemeClr val="tx1"/>
                </a:solidFill>
              </a:rPr>
              <a:t> AZURE</a:t>
            </a:r>
            <a:r>
              <a:rPr lang="it-IT" sz="1000" b="1">
                <a:solidFill>
                  <a:schemeClr val="tx1"/>
                </a:solidFill>
                <a:effectLst/>
              </a:rPr>
              <a:t> AI SERVICE</a:t>
            </a:r>
            <a:br>
              <a:rPr lang="it-IT" sz="1000" b="1">
                <a:solidFill>
                  <a:schemeClr val="tx1"/>
                </a:solidFill>
              </a:rPr>
            </a:br>
            <a:r>
              <a:rPr lang="it-IT" sz="1000" b="1">
                <a:solidFill>
                  <a:schemeClr val="tx1"/>
                </a:solidFill>
              </a:rPr>
              <a:t> </a:t>
            </a:r>
            <a:r>
              <a:rPr lang="it-IT" sz="800" b="1">
                <a:solidFill>
                  <a:schemeClr val="tx1"/>
                </a:solidFill>
                <a:effectLst/>
              </a:rPr>
              <a:t>(AZURE COGNITIVE SERVICE)</a:t>
            </a:r>
            <a:endParaRPr lang="en-US" sz="800" b="1">
              <a:solidFill>
                <a:schemeClr val="tx1"/>
              </a:solidFill>
              <a:cs typeface="Arial" panose="020B0604020202020204"/>
            </a:endParaRPr>
          </a:p>
        </p:txBody>
      </p:sp>
      <p:sp>
        <p:nvSpPr>
          <p:cNvPr id="1053" name="Flowchart: Alternate Process 1052">
            <a:extLst>
              <a:ext uri="{FF2B5EF4-FFF2-40B4-BE49-F238E27FC236}">
                <a16:creationId xmlns:a16="http://schemas.microsoft.com/office/drawing/2014/main" id="{4A782A07-A690-EAF4-3B74-F415C9C45068}"/>
              </a:ext>
            </a:extLst>
          </p:cNvPr>
          <p:cNvSpPr/>
          <p:nvPr/>
        </p:nvSpPr>
        <p:spPr>
          <a:xfrm>
            <a:off x="5427694" y="3306798"/>
            <a:ext cx="1256210" cy="640210"/>
          </a:xfrm>
          <a:prstGeom prst="flowChartAlternateProcess">
            <a:avLst/>
          </a:prstGeom>
          <a:ln/>
        </p:spPr>
        <p:style>
          <a:lnRef idx="2">
            <a:schemeClr val="accent2"/>
          </a:lnRef>
          <a:fillRef idx="1">
            <a:schemeClr val="lt1"/>
          </a:fillRef>
          <a:effectRef idx="0">
            <a:schemeClr val="accent2"/>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1000" b="1">
                <a:solidFill>
                  <a:schemeClr val="tx1"/>
                </a:solidFill>
                <a:effectLst/>
              </a:rPr>
              <a:t>CLUSTERING MODEL</a:t>
            </a:r>
            <a:endParaRPr lang="en-US" sz="1000" b="1">
              <a:solidFill>
                <a:schemeClr val="tx1"/>
              </a:solidFill>
            </a:endParaRPr>
          </a:p>
        </p:txBody>
      </p:sp>
      <p:sp>
        <p:nvSpPr>
          <p:cNvPr id="1055" name="Flowchart: Alternate Process 1054">
            <a:extLst>
              <a:ext uri="{FF2B5EF4-FFF2-40B4-BE49-F238E27FC236}">
                <a16:creationId xmlns:a16="http://schemas.microsoft.com/office/drawing/2014/main" id="{F563D1B7-9F65-B06B-F034-45078BCA3867}"/>
              </a:ext>
            </a:extLst>
          </p:cNvPr>
          <p:cNvSpPr/>
          <p:nvPr/>
        </p:nvSpPr>
        <p:spPr>
          <a:xfrm>
            <a:off x="7897109" y="5038521"/>
            <a:ext cx="1256210" cy="640210"/>
          </a:xfrm>
          <a:prstGeom prst="flowChartAlternateProcess">
            <a:avLst/>
          </a:prstGeom>
          <a:ln/>
        </p:spPr>
        <p:style>
          <a:lnRef idx="2">
            <a:schemeClr val="accent5"/>
          </a:lnRef>
          <a:fillRef idx="1">
            <a:schemeClr val="lt1"/>
          </a:fillRef>
          <a:effectRef idx="0">
            <a:schemeClr val="accent5"/>
          </a:effectRef>
          <a:fontRef idx="minor">
            <a:schemeClr val="dk1"/>
          </a:fontRef>
        </p:style>
        <p:txBody>
          <a:bodyPr lIns="91440" tIns="45720" rIns="91440" bIns="45720"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1000" b="1">
                <a:solidFill>
                  <a:schemeClr val="tx1"/>
                </a:solidFill>
                <a:effectLst/>
              </a:rPr>
              <a:t>AZURE MACHINE LEARNING</a:t>
            </a:r>
            <a:endParaRPr lang="en-US" sz="1000" b="1">
              <a:solidFill>
                <a:schemeClr val="tx1"/>
              </a:solidFill>
              <a:cs typeface="Arial"/>
            </a:endParaRPr>
          </a:p>
        </p:txBody>
      </p:sp>
      <p:cxnSp>
        <p:nvCxnSpPr>
          <p:cNvPr id="1057" name="Straight Arrow Connector 1056">
            <a:extLst>
              <a:ext uri="{FF2B5EF4-FFF2-40B4-BE49-F238E27FC236}">
                <a16:creationId xmlns:a16="http://schemas.microsoft.com/office/drawing/2014/main" id="{0A2FD0F1-3B81-93E0-AC81-D13F0D1A303C}"/>
              </a:ext>
            </a:extLst>
          </p:cNvPr>
          <p:cNvCxnSpPr>
            <a:cxnSpLocks/>
          </p:cNvCxnSpPr>
          <p:nvPr/>
        </p:nvCxnSpPr>
        <p:spPr>
          <a:xfrm>
            <a:off x="9153318" y="2178559"/>
            <a:ext cx="1190511" cy="108274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59" name="Straight Arrow Connector 1058">
            <a:extLst>
              <a:ext uri="{FF2B5EF4-FFF2-40B4-BE49-F238E27FC236}">
                <a16:creationId xmlns:a16="http://schemas.microsoft.com/office/drawing/2014/main" id="{C53D3294-1A3A-B3D6-0EED-C9683F099CAE}"/>
              </a:ext>
            </a:extLst>
          </p:cNvPr>
          <p:cNvCxnSpPr/>
          <p:nvPr/>
        </p:nvCxnSpPr>
        <p:spPr>
          <a:xfrm flipV="1">
            <a:off x="6683904" y="2093894"/>
            <a:ext cx="1176919" cy="1249188"/>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61" name="Straight Arrow Connector 1060">
            <a:extLst>
              <a:ext uri="{FF2B5EF4-FFF2-40B4-BE49-F238E27FC236}">
                <a16:creationId xmlns:a16="http://schemas.microsoft.com/office/drawing/2014/main" id="{5C2D6A95-8907-2C8C-F2E5-BD91D75FF018}"/>
              </a:ext>
            </a:extLst>
          </p:cNvPr>
          <p:cNvCxnSpPr/>
          <p:nvPr/>
        </p:nvCxnSpPr>
        <p:spPr>
          <a:xfrm flipH="1" flipV="1">
            <a:off x="6683904" y="3947007"/>
            <a:ext cx="1213204" cy="117022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63" name="Straight Arrow Connector 1062">
            <a:extLst>
              <a:ext uri="{FF2B5EF4-FFF2-40B4-BE49-F238E27FC236}">
                <a16:creationId xmlns:a16="http://schemas.microsoft.com/office/drawing/2014/main" id="{FCA5DBBC-113D-A118-2299-E5F216432B51}"/>
              </a:ext>
            </a:extLst>
          </p:cNvPr>
          <p:cNvCxnSpPr>
            <a:cxnSpLocks/>
          </p:cNvCxnSpPr>
          <p:nvPr/>
        </p:nvCxnSpPr>
        <p:spPr>
          <a:xfrm flipH="1" flipV="1">
            <a:off x="8525214" y="2178560"/>
            <a:ext cx="2" cy="116609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065" name="Chord 1064">
            <a:extLst>
              <a:ext uri="{FF2B5EF4-FFF2-40B4-BE49-F238E27FC236}">
                <a16:creationId xmlns:a16="http://schemas.microsoft.com/office/drawing/2014/main" id="{44FA4D1D-B088-70A1-BF18-35E21E6A90A1}"/>
              </a:ext>
            </a:extLst>
          </p:cNvPr>
          <p:cNvSpPr/>
          <p:nvPr/>
        </p:nvSpPr>
        <p:spPr>
          <a:xfrm>
            <a:off x="6735753" y="1924453"/>
            <a:ext cx="280820" cy="289404"/>
          </a:xfrm>
          <a:prstGeom prst="chord">
            <a:avLst/>
          </a:prstGeom>
          <a:ln/>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r>
              <a:rPr lang="en-US"/>
              <a:t>1</a:t>
            </a:r>
          </a:p>
        </p:txBody>
      </p:sp>
      <p:sp>
        <p:nvSpPr>
          <p:cNvPr id="1067" name="Chord 1066">
            <a:extLst>
              <a:ext uri="{FF2B5EF4-FFF2-40B4-BE49-F238E27FC236}">
                <a16:creationId xmlns:a16="http://schemas.microsoft.com/office/drawing/2014/main" id="{0481B3BB-51F7-D098-3A01-10637D425207}"/>
              </a:ext>
            </a:extLst>
          </p:cNvPr>
          <p:cNvSpPr/>
          <p:nvPr/>
        </p:nvSpPr>
        <p:spPr>
          <a:xfrm>
            <a:off x="9001535" y="2245629"/>
            <a:ext cx="280820" cy="289404"/>
          </a:xfrm>
          <a:prstGeom prst="chord">
            <a:avLst/>
          </a:prstGeom>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r>
              <a:rPr lang="en-US"/>
              <a:t>2</a:t>
            </a:r>
          </a:p>
        </p:txBody>
      </p:sp>
      <p:sp>
        <p:nvSpPr>
          <p:cNvPr id="1069" name="Chord 1068">
            <a:extLst>
              <a:ext uri="{FF2B5EF4-FFF2-40B4-BE49-F238E27FC236}">
                <a16:creationId xmlns:a16="http://schemas.microsoft.com/office/drawing/2014/main" id="{2FF98BDC-381A-D5EA-A6AC-E06998858509}"/>
              </a:ext>
            </a:extLst>
          </p:cNvPr>
          <p:cNvSpPr/>
          <p:nvPr/>
        </p:nvSpPr>
        <p:spPr>
          <a:xfrm>
            <a:off x="10074382" y="3657600"/>
            <a:ext cx="280820" cy="289404"/>
          </a:xfrm>
          <a:prstGeom prst="chord">
            <a:avLst/>
          </a:prstGeom>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r>
              <a:rPr lang="en-US"/>
              <a:t>3</a:t>
            </a:r>
          </a:p>
        </p:txBody>
      </p:sp>
      <p:sp>
        <p:nvSpPr>
          <p:cNvPr id="1071" name="Chord 1070">
            <a:extLst>
              <a:ext uri="{FF2B5EF4-FFF2-40B4-BE49-F238E27FC236}">
                <a16:creationId xmlns:a16="http://schemas.microsoft.com/office/drawing/2014/main" id="{CD73B9D6-FC51-6BFF-A93F-E348AA0F57AA}"/>
              </a:ext>
            </a:extLst>
          </p:cNvPr>
          <p:cNvSpPr/>
          <p:nvPr/>
        </p:nvSpPr>
        <p:spPr>
          <a:xfrm>
            <a:off x="8166750" y="2925581"/>
            <a:ext cx="280820" cy="289404"/>
          </a:xfrm>
          <a:prstGeom prst="chord">
            <a:avLst/>
          </a:prstGeom>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r>
              <a:rPr lang="en-US"/>
              <a:t>4</a:t>
            </a:r>
          </a:p>
        </p:txBody>
      </p:sp>
      <p:sp>
        <p:nvSpPr>
          <p:cNvPr id="1073" name="Chord 1072">
            <a:extLst>
              <a:ext uri="{FF2B5EF4-FFF2-40B4-BE49-F238E27FC236}">
                <a16:creationId xmlns:a16="http://schemas.microsoft.com/office/drawing/2014/main" id="{C5DF2C48-6BF7-1BC9-2C90-5457E6DCE265}"/>
              </a:ext>
            </a:extLst>
          </p:cNvPr>
          <p:cNvSpPr/>
          <p:nvPr/>
        </p:nvSpPr>
        <p:spPr>
          <a:xfrm>
            <a:off x="8166750" y="4042965"/>
            <a:ext cx="280820" cy="289404"/>
          </a:xfrm>
          <a:prstGeom prst="chord">
            <a:avLst/>
          </a:prstGeom>
          <a:ln/>
        </p:spPr>
        <p:style>
          <a:lnRef idx="1">
            <a:schemeClr val="accent6"/>
          </a:lnRef>
          <a:fillRef idx="2">
            <a:schemeClr val="accent6"/>
          </a:fillRef>
          <a:effectRef idx="1">
            <a:schemeClr val="accent6"/>
          </a:effectRef>
          <a:fontRef idx="minor">
            <a:schemeClr val="dk1"/>
          </a:fontRef>
        </p:style>
        <p:txBody>
          <a:bodyPr lIns="0" tIns="0" rIns="0" bIns="0" rtlCol="0" anchor="ctr"/>
          <a:lstStyle/>
          <a:p>
            <a:pPr algn="ctr"/>
            <a:r>
              <a:rPr lang="en-US"/>
              <a:t>4</a:t>
            </a:r>
          </a:p>
        </p:txBody>
      </p:sp>
      <p:sp>
        <p:nvSpPr>
          <p:cNvPr id="1075" name="Chord 1074">
            <a:extLst>
              <a:ext uri="{FF2B5EF4-FFF2-40B4-BE49-F238E27FC236}">
                <a16:creationId xmlns:a16="http://schemas.microsoft.com/office/drawing/2014/main" id="{D50326B2-A275-3E35-6F59-927777B6BD08}"/>
              </a:ext>
            </a:extLst>
          </p:cNvPr>
          <p:cNvSpPr/>
          <p:nvPr/>
        </p:nvSpPr>
        <p:spPr>
          <a:xfrm>
            <a:off x="7475879" y="5026437"/>
            <a:ext cx="280820" cy="289404"/>
          </a:xfrm>
          <a:prstGeom prst="chord">
            <a:avLst/>
          </a:prstGeom>
          <a:ln/>
        </p:spPr>
        <p:style>
          <a:lnRef idx="1">
            <a:schemeClr val="accent6"/>
          </a:lnRef>
          <a:fillRef idx="2">
            <a:schemeClr val="accent6"/>
          </a:fillRef>
          <a:effectRef idx="1">
            <a:schemeClr val="accent6"/>
          </a:effectRef>
          <a:fontRef idx="minor">
            <a:schemeClr val="dk1"/>
          </a:fontRef>
        </p:style>
        <p:txBody>
          <a:bodyPr lIns="0" tIns="0" rIns="0" bIns="0" rtlCol="0" anchor="ctr"/>
          <a:lstStyle/>
          <a:p>
            <a:pPr algn="ctr"/>
            <a:r>
              <a:rPr lang="en-US"/>
              <a:t>5</a:t>
            </a:r>
          </a:p>
        </p:txBody>
      </p:sp>
      <p:sp>
        <p:nvSpPr>
          <p:cNvPr id="1077" name="Chord 1076">
            <a:extLst>
              <a:ext uri="{FF2B5EF4-FFF2-40B4-BE49-F238E27FC236}">
                <a16:creationId xmlns:a16="http://schemas.microsoft.com/office/drawing/2014/main" id="{1A4BD046-CE27-A7B9-6246-F42A90739BF5}"/>
              </a:ext>
            </a:extLst>
          </p:cNvPr>
          <p:cNvSpPr/>
          <p:nvPr/>
        </p:nvSpPr>
        <p:spPr>
          <a:xfrm>
            <a:off x="6465850" y="2932674"/>
            <a:ext cx="280820" cy="289404"/>
          </a:xfrm>
          <a:prstGeom prst="chord">
            <a:avLst/>
          </a:prstGeom>
          <a:ln/>
        </p:spPr>
        <p:style>
          <a:lnRef idx="1">
            <a:schemeClr val="accent6"/>
          </a:lnRef>
          <a:fillRef idx="2">
            <a:schemeClr val="accent6"/>
          </a:fillRef>
          <a:effectRef idx="1">
            <a:schemeClr val="accent6"/>
          </a:effectRef>
          <a:fontRef idx="minor">
            <a:schemeClr val="dk1"/>
          </a:fontRef>
        </p:style>
        <p:txBody>
          <a:bodyPr lIns="0" tIns="0" rIns="0" bIns="0" rtlCol="0" anchor="ctr"/>
          <a:lstStyle/>
          <a:p>
            <a:pPr algn="ctr"/>
            <a:r>
              <a:rPr lang="en-US"/>
              <a:t>6</a:t>
            </a:r>
          </a:p>
        </p:txBody>
      </p:sp>
      <p:sp>
        <p:nvSpPr>
          <p:cNvPr id="1079" name="Chord 1078">
            <a:extLst>
              <a:ext uri="{FF2B5EF4-FFF2-40B4-BE49-F238E27FC236}">
                <a16:creationId xmlns:a16="http://schemas.microsoft.com/office/drawing/2014/main" id="{BFB3223F-16C3-B156-1B3A-16E98F2B9B82}"/>
              </a:ext>
            </a:extLst>
          </p:cNvPr>
          <p:cNvSpPr/>
          <p:nvPr/>
        </p:nvSpPr>
        <p:spPr>
          <a:xfrm>
            <a:off x="9209758" y="1439699"/>
            <a:ext cx="280820" cy="289404"/>
          </a:xfrm>
          <a:prstGeom prst="chord">
            <a:avLst/>
          </a:prstGeom>
          <a:ln/>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r>
              <a:rPr lang="en-US"/>
              <a:t>7</a:t>
            </a:r>
          </a:p>
        </p:txBody>
      </p:sp>
      <p:sp>
        <p:nvSpPr>
          <p:cNvPr id="1081" name="TextBox 1080">
            <a:extLst>
              <a:ext uri="{FF2B5EF4-FFF2-40B4-BE49-F238E27FC236}">
                <a16:creationId xmlns:a16="http://schemas.microsoft.com/office/drawing/2014/main" id="{F23C4050-0CA4-251D-8D27-5608FC24C800}"/>
              </a:ext>
            </a:extLst>
          </p:cNvPr>
          <p:cNvSpPr txBox="1"/>
          <p:nvPr/>
        </p:nvSpPr>
        <p:spPr>
          <a:xfrm>
            <a:off x="6883666" y="1638459"/>
            <a:ext cx="813681" cy="184666"/>
          </a:xfrm>
          <a:prstGeom prst="rect">
            <a:avLst/>
          </a:prstGeom>
          <a:noFill/>
        </p:spPr>
        <p:txBody>
          <a:bodyPr wrap="square" lIns="0" tIns="0" rIns="0" bIns="0" rtlCol="0">
            <a:spAutoFit/>
          </a:bodyPr>
          <a:lstStyle/>
          <a:p>
            <a:pPr algn="l"/>
            <a:r>
              <a:rPr lang="en-US" sz="1200"/>
              <a:t>Ingestion</a:t>
            </a:r>
          </a:p>
        </p:txBody>
      </p:sp>
      <p:sp>
        <p:nvSpPr>
          <p:cNvPr id="1083" name="TextBox 1082">
            <a:extLst>
              <a:ext uri="{FF2B5EF4-FFF2-40B4-BE49-F238E27FC236}">
                <a16:creationId xmlns:a16="http://schemas.microsoft.com/office/drawing/2014/main" id="{CBA585A5-FF3E-2FEA-7D17-B647AE54991E}"/>
              </a:ext>
            </a:extLst>
          </p:cNvPr>
          <p:cNvSpPr txBox="1"/>
          <p:nvPr/>
        </p:nvSpPr>
        <p:spPr>
          <a:xfrm>
            <a:off x="9541521" y="1610508"/>
            <a:ext cx="813681" cy="184666"/>
          </a:xfrm>
          <a:prstGeom prst="rect">
            <a:avLst/>
          </a:prstGeom>
          <a:noFill/>
        </p:spPr>
        <p:txBody>
          <a:bodyPr wrap="square" lIns="0" tIns="0" rIns="0" bIns="0" rtlCol="0">
            <a:spAutoFit/>
          </a:bodyPr>
          <a:lstStyle/>
          <a:p>
            <a:pPr algn="l"/>
            <a:r>
              <a:rPr lang="en-US" sz="1200"/>
              <a:t>KQL</a:t>
            </a:r>
          </a:p>
        </p:txBody>
      </p:sp>
      <p:sp>
        <p:nvSpPr>
          <p:cNvPr id="1085" name="TextBox 1084">
            <a:extLst>
              <a:ext uri="{FF2B5EF4-FFF2-40B4-BE49-F238E27FC236}">
                <a16:creationId xmlns:a16="http://schemas.microsoft.com/office/drawing/2014/main" id="{CD24DC4C-EE11-86CC-6594-B55C35B62D0B}"/>
              </a:ext>
            </a:extLst>
          </p:cNvPr>
          <p:cNvSpPr txBox="1"/>
          <p:nvPr/>
        </p:nvSpPr>
        <p:spPr>
          <a:xfrm>
            <a:off x="9667541" y="2390331"/>
            <a:ext cx="813681" cy="184666"/>
          </a:xfrm>
          <a:prstGeom prst="rect">
            <a:avLst/>
          </a:prstGeom>
          <a:noFill/>
        </p:spPr>
        <p:txBody>
          <a:bodyPr wrap="square" lIns="0" tIns="0" rIns="0" bIns="0" rtlCol="0">
            <a:spAutoFit/>
          </a:bodyPr>
          <a:lstStyle/>
          <a:p>
            <a:pPr algn="l"/>
            <a:r>
              <a:rPr lang="en-US" sz="1200"/>
              <a:t>KQL</a:t>
            </a:r>
          </a:p>
        </p:txBody>
      </p:sp>
    </p:spTree>
    <p:extLst>
      <p:ext uri="{BB962C8B-B14F-4D97-AF65-F5344CB8AC3E}">
        <p14:creationId xmlns:p14="http://schemas.microsoft.com/office/powerpoint/2010/main" val="2009424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8CDD38D-9F1D-49FB-9B35-1062FBACB790}"/>
              </a:ext>
            </a:extLst>
          </p:cNvPr>
          <p:cNvGrpSpPr/>
          <p:nvPr/>
        </p:nvGrpSpPr>
        <p:grpSpPr>
          <a:xfrm>
            <a:off x="627392" y="1336865"/>
            <a:ext cx="11107881" cy="4999802"/>
            <a:chOff x="627392" y="1429541"/>
            <a:chExt cx="11107881" cy="4999802"/>
          </a:xfrm>
        </p:grpSpPr>
        <p:grpSp>
          <p:nvGrpSpPr>
            <p:cNvPr id="41" name="Group 40">
              <a:extLst>
                <a:ext uri="{FF2B5EF4-FFF2-40B4-BE49-F238E27FC236}">
                  <a16:creationId xmlns:a16="http://schemas.microsoft.com/office/drawing/2014/main" id="{9D11F4F6-6B66-3F63-53B3-84CF50B5A9FB}"/>
                </a:ext>
              </a:extLst>
            </p:cNvPr>
            <p:cNvGrpSpPr/>
            <p:nvPr/>
          </p:nvGrpSpPr>
          <p:grpSpPr>
            <a:xfrm>
              <a:off x="627392" y="1429541"/>
              <a:ext cx="11107881" cy="4999802"/>
              <a:chOff x="616226" y="1098550"/>
              <a:chExt cx="11107881" cy="4999802"/>
            </a:xfrm>
          </p:grpSpPr>
          <p:sp>
            <p:nvSpPr>
              <p:cNvPr id="8" name="Freeform: Shape 7">
                <a:extLst>
                  <a:ext uri="{FF2B5EF4-FFF2-40B4-BE49-F238E27FC236}">
                    <a16:creationId xmlns:a16="http://schemas.microsoft.com/office/drawing/2014/main" id="{EB29871E-3662-CBAE-51A1-AFB023016423}"/>
                  </a:ext>
                </a:extLst>
              </p:cNvPr>
              <p:cNvSpPr/>
              <p:nvPr/>
            </p:nvSpPr>
            <p:spPr>
              <a:xfrm>
                <a:off x="3608427" y="1098550"/>
                <a:ext cx="1551232" cy="1516327"/>
              </a:xfrm>
              <a:custGeom>
                <a:avLst/>
                <a:gdLst>
                  <a:gd name="connsiteX0" fmla="*/ 299823 w 1724424"/>
                  <a:gd name="connsiteY0" fmla="*/ 1674902 h 1685623"/>
                  <a:gd name="connsiteX1" fmla="*/ 79785 w 1724424"/>
                  <a:gd name="connsiteY1" fmla="*/ 1579521 h 1685623"/>
                  <a:gd name="connsiteX2" fmla="*/ 10945 w 1724424"/>
                  <a:gd name="connsiteY2" fmla="*/ 1404985 h 1685623"/>
                  <a:gd name="connsiteX3" fmla="*/ 13681 w 1724424"/>
                  <a:gd name="connsiteY3" fmla="*/ 1399083 h 1685623"/>
                  <a:gd name="connsiteX4" fmla="*/ 1450403 w 1724424"/>
                  <a:gd name="connsiteY4" fmla="*/ 11362 h 1685623"/>
                  <a:gd name="connsiteX5" fmla="*/ 1625648 w 1724424"/>
                  <a:gd name="connsiteY5" fmla="*/ 78984 h 1685623"/>
                  <a:gd name="connsiteX6" fmla="*/ 1627605 w 1724424"/>
                  <a:gd name="connsiteY6" fmla="*/ 83630 h 1685623"/>
                  <a:gd name="connsiteX7" fmla="*/ 1715127 w 1724424"/>
                  <a:gd name="connsiteY7" fmla="*/ 306904 h 1685623"/>
                  <a:gd name="connsiteX8" fmla="*/ 1647020 w 1724424"/>
                  <a:gd name="connsiteY8" fmla="*/ 475631 h 1685623"/>
                  <a:gd name="connsiteX9" fmla="*/ 470091 w 1724424"/>
                  <a:gd name="connsiteY9" fmla="*/ 1612342 h 1685623"/>
                  <a:gd name="connsiteX10" fmla="*/ 299823 w 1724424"/>
                  <a:gd name="connsiteY10" fmla="*/ 1674902 h 1685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424" h="1685623">
                    <a:moveTo>
                      <a:pt x="299823" y="1674902"/>
                    </a:moveTo>
                    <a:lnTo>
                      <a:pt x="79785" y="1579521"/>
                    </a:lnTo>
                    <a:cubicBezTo>
                      <a:pt x="12577" y="1550337"/>
                      <a:pt x="-18244" y="1472183"/>
                      <a:pt x="10945" y="1404985"/>
                    </a:cubicBezTo>
                    <a:cubicBezTo>
                      <a:pt x="11808" y="1402997"/>
                      <a:pt x="12721" y="1401025"/>
                      <a:pt x="13681" y="1399083"/>
                    </a:cubicBezTo>
                    <a:cubicBezTo>
                      <a:pt x="317582" y="784193"/>
                      <a:pt x="825343" y="293752"/>
                      <a:pt x="1450403" y="11362"/>
                    </a:cubicBezTo>
                    <a:cubicBezTo>
                      <a:pt x="1517462" y="-18359"/>
                      <a:pt x="1595924" y="11918"/>
                      <a:pt x="1625648" y="78984"/>
                    </a:cubicBezTo>
                    <a:cubicBezTo>
                      <a:pt x="1626326" y="80520"/>
                      <a:pt x="1626989" y="82069"/>
                      <a:pt x="1627605" y="83630"/>
                    </a:cubicBezTo>
                    <a:lnTo>
                      <a:pt x="1715127" y="306904"/>
                    </a:lnTo>
                    <a:cubicBezTo>
                      <a:pt x="1740891" y="372308"/>
                      <a:pt x="1710967" y="446439"/>
                      <a:pt x="1647020" y="475631"/>
                    </a:cubicBezTo>
                    <a:cubicBezTo>
                      <a:pt x="1136324" y="708890"/>
                      <a:pt x="720947" y="1110060"/>
                      <a:pt x="470091" y="1612342"/>
                    </a:cubicBezTo>
                    <a:cubicBezTo>
                      <a:pt x="438847" y="1674979"/>
                      <a:pt x="364191" y="1702407"/>
                      <a:pt x="299823" y="1674902"/>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12" name="Freeform: Shape 11">
                <a:extLst>
                  <a:ext uri="{FF2B5EF4-FFF2-40B4-BE49-F238E27FC236}">
                    <a16:creationId xmlns:a16="http://schemas.microsoft.com/office/drawing/2014/main" id="{AC73601A-EE45-1ABB-6FA2-65F4ED869633}"/>
                  </a:ext>
                </a:extLst>
              </p:cNvPr>
              <p:cNvSpPr/>
              <p:nvPr/>
            </p:nvSpPr>
            <p:spPr>
              <a:xfrm>
                <a:off x="7078981" y="1110090"/>
                <a:ext cx="1517070" cy="1552187"/>
              </a:xfrm>
              <a:custGeom>
                <a:avLst/>
                <a:gdLst>
                  <a:gd name="connsiteX0" fmla="*/ 11097 w 1686448"/>
                  <a:gd name="connsiteY0" fmla="*/ 299776 h 1725486"/>
                  <a:gd name="connsiteX1" fmla="*/ 106478 w 1686448"/>
                  <a:gd name="connsiteY1" fmla="*/ 79738 h 1725486"/>
                  <a:gd name="connsiteX2" fmla="*/ 281307 w 1686448"/>
                  <a:gd name="connsiteY2" fmla="*/ 11031 h 1725486"/>
                  <a:gd name="connsiteX3" fmla="*/ 286916 w 1686448"/>
                  <a:gd name="connsiteY3" fmla="*/ 13634 h 1725486"/>
                  <a:gd name="connsiteX4" fmla="*/ 1674638 w 1686448"/>
                  <a:gd name="connsiteY4" fmla="*/ 1450356 h 1725486"/>
                  <a:gd name="connsiteX5" fmla="*/ 1608180 w 1686448"/>
                  <a:gd name="connsiteY5" fmla="*/ 1625816 h 1725486"/>
                  <a:gd name="connsiteX6" fmla="*/ 1602216 w 1686448"/>
                  <a:gd name="connsiteY6" fmla="*/ 1628328 h 1725486"/>
                  <a:gd name="connsiteX7" fmla="*/ 1378942 w 1686448"/>
                  <a:gd name="connsiteY7" fmla="*/ 1716004 h 1725486"/>
                  <a:gd name="connsiteX8" fmla="*/ 1209445 w 1686448"/>
                  <a:gd name="connsiteY8" fmla="*/ 1647743 h 1725486"/>
                  <a:gd name="connsiteX9" fmla="*/ 73349 w 1686448"/>
                  <a:gd name="connsiteY9" fmla="*/ 471431 h 1725486"/>
                  <a:gd name="connsiteX10" fmla="*/ 11097 w 1686448"/>
                  <a:gd name="connsiteY10" fmla="*/ 299776 h 172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6448" h="1725486">
                    <a:moveTo>
                      <a:pt x="11097" y="299776"/>
                    </a:moveTo>
                    <a:lnTo>
                      <a:pt x="106478" y="79738"/>
                    </a:lnTo>
                    <a:cubicBezTo>
                      <a:pt x="135786" y="12489"/>
                      <a:pt x="214047" y="-18273"/>
                      <a:pt x="281307" y="11031"/>
                    </a:cubicBezTo>
                    <a:cubicBezTo>
                      <a:pt x="283187" y="11856"/>
                      <a:pt x="285067" y="12723"/>
                      <a:pt x="286916" y="13634"/>
                    </a:cubicBezTo>
                    <a:cubicBezTo>
                      <a:pt x="901745" y="317620"/>
                      <a:pt x="1392163" y="825357"/>
                      <a:pt x="1674638" y="1450356"/>
                    </a:cubicBezTo>
                    <a:cubicBezTo>
                      <a:pt x="1704732" y="1517153"/>
                      <a:pt x="1674977" y="1595723"/>
                      <a:pt x="1608180" y="1625816"/>
                    </a:cubicBezTo>
                    <a:cubicBezTo>
                      <a:pt x="1606207" y="1626694"/>
                      <a:pt x="1604220" y="1627542"/>
                      <a:pt x="1602216" y="1628328"/>
                    </a:cubicBezTo>
                    <a:lnTo>
                      <a:pt x="1378942" y="1716004"/>
                    </a:lnTo>
                    <a:cubicBezTo>
                      <a:pt x="1313285" y="1742153"/>
                      <a:pt x="1238660" y="1712106"/>
                      <a:pt x="1209445" y="1647743"/>
                    </a:cubicBezTo>
                    <a:cubicBezTo>
                      <a:pt x="976154" y="1137433"/>
                      <a:pt x="575247" y="722318"/>
                      <a:pt x="73349" y="471431"/>
                    </a:cubicBezTo>
                    <a:cubicBezTo>
                      <a:pt x="10142" y="439975"/>
                      <a:pt x="-17255" y="364440"/>
                      <a:pt x="11097" y="299776"/>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17" name="Freeform: Shape 16">
                <a:extLst>
                  <a:ext uri="{FF2B5EF4-FFF2-40B4-BE49-F238E27FC236}">
                    <a16:creationId xmlns:a16="http://schemas.microsoft.com/office/drawing/2014/main" id="{D5AA95E7-06BD-4054-3AC8-79C509F055CA}"/>
                  </a:ext>
                </a:extLst>
              </p:cNvPr>
              <p:cNvSpPr/>
              <p:nvPr/>
            </p:nvSpPr>
            <p:spPr>
              <a:xfrm>
                <a:off x="7032350" y="4581800"/>
                <a:ext cx="1551915" cy="1516552"/>
              </a:xfrm>
              <a:custGeom>
                <a:avLst/>
                <a:gdLst>
                  <a:gd name="connsiteX0" fmla="*/ 1425233 w 1725184"/>
                  <a:gd name="connsiteY0" fmla="*/ 10687 h 1685873"/>
                  <a:gd name="connsiteX1" fmla="*/ 1645271 w 1725184"/>
                  <a:gd name="connsiteY1" fmla="*/ 106068 h 1685873"/>
                  <a:gd name="connsiteX2" fmla="*/ 1714149 w 1725184"/>
                  <a:gd name="connsiteY2" fmla="*/ 280358 h 1685873"/>
                  <a:gd name="connsiteX3" fmla="*/ 1711375 w 1725184"/>
                  <a:gd name="connsiteY3" fmla="*/ 286352 h 1685873"/>
                  <a:gd name="connsiteX4" fmla="*/ 274653 w 1725184"/>
                  <a:gd name="connsiteY4" fmla="*/ 1674073 h 1685873"/>
                  <a:gd name="connsiteX5" fmla="*/ 99192 w 1725184"/>
                  <a:gd name="connsiteY5" fmla="*/ 1607614 h 1685873"/>
                  <a:gd name="connsiteX6" fmla="*/ 96680 w 1725184"/>
                  <a:gd name="connsiteY6" fmla="*/ 1601651 h 1685873"/>
                  <a:gd name="connsiteX7" fmla="*/ 9158 w 1725184"/>
                  <a:gd name="connsiteY7" fmla="*/ 1378377 h 1685873"/>
                  <a:gd name="connsiteX8" fmla="*/ 77265 w 1725184"/>
                  <a:gd name="connsiteY8" fmla="*/ 1209650 h 1685873"/>
                  <a:gd name="connsiteX9" fmla="*/ 1254965 w 1725184"/>
                  <a:gd name="connsiteY9" fmla="*/ 72785 h 1685873"/>
                  <a:gd name="connsiteX10" fmla="*/ 1425233 w 1725184"/>
                  <a:gd name="connsiteY10" fmla="*/ 10687 h 168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5184" h="1685873">
                    <a:moveTo>
                      <a:pt x="1425233" y="10687"/>
                    </a:moveTo>
                    <a:lnTo>
                      <a:pt x="1645271" y="106068"/>
                    </a:lnTo>
                    <a:cubicBezTo>
                      <a:pt x="1712423" y="135175"/>
                      <a:pt x="1743256" y="213206"/>
                      <a:pt x="1714149" y="280358"/>
                    </a:cubicBezTo>
                    <a:cubicBezTo>
                      <a:pt x="1713271" y="282376"/>
                      <a:pt x="1712346" y="284379"/>
                      <a:pt x="1711375" y="286352"/>
                    </a:cubicBezTo>
                    <a:cubicBezTo>
                      <a:pt x="1407512" y="901273"/>
                      <a:pt x="899744" y="1391721"/>
                      <a:pt x="274653" y="1674073"/>
                    </a:cubicBezTo>
                    <a:cubicBezTo>
                      <a:pt x="207856" y="1704167"/>
                      <a:pt x="129286" y="1674412"/>
                      <a:pt x="99192" y="1607614"/>
                    </a:cubicBezTo>
                    <a:cubicBezTo>
                      <a:pt x="98314" y="1605642"/>
                      <a:pt x="97466" y="1603654"/>
                      <a:pt x="96680" y="1601651"/>
                    </a:cubicBezTo>
                    <a:lnTo>
                      <a:pt x="9158" y="1378377"/>
                    </a:lnTo>
                    <a:cubicBezTo>
                      <a:pt x="-16606" y="1312967"/>
                      <a:pt x="13319" y="1238835"/>
                      <a:pt x="77265" y="1209650"/>
                    </a:cubicBezTo>
                    <a:cubicBezTo>
                      <a:pt x="588254" y="976483"/>
                      <a:pt x="1003924" y="575237"/>
                      <a:pt x="1254965" y="72785"/>
                    </a:cubicBezTo>
                    <a:cubicBezTo>
                      <a:pt x="1286368" y="10317"/>
                      <a:pt x="1360978" y="-16895"/>
                      <a:pt x="1425233" y="10687"/>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22" name="Freeform: Shape 21">
                <a:extLst>
                  <a:ext uri="{FF2B5EF4-FFF2-40B4-BE49-F238E27FC236}">
                    <a16:creationId xmlns:a16="http://schemas.microsoft.com/office/drawing/2014/main" id="{6B2B4B0E-7ED8-94DE-A08B-2AA84B585F31}"/>
                  </a:ext>
                </a:extLst>
              </p:cNvPr>
              <p:cNvSpPr/>
              <p:nvPr/>
            </p:nvSpPr>
            <p:spPr>
              <a:xfrm>
                <a:off x="3595949" y="4534436"/>
                <a:ext cx="1517201" cy="1552761"/>
              </a:xfrm>
              <a:custGeom>
                <a:avLst/>
                <a:gdLst>
                  <a:gd name="connsiteX0" fmla="*/ 1675222 w 1686594"/>
                  <a:gd name="connsiteY0" fmla="*/ 1426098 h 1726124"/>
                  <a:gd name="connsiteX1" fmla="*/ 1579841 w 1686594"/>
                  <a:gd name="connsiteY1" fmla="*/ 1646137 h 1726124"/>
                  <a:gd name="connsiteX2" fmla="*/ 1405089 w 1686594"/>
                  <a:gd name="connsiteY2" fmla="*/ 1715030 h 1726124"/>
                  <a:gd name="connsiteX3" fmla="*/ 1399403 w 1686594"/>
                  <a:gd name="connsiteY3" fmla="*/ 1712395 h 1726124"/>
                  <a:gd name="connsiteX4" fmla="*/ 11680 w 1686594"/>
                  <a:gd name="connsiteY4" fmla="*/ 275057 h 1726124"/>
                  <a:gd name="connsiteX5" fmla="*/ 78242 w 1686594"/>
                  <a:gd name="connsiteY5" fmla="*/ 99396 h 1726124"/>
                  <a:gd name="connsiteX6" fmla="*/ 84102 w 1686594"/>
                  <a:gd name="connsiteY6" fmla="*/ 96930 h 1726124"/>
                  <a:gd name="connsiteX7" fmla="*/ 307377 w 1686594"/>
                  <a:gd name="connsiteY7" fmla="*/ 9408 h 1726124"/>
                  <a:gd name="connsiteX8" fmla="*/ 476874 w 1686594"/>
                  <a:gd name="connsiteY8" fmla="*/ 77669 h 1726124"/>
                  <a:gd name="connsiteX9" fmla="*/ 1613740 w 1686594"/>
                  <a:gd name="connsiteY9" fmla="*/ 1254443 h 1726124"/>
                  <a:gd name="connsiteX10" fmla="*/ 1675222 w 1686594"/>
                  <a:gd name="connsiteY10" fmla="*/ 1426098 h 172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6594" h="1726124">
                    <a:moveTo>
                      <a:pt x="1675222" y="1426098"/>
                    </a:moveTo>
                    <a:lnTo>
                      <a:pt x="1579841" y="1646137"/>
                    </a:lnTo>
                    <a:cubicBezTo>
                      <a:pt x="1550610" y="1713412"/>
                      <a:pt x="1472364" y="1744260"/>
                      <a:pt x="1405089" y="1715030"/>
                    </a:cubicBezTo>
                    <a:cubicBezTo>
                      <a:pt x="1403178" y="1714198"/>
                      <a:pt x="1401283" y="1713320"/>
                      <a:pt x="1399403" y="1712395"/>
                    </a:cubicBezTo>
                    <a:cubicBezTo>
                      <a:pt x="784481" y="1408255"/>
                      <a:pt x="294040" y="900287"/>
                      <a:pt x="11680" y="275057"/>
                    </a:cubicBezTo>
                    <a:cubicBezTo>
                      <a:pt x="-18445" y="208167"/>
                      <a:pt x="11355" y="129536"/>
                      <a:pt x="78242" y="99396"/>
                    </a:cubicBezTo>
                    <a:cubicBezTo>
                      <a:pt x="80174" y="98533"/>
                      <a:pt x="82130" y="97701"/>
                      <a:pt x="84102" y="96930"/>
                    </a:cubicBezTo>
                    <a:lnTo>
                      <a:pt x="307377" y="9408"/>
                    </a:lnTo>
                    <a:cubicBezTo>
                      <a:pt x="373038" y="-16833"/>
                      <a:pt x="447720" y="13245"/>
                      <a:pt x="476874" y="77669"/>
                    </a:cubicBezTo>
                    <a:cubicBezTo>
                      <a:pt x="710195" y="588335"/>
                      <a:pt x="1111426" y="1003649"/>
                      <a:pt x="1613740" y="1254443"/>
                    </a:cubicBezTo>
                    <a:cubicBezTo>
                      <a:pt x="1676655" y="1286171"/>
                      <a:pt x="1703682" y="1361643"/>
                      <a:pt x="1675222" y="1426098"/>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7" name="Freeform: Shape 6">
                <a:extLst>
                  <a:ext uri="{FF2B5EF4-FFF2-40B4-BE49-F238E27FC236}">
                    <a16:creationId xmlns:a16="http://schemas.microsoft.com/office/drawing/2014/main" id="{6A9F9DAB-59A5-F306-2D16-26F151E17422}"/>
                  </a:ext>
                </a:extLst>
              </p:cNvPr>
              <p:cNvSpPr/>
              <p:nvPr/>
            </p:nvSpPr>
            <p:spPr>
              <a:xfrm>
                <a:off x="3761488" y="1279139"/>
                <a:ext cx="2583957" cy="2231982"/>
              </a:xfrm>
              <a:custGeom>
                <a:avLst/>
                <a:gdLst>
                  <a:gd name="connsiteX0" fmla="*/ 1144809 w 2872452"/>
                  <a:gd name="connsiteY0" fmla="*/ 2474493 h 2481179"/>
                  <a:gd name="connsiteX1" fmla="*/ 2368427 w 2872452"/>
                  <a:gd name="connsiteY1" fmla="*/ 1141781 h 2481179"/>
                  <a:gd name="connsiteX2" fmla="*/ 2698639 w 2872452"/>
                  <a:gd name="connsiteY2" fmla="*/ 963963 h 2481179"/>
                  <a:gd name="connsiteX3" fmla="*/ 2729457 w 2872452"/>
                  <a:gd name="connsiteY3" fmla="*/ 928831 h 2481179"/>
                  <a:gd name="connsiteX4" fmla="*/ 2722369 w 2872452"/>
                  <a:gd name="connsiteY4" fmla="*/ 176570 h 2481179"/>
                  <a:gd name="connsiteX5" fmla="*/ 2722369 w 2872452"/>
                  <a:gd name="connsiteY5" fmla="*/ 176570 h 2481179"/>
                  <a:gd name="connsiteX6" fmla="*/ 2244694 w 2872452"/>
                  <a:gd name="connsiteY6" fmla="*/ 4608 h 2481179"/>
                  <a:gd name="connsiteX7" fmla="*/ -70 w 2872452"/>
                  <a:gd name="connsiteY7" fmla="*/ 2481119 h 2481179"/>
                  <a:gd name="connsiteX8" fmla="*/ -70 w 2872452"/>
                  <a:gd name="connsiteY8" fmla="*/ 2481119 h 2481179"/>
                  <a:gd name="connsiteX9" fmla="*/ 1140186 w 2872452"/>
                  <a:gd name="connsiteY9" fmla="*/ 2470178 h 248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2452" h="2481179">
                    <a:moveTo>
                      <a:pt x="1144809" y="2474493"/>
                    </a:moveTo>
                    <a:cubicBezTo>
                      <a:pt x="1194009" y="1800140"/>
                      <a:pt x="1700715" y="1248256"/>
                      <a:pt x="2368427" y="1141781"/>
                    </a:cubicBezTo>
                    <a:cubicBezTo>
                      <a:pt x="2495643" y="1122181"/>
                      <a:pt x="2612242" y="1059390"/>
                      <a:pt x="2698639" y="963963"/>
                    </a:cubicBezTo>
                    <a:lnTo>
                      <a:pt x="2729457" y="928831"/>
                    </a:lnTo>
                    <a:cubicBezTo>
                      <a:pt x="2922715" y="714247"/>
                      <a:pt x="2919633" y="387470"/>
                      <a:pt x="2722369" y="176570"/>
                    </a:cubicBezTo>
                    <a:lnTo>
                      <a:pt x="2722369" y="176570"/>
                    </a:lnTo>
                    <a:cubicBezTo>
                      <a:pt x="2600253" y="45475"/>
                      <a:pt x="2422343" y="-18572"/>
                      <a:pt x="2244694" y="4608"/>
                    </a:cubicBezTo>
                    <a:cubicBezTo>
                      <a:pt x="1006900" y="172102"/>
                      <a:pt x="46619" y="1214357"/>
                      <a:pt x="-70" y="2481119"/>
                    </a:cubicBezTo>
                    <a:lnTo>
                      <a:pt x="-70" y="2481119"/>
                    </a:lnTo>
                    <a:cubicBezTo>
                      <a:pt x="300557" y="2101599"/>
                      <a:pt x="837710" y="2115158"/>
                      <a:pt x="1140186" y="2470178"/>
                    </a:cubicBezTo>
                    <a:close/>
                  </a:path>
                </a:pathLst>
              </a:custGeom>
              <a:solidFill>
                <a:srgbClr val="FA854B"/>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9" name="Freeform: Shape 8">
                <a:extLst>
                  <a:ext uri="{FF2B5EF4-FFF2-40B4-BE49-F238E27FC236}">
                    <a16:creationId xmlns:a16="http://schemas.microsoft.com/office/drawing/2014/main" id="{A3D8E584-1B16-0ADA-9410-3BD6EAFF61FB}"/>
                  </a:ext>
                </a:extLst>
              </p:cNvPr>
              <p:cNvSpPr/>
              <p:nvPr/>
            </p:nvSpPr>
            <p:spPr>
              <a:xfrm>
                <a:off x="5413337" y="1377318"/>
                <a:ext cx="812270" cy="812269"/>
              </a:xfrm>
              <a:custGeom>
                <a:avLst/>
                <a:gdLst>
                  <a:gd name="connsiteX0" fmla="*/ 902960 w 902959"/>
                  <a:gd name="connsiteY0" fmla="*/ 451479 h 902958"/>
                  <a:gd name="connsiteX1" fmla="*/ 451480 w 902959"/>
                  <a:gd name="connsiteY1" fmla="*/ 902959 h 902958"/>
                  <a:gd name="connsiteX2" fmla="*/ 0 w 902959"/>
                  <a:gd name="connsiteY2" fmla="*/ 451479 h 902958"/>
                  <a:gd name="connsiteX3" fmla="*/ 451480 w 902959"/>
                  <a:gd name="connsiteY3" fmla="*/ 0 h 902958"/>
                  <a:gd name="connsiteX4" fmla="*/ 902960 w 902959"/>
                  <a:gd name="connsiteY4" fmla="*/ 451479 h 90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8">
                    <a:moveTo>
                      <a:pt x="902960" y="451479"/>
                    </a:moveTo>
                    <a:cubicBezTo>
                      <a:pt x="902960" y="700825"/>
                      <a:pt x="700825" y="902959"/>
                      <a:pt x="451480" y="902959"/>
                    </a:cubicBezTo>
                    <a:cubicBezTo>
                      <a:pt x="202134" y="902959"/>
                      <a:pt x="0" y="700825"/>
                      <a:pt x="0" y="451479"/>
                    </a:cubicBezTo>
                    <a:cubicBezTo>
                      <a:pt x="0" y="202134"/>
                      <a:pt x="202134" y="0"/>
                      <a:pt x="451480" y="0"/>
                    </a:cubicBezTo>
                    <a:cubicBezTo>
                      <a:pt x="700825" y="0"/>
                      <a:pt x="902960" y="202134"/>
                      <a:pt x="902960" y="451479"/>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1" name="Freeform: Shape 10">
                <a:extLst>
                  <a:ext uri="{FF2B5EF4-FFF2-40B4-BE49-F238E27FC236}">
                    <a16:creationId xmlns:a16="http://schemas.microsoft.com/office/drawing/2014/main" id="{2067C609-27B8-3708-38DD-7CF591A7016F}"/>
                  </a:ext>
                </a:extLst>
              </p:cNvPr>
              <p:cNvSpPr/>
              <p:nvPr/>
            </p:nvSpPr>
            <p:spPr>
              <a:xfrm>
                <a:off x="6183330" y="1263794"/>
                <a:ext cx="2231861" cy="2584636"/>
              </a:xfrm>
              <a:custGeom>
                <a:avLst/>
                <a:gdLst>
                  <a:gd name="connsiteX0" fmla="*/ 6402 w 2481044"/>
                  <a:gd name="connsiteY0" fmla="*/ 1144817 h 2873206"/>
                  <a:gd name="connsiteX1" fmla="*/ 1339115 w 2481044"/>
                  <a:gd name="connsiteY1" fmla="*/ 2368434 h 2873206"/>
                  <a:gd name="connsiteX2" fmla="*/ 1516933 w 2481044"/>
                  <a:gd name="connsiteY2" fmla="*/ 2698800 h 2873206"/>
                  <a:gd name="connsiteX3" fmla="*/ 1552065 w 2481044"/>
                  <a:gd name="connsiteY3" fmla="*/ 2730388 h 2873206"/>
                  <a:gd name="connsiteX4" fmla="*/ 2304480 w 2481044"/>
                  <a:gd name="connsiteY4" fmla="*/ 2723146 h 2873206"/>
                  <a:gd name="connsiteX5" fmla="*/ 2304480 w 2481044"/>
                  <a:gd name="connsiteY5" fmla="*/ 2723146 h 2873206"/>
                  <a:gd name="connsiteX6" fmla="*/ 2476289 w 2481044"/>
                  <a:gd name="connsiteY6" fmla="*/ 2245472 h 2873206"/>
                  <a:gd name="connsiteX7" fmla="*/ -70 w 2481044"/>
                  <a:gd name="connsiteY7" fmla="*/ -61 h 2873206"/>
                  <a:gd name="connsiteX8" fmla="*/ -70 w 2481044"/>
                  <a:gd name="connsiteY8" fmla="*/ -61 h 2873206"/>
                  <a:gd name="connsiteX9" fmla="*/ 10871 w 2481044"/>
                  <a:gd name="connsiteY9" fmla="*/ 1140195 h 287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1044" h="2873206">
                    <a:moveTo>
                      <a:pt x="6402" y="1144817"/>
                    </a:moveTo>
                    <a:cubicBezTo>
                      <a:pt x="680787" y="1193972"/>
                      <a:pt x="1232686" y="1700692"/>
                      <a:pt x="1339115" y="2368434"/>
                    </a:cubicBezTo>
                    <a:cubicBezTo>
                      <a:pt x="1358761" y="2495681"/>
                      <a:pt x="1421537" y="2612326"/>
                      <a:pt x="1516933" y="2698800"/>
                    </a:cubicBezTo>
                    <a:lnTo>
                      <a:pt x="1552065" y="2730388"/>
                    </a:lnTo>
                    <a:cubicBezTo>
                      <a:pt x="1766788" y="2923477"/>
                      <a:pt x="2093518" y="2920333"/>
                      <a:pt x="2304480" y="2723146"/>
                    </a:cubicBezTo>
                    <a:lnTo>
                      <a:pt x="2304480" y="2723146"/>
                    </a:lnTo>
                    <a:cubicBezTo>
                      <a:pt x="2435518" y="2601000"/>
                      <a:pt x="2499510" y="2423105"/>
                      <a:pt x="2476289" y="2245472"/>
                    </a:cubicBezTo>
                    <a:cubicBezTo>
                      <a:pt x="2308949" y="1007062"/>
                      <a:pt x="1266539" y="46628"/>
                      <a:pt x="-70" y="-61"/>
                    </a:cubicBezTo>
                    <a:lnTo>
                      <a:pt x="-70" y="-61"/>
                    </a:lnTo>
                    <a:cubicBezTo>
                      <a:pt x="323517" y="217050"/>
                      <a:pt x="429530" y="827395"/>
                      <a:pt x="10871" y="1140195"/>
                    </a:cubicBezTo>
                    <a:close/>
                  </a:path>
                </a:pathLst>
              </a:custGeom>
              <a:solidFill>
                <a:schemeClr val="accent6"/>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3" name="Freeform: Shape 12">
                <a:extLst>
                  <a:ext uri="{FF2B5EF4-FFF2-40B4-BE49-F238E27FC236}">
                    <a16:creationId xmlns:a16="http://schemas.microsoft.com/office/drawing/2014/main" id="{9F023184-E144-129C-4B79-9E46444BF337}"/>
                  </a:ext>
                </a:extLst>
              </p:cNvPr>
              <p:cNvSpPr/>
              <p:nvPr/>
            </p:nvSpPr>
            <p:spPr>
              <a:xfrm>
                <a:off x="7504726" y="2915641"/>
                <a:ext cx="812270" cy="812269"/>
              </a:xfrm>
              <a:custGeom>
                <a:avLst/>
                <a:gdLst>
                  <a:gd name="connsiteX0" fmla="*/ 902959 w 902959"/>
                  <a:gd name="connsiteY0" fmla="*/ 451479 h 902958"/>
                  <a:gd name="connsiteX1" fmla="*/ 451480 w 902959"/>
                  <a:gd name="connsiteY1" fmla="*/ 902959 h 902958"/>
                  <a:gd name="connsiteX2" fmla="*/ 0 w 902959"/>
                  <a:gd name="connsiteY2" fmla="*/ 451479 h 902958"/>
                  <a:gd name="connsiteX3" fmla="*/ 451480 w 902959"/>
                  <a:gd name="connsiteY3" fmla="*/ 0 h 902958"/>
                  <a:gd name="connsiteX4" fmla="*/ 902959 w 902959"/>
                  <a:gd name="connsiteY4" fmla="*/ 451479 h 90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8">
                    <a:moveTo>
                      <a:pt x="902959" y="451479"/>
                    </a:moveTo>
                    <a:cubicBezTo>
                      <a:pt x="902959" y="700825"/>
                      <a:pt x="700825" y="902959"/>
                      <a:pt x="451480" y="902959"/>
                    </a:cubicBezTo>
                    <a:cubicBezTo>
                      <a:pt x="202134" y="902959"/>
                      <a:pt x="0" y="700825"/>
                      <a:pt x="0" y="451479"/>
                    </a:cubicBezTo>
                    <a:cubicBezTo>
                      <a:pt x="0" y="202134"/>
                      <a:pt x="202134" y="0"/>
                      <a:pt x="451480" y="0"/>
                    </a:cubicBezTo>
                    <a:cubicBezTo>
                      <a:pt x="700825" y="0"/>
                      <a:pt x="902959" y="202134"/>
                      <a:pt x="902959" y="451479"/>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5" name="Freeform: Shape 14">
                <a:extLst>
                  <a:ext uri="{FF2B5EF4-FFF2-40B4-BE49-F238E27FC236}">
                    <a16:creationId xmlns:a16="http://schemas.microsoft.com/office/drawing/2014/main" id="{9E1228EF-BDF1-708E-3F21-045211BE91F2}"/>
                  </a:ext>
                </a:extLst>
              </p:cNvPr>
              <p:cNvSpPr/>
              <p:nvPr/>
            </p:nvSpPr>
            <p:spPr>
              <a:xfrm>
                <a:off x="5845893" y="3686327"/>
                <a:ext cx="2584489" cy="2231916"/>
              </a:xfrm>
              <a:custGeom>
                <a:avLst/>
                <a:gdLst>
                  <a:gd name="connsiteX0" fmla="*/ 1728249 w 2873043"/>
                  <a:gd name="connsiteY0" fmla="*/ 5795 h 2481106"/>
                  <a:gd name="connsiteX1" fmla="*/ 504631 w 2873043"/>
                  <a:gd name="connsiteY1" fmla="*/ 1338353 h 2481106"/>
                  <a:gd name="connsiteX2" fmla="*/ 174419 w 2873043"/>
                  <a:gd name="connsiteY2" fmla="*/ 1516325 h 2481106"/>
                  <a:gd name="connsiteX3" fmla="*/ 142677 w 2873043"/>
                  <a:gd name="connsiteY3" fmla="*/ 1552227 h 2481106"/>
                  <a:gd name="connsiteX4" fmla="*/ 149919 w 2873043"/>
                  <a:gd name="connsiteY4" fmla="*/ 2304488 h 2481106"/>
                  <a:gd name="connsiteX5" fmla="*/ 149919 w 2873043"/>
                  <a:gd name="connsiteY5" fmla="*/ 2304488 h 2481106"/>
                  <a:gd name="connsiteX6" fmla="*/ 627594 w 2873043"/>
                  <a:gd name="connsiteY6" fmla="*/ 2476296 h 2481106"/>
                  <a:gd name="connsiteX7" fmla="*/ 2872974 w 2873043"/>
                  <a:gd name="connsiteY7" fmla="*/ -61 h 2481106"/>
                  <a:gd name="connsiteX8" fmla="*/ 2872974 w 2873043"/>
                  <a:gd name="connsiteY8" fmla="*/ -61 h 2481106"/>
                  <a:gd name="connsiteX9" fmla="*/ 1732718 w 2873043"/>
                  <a:gd name="connsiteY9" fmla="*/ 10880 h 2481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3043" h="2481106">
                    <a:moveTo>
                      <a:pt x="1728249" y="5795"/>
                    </a:moveTo>
                    <a:cubicBezTo>
                      <a:pt x="1679095" y="680133"/>
                      <a:pt x="1172344" y="1232000"/>
                      <a:pt x="504631" y="1338353"/>
                    </a:cubicBezTo>
                    <a:cubicBezTo>
                      <a:pt x="377369" y="1357953"/>
                      <a:pt x="260755" y="1420805"/>
                      <a:pt x="174419" y="1516325"/>
                    </a:cubicBezTo>
                    <a:lnTo>
                      <a:pt x="142677" y="1552227"/>
                    </a:lnTo>
                    <a:cubicBezTo>
                      <a:pt x="-50396" y="1766904"/>
                      <a:pt x="-47253" y="2093571"/>
                      <a:pt x="149919" y="2304488"/>
                    </a:cubicBezTo>
                    <a:lnTo>
                      <a:pt x="149919" y="2304488"/>
                    </a:lnTo>
                    <a:cubicBezTo>
                      <a:pt x="271957" y="2435679"/>
                      <a:pt x="449945" y="2499703"/>
                      <a:pt x="627594" y="2476296"/>
                    </a:cubicBezTo>
                    <a:cubicBezTo>
                      <a:pt x="1866004" y="2308956"/>
                      <a:pt x="2826285" y="1266701"/>
                      <a:pt x="2872974" y="-61"/>
                    </a:cubicBezTo>
                    <a:lnTo>
                      <a:pt x="2872974" y="-61"/>
                    </a:lnTo>
                    <a:cubicBezTo>
                      <a:pt x="2600237" y="411048"/>
                      <a:pt x="2006225" y="383928"/>
                      <a:pt x="1732718" y="10880"/>
                    </a:cubicBezTo>
                    <a:close/>
                  </a:path>
                </a:pathLst>
              </a:custGeom>
              <a:solidFill>
                <a:srgbClr val="F7C84F"/>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8" name="Freeform: Shape 17">
                <a:extLst>
                  <a:ext uri="{FF2B5EF4-FFF2-40B4-BE49-F238E27FC236}">
                    <a16:creationId xmlns:a16="http://schemas.microsoft.com/office/drawing/2014/main" id="{9D885BBD-147B-F963-EB91-710A7E55B0BB}"/>
                  </a:ext>
                </a:extLst>
              </p:cNvPr>
              <p:cNvSpPr/>
              <p:nvPr/>
            </p:nvSpPr>
            <p:spPr>
              <a:xfrm>
                <a:off x="5966401" y="5007029"/>
                <a:ext cx="812270" cy="812269"/>
              </a:xfrm>
              <a:custGeom>
                <a:avLst/>
                <a:gdLst>
                  <a:gd name="connsiteX0" fmla="*/ 902959 w 902959"/>
                  <a:gd name="connsiteY0" fmla="*/ 451480 h 902958"/>
                  <a:gd name="connsiteX1" fmla="*/ 451480 w 902959"/>
                  <a:gd name="connsiteY1" fmla="*/ 902959 h 902958"/>
                  <a:gd name="connsiteX2" fmla="*/ 0 w 902959"/>
                  <a:gd name="connsiteY2" fmla="*/ 451480 h 902958"/>
                  <a:gd name="connsiteX3" fmla="*/ 451480 w 902959"/>
                  <a:gd name="connsiteY3" fmla="*/ 0 h 902958"/>
                  <a:gd name="connsiteX4" fmla="*/ 902959 w 902959"/>
                  <a:gd name="connsiteY4" fmla="*/ 451480 h 90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8">
                    <a:moveTo>
                      <a:pt x="902959" y="451480"/>
                    </a:moveTo>
                    <a:cubicBezTo>
                      <a:pt x="902959" y="700825"/>
                      <a:pt x="700825" y="902959"/>
                      <a:pt x="451480" y="902959"/>
                    </a:cubicBezTo>
                    <a:cubicBezTo>
                      <a:pt x="202134" y="902959"/>
                      <a:pt x="0" y="700825"/>
                      <a:pt x="0" y="451480"/>
                    </a:cubicBezTo>
                    <a:cubicBezTo>
                      <a:pt x="0" y="202134"/>
                      <a:pt x="202134" y="0"/>
                      <a:pt x="451480" y="0"/>
                    </a:cubicBezTo>
                    <a:cubicBezTo>
                      <a:pt x="700825" y="0"/>
                      <a:pt x="902959" y="202134"/>
                      <a:pt x="902959" y="451480"/>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20" name="Freeform: Shape 19">
                <a:extLst>
                  <a:ext uri="{FF2B5EF4-FFF2-40B4-BE49-F238E27FC236}">
                    <a16:creationId xmlns:a16="http://schemas.microsoft.com/office/drawing/2014/main" id="{97A26069-93A6-E07F-25FE-8893DAF1B0AF}"/>
                  </a:ext>
                </a:extLst>
              </p:cNvPr>
              <p:cNvSpPr/>
              <p:nvPr/>
            </p:nvSpPr>
            <p:spPr>
              <a:xfrm>
                <a:off x="3777177" y="3348273"/>
                <a:ext cx="2231501" cy="2584549"/>
              </a:xfrm>
              <a:custGeom>
                <a:avLst/>
                <a:gdLst>
                  <a:gd name="connsiteX0" fmla="*/ 2474103 w 2480644"/>
                  <a:gd name="connsiteY0" fmla="*/ 1727710 h 2873110"/>
                  <a:gd name="connsiteX1" fmla="*/ 1141390 w 2480644"/>
                  <a:gd name="connsiteY1" fmla="*/ 504247 h 2873110"/>
                  <a:gd name="connsiteX2" fmla="*/ 963572 w 2480644"/>
                  <a:gd name="connsiteY2" fmla="*/ 173881 h 2873110"/>
                  <a:gd name="connsiteX3" fmla="*/ 928902 w 2480644"/>
                  <a:gd name="connsiteY3" fmla="*/ 142755 h 2873110"/>
                  <a:gd name="connsiteX4" fmla="*/ 176487 w 2480644"/>
                  <a:gd name="connsiteY4" fmla="*/ 149998 h 2873110"/>
                  <a:gd name="connsiteX5" fmla="*/ 176487 w 2480644"/>
                  <a:gd name="connsiteY5" fmla="*/ 149998 h 2873110"/>
                  <a:gd name="connsiteX6" fmla="*/ 4678 w 2480644"/>
                  <a:gd name="connsiteY6" fmla="*/ 627672 h 2873110"/>
                  <a:gd name="connsiteX7" fmla="*/ 2480575 w 2480644"/>
                  <a:gd name="connsiteY7" fmla="*/ 2873050 h 2873110"/>
                  <a:gd name="connsiteX8" fmla="*/ 2480575 w 2480644"/>
                  <a:gd name="connsiteY8" fmla="*/ 2873050 h 2873110"/>
                  <a:gd name="connsiteX9" fmla="*/ 2469635 w 2480644"/>
                  <a:gd name="connsiteY9" fmla="*/ 1732795 h 287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0644" h="2873110">
                    <a:moveTo>
                      <a:pt x="2474103" y="1727710"/>
                    </a:moveTo>
                    <a:cubicBezTo>
                      <a:pt x="1799750" y="1678633"/>
                      <a:pt x="1247820" y="1171959"/>
                      <a:pt x="1141390" y="504247"/>
                    </a:cubicBezTo>
                    <a:cubicBezTo>
                      <a:pt x="1121790" y="376985"/>
                      <a:pt x="1058999" y="260340"/>
                      <a:pt x="963572" y="173881"/>
                    </a:cubicBezTo>
                    <a:lnTo>
                      <a:pt x="928902" y="142755"/>
                    </a:lnTo>
                    <a:cubicBezTo>
                      <a:pt x="714210" y="-50410"/>
                      <a:pt x="387419" y="-47267"/>
                      <a:pt x="176487" y="149998"/>
                    </a:cubicBezTo>
                    <a:lnTo>
                      <a:pt x="176487" y="149998"/>
                    </a:lnTo>
                    <a:cubicBezTo>
                      <a:pt x="45295" y="272036"/>
                      <a:pt x="-18723" y="450023"/>
                      <a:pt x="4678" y="627672"/>
                    </a:cubicBezTo>
                    <a:cubicBezTo>
                      <a:pt x="171556" y="1866390"/>
                      <a:pt x="1213966" y="2826361"/>
                      <a:pt x="2480575" y="2873050"/>
                    </a:cubicBezTo>
                    <a:lnTo>
                      <a:pt x="2480575" y="2873050"/>
                    </a:lnTo>
                    <a:cubicBezTo>
                      <a:pt x="2095353" y="2700009"/>
                      <a:pt x="2013840" y="2006148"/>
                      <a:pt x="2469635" y="1732795"/>
                    </a:cubicBezTo>
                    <a:close/>
                  </a:path>
                </a:pathLst>
              </a:custGeom>
              <a:solidFill>
                <a:schemeClr val="accent2"/>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23" name="Freeform: Shape 22">
                <a:extLst>
                  <a:ext uri="{FF2B5EF4-FFF2-40B4-BE49-F238E27FC236}">
                    <a16:creationId xmlns:a16="http://schemas.microsoft.com/office/drawing/2014/main" id="{3CDD3D54-C492-F7CB-ACD4-266AF934EB71}"/>
                  </a:ext>
                </a:extLst>
              </p:cNvPr>
              <p:cNvSpPr/>
              <p:nvPr/>
            </p:nvSpPr>
            <p:spPr>
              <a:xfrm rot="20224201">
                <a:off x="3874982" y="3468791"/>
                <a:ext cx="812270" cy="812270"/>
              </a:xfrm>
              <a:custGeom>
                <a:avLst/>
                <a:gdLst>
                  <a:gd name="connsiteX0" fmla="*/ 902890 w 902959"/>
                  <a:gd name="connsiteY0" fmla="*/ 451419 h 902959"/>
                  <a:gd name="connsiteX1" fmla="*/ 451410 w 902959"/>
                  <a:gd name="connsiteY1" fmla="*/ 902898 h 902959"/>
                  <a:gd name="connsiteX2" fmla="*/ -70 w 902959"/>
                  <a:gd name="connsiteY2" fmla="*/ 451419 h 902959"/>
                  <a:gd name="connsiteX3" fmla="*/ 451410 w 902959"/>
                  <a:gd name="connsiteY3" fmla="*/ -61 h 902959"/>
                  <a:gd name="connsiteX4" fmla="*/ 902890 w 902959"/>
                  <a:gd name="connsiteY4" fmla="*/ 451419 h 902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9">
                    <a:moveTo>
                      <a:pt x="902890" y="451419"/>
                    </a:moveTo>
                    <a:cubicBezTo>
                      <a:pt x="902890" y="700764"/>
                      <a:pt x="700756" y="902898"/>
                      <a:pt x="451410" y="902898"/>
                    </a:cubicBezTo>
                    <a:cubicBezTo>
                      <a:pt x="202065" y="902898"/>
                      <a:pt x="-70" y="700764"/>
                      <a:pt x="-70" y="451419"/>
                    </a:cubicBezTo>
                    <a:cubicBezTo>
                      <a:pt x="-70" y="202074"/>
                      <a:pt x="202065" y="-61"/>
                      <a:pt x="451410" y="-61"/>
                    </a:cubicBezTo>
                    <a:cubicBezTo>
                      <a:pt x="700756" y="-61"/>
                      <a:pt x="902890" y="202074"/>
                      <a:pt x="902890" y="451419"/>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26" name="Rectangle 25">
                <a:extLst>
                  <a:ext uri="{FF2B5EF4-FFF2-40B4-BE49-F238E27FC236}">
                    <a16:creationId xmlns:a16="http://schemas.microsoft.com/office/drawing/2014/main" id="{8C0C1B83-C34E-2D7A-8CDE-4207B3A275AB}"/>
                  </a:ext>
                </a:extLst>
              </p:cNvPr>
              <p:cNvSpPr/>
              <p:nvPr/>
            </p:nvSpPr>
            <p:spPr>
              <a:xfrm>
                <a:off x="8732577" y="1858458"/>
                <a:ext cx="2418023" cy="830997"/>
              </a:xfrm>
              <a:prstGeom prst="rect">
                <a:avLst/>
              </a:prstGeom>
            </p:spPr>
            <p:txBody>
              <a:bodyPr wrap="square" lIns="91440" tIns="45720" rIns="91440" bIns="45720" anchor="t">
                <a:spAutoFit/>
              </a:bodyPr>
              <a:lstStyle/>
              <a:p>
                <a:pPr marL="285750" indent="-285750">
                  <a:spcBef>
                    <a:spcPts val="600"/>
                  </a:spcBef>
                  <a:buFont typeface="Arial"/>
                  <a:buChar char="•"/>
                </a:pPr>
                <a:r>
                  <a:rPr lang="en-US" sz="1200" b="1">
                    <a:solidFill>
                      <a:schemeClr val="tx1">
                        <a:lumMod val="75000"/>
                        <a:lumOff val="25000"/>
                      </a:schemeClr>
                    </a:solidFill>
                    <a:ea typeface="+mn-lt"/>
                    <a:cs typeface="+mn-lt"/>
                  </a:rPr>
                  <a:t>Automatic Clustering</a:t>
                </a:r>
                <a:r>
                  <a:rPr lang="en-US" sz="1200">
                    <a:solidFill>
                      <a:schemeClr val="tx1">
                        <a:lumMod val="75000"/>
                        <a:lumOff val="25000"/>
                      </a:schemeClr>
                    </a:solidFill>
                    <a:ea typeface="+mn-lt"/>
                    <a:cs typeface="+mn-lt"/>
                  </a:rPr>
                  <a:t> by using machine learning K means Clustering to group logs based on their context</a:t>
                </a:r>
                <a:endParaRPr lang="en-US" sz="1200">
                  <a:solidFill>
                    <a:schemeClr val="tx1">
                      <a:lumMod val="75000"/>
                      <a:lumOff val="25000"/>
                    </a:schemeClr>
                  </a:solidFill>
                  <a:latin typeface="Arial"/>
                  <a:ea typeface="+mn-lt"/>
                  <a:cs typeface="+mn-lt"/>
                </a:endParaRPr>
              </a:p>
            </p:txBody>
          </p:sp>
          <p:pic>
            <p:nvPicPr>
              <p:cNvPr id="27" name="Picture 26">
                <a:extLst>
                  <a:ext uri="{FF2B5EF4-FFF2-40B4-BE49-F238E27FC236}">
                    <a16:creationId xmlns:a16="http://schemas.microsoft.com/office/drawing/2014/main" id="{D6AA7B1A-4E4B-3FE0-A43B-733A49B87E7B}"/>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576478" y="1540459"/>
                <a:ext cx="485988" cy="485986"/>
              </a:xfrm>
              <a:prstGeom prst="rect">
                <a:avLst/>
              </a:prstGeom>
            </p:spPr>
          </p:pic>
          <p:sp>
            <p:nvSpPr>
              <p:cNvPr id="28" name="Rectangle 27">
                <a:extLst>
                  <a:ext uri="{FF2B5EF4-FFF2-40B4-BE49-F238E27FC236}">
                    <a16:creationId xmlns:a16="http://schemas.microsoft.com/office/drawing/2014/main" id="{CB9586E9-8D65-F885-A1ED-2F81FC49FBBC}"/>
                  </a:ext>
                </a:extLst>
              </p:cNvPr>
              <p:cNvSpPr/>
              <p:nvPr/>
            </p:nvSpPr>
            <p:spPr>
              <a:xfrm>
                <a:off x="4172200" y="1972563"/>
                <a:ext cx="1379050" cy="830997"/>
              </a:xfrm>
              <a:prstGeom prst="rect">
                <a:avLst/>
              </a:prstGeom>
            </p:spPr>
            <p:txBody>
              <a:bodyPr wrap="square" lIns="91440" tIns="45720" rIns="91440" bIns="45720" anchor="t">
                <a:spAutoFit/>
              </a:bodyPr>
              <a:lstStyle/>
              <a:p>
                <a:pPr algn="ctr"/>
                <a:r>
                  <a:rPr lang="en-US" sz="1600" b="1">
                    <a:solidFill>
                      <a:schemeClr val="bg1"/>
                    </a:solidFill>
                    <a:latin typeface="Lora"/>
                  </a:rPr>
                  <a:t>Data Dog</a:t>
                </a:r>
                <a:endParaRPr lang="en-US" sz="1600">
                  <a:solidFill>
                    <a:schemeClr val="bg1"/>
                  </a:solidFill>
                  <a:cs typeface="Arial"/>
                </a:endParaRPr>
              </a:p>
              <a:p>
                <a:pPr algn="ctr"/>
                <a:r>
                  <a:rPr lang="en-US" sz="1600" b="1">
                    <a:solidFill>
                      <a:schemeClr val="bg1"/>
                    </a:solidFill>
                    <a:latin typeface="Lora"/>
                  </a:rPr>
                  <a:t>Limitation </a:t>
                </a:r>
                <a:endParaRPr lang="en-US" sz="1600">
                  <a:solidFill>
                    <a:schemeClr val="bg1"/>
                  </a:solidFill>
                  <a:cs typeface="Arial"/>
                </a:endParaRPr>
              </a:p>
              <a:p>
                <a:pPr algn="ctr"/>
                <a:endParaRPr lang="en-US" sz="1600" b="1">
                  <a:solidFill>
                    <a:schemeClr val="bg1"/>
                  </a:solidFill>
                  <a:latin typeface="Lora" pitchFamily="2" charset="0"/>
                </a:endParaRPr>
              </a:p>
            </p:txBody>
          </p:sp>
          <p:pic>
            <p:nvPicPr>
              <p:cNvPr id="29" name="Picture 28">
                <a:extLst>
                  <a:ext uri="{FF2B5EF4-FFF2-40B4-BE49-F238E27FC236}">
                    <a16:creationId xmlns:a16="http://schemas.microsoft.com/office/drawing/2014/main" id="{C33B1C3A-4E84-EF2A-F618-EA3F8244E183}"/>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128505" y="5169132"/>
                <a:ext cx="488062" cy="488062"/>
              </a:xfrm>
              <a:prstGeom prst="rect">
                <a:avLst/>
              </a:prstGeom>
            </p:spPr>
          </p:pic>
          <p:sp>
            <p:nvSpPr>
              <p:cNvPr id="30" name="Rectangle 29">
                <a:extLst>
                  <a:ext uri="{FF2B5EF4-FFF2-40B4-BE49-F238E27FC236}">
                    <a16:creationId xmlns:a16="http://schemas.microsoft.com/office/drawing/2014/main" id="{60A2BDFC-F9FF-969D-7066-07D1C6DC9A8C}"/>
                  </a:ext>
                </a:extLst>
              </p:cNvPr>
              <p:cNvSpPr/>
              <p:nvPr/>
            </p:nvSpPr>
            <p:spPr>
              <a:xfrm>
                <a:off x="8718071" y="4464264"/>
                <a:ext cx="3006036" cy="1092607"/>
              </a:xfrm>
              <a:prstGeom prst="rect">
                <a:avLst/>
              </a:prstGeom>
            </p:spPr>
            <p:txBody>
              <a:bodyPr wrap="square" lIns="91440" tIns="45720" rIns="91440" bIns="45720" anchor="t">
                <a:spAutoFit/>
              </a:bodyPr>
              <a:lstStyle/>
              <a:p>
                <a:pPr marL="285750" indent="-285750">
                  <a:spcBef>
                    <a:spcPts val="600"/>
                  </a:spcBef>
                  <a:buFont typeface="Arial"/>
                  <a:buChar char="•"/>
                </a:pPr>
                <a:r>
                  <a:rPr lang="en-US" sz="1200">
                    <a:solidFill>
                      <a:schemeClr val="tx1">
                        <a:lumMod val="75000"/>
                        <a:lumOff val="25000"/>
                      </a:schemeClr>
                    </a:solidFill>
                    <a:latin typeface="Arial"/>
                    <a:ea typeface="+mn-lt"/>
                    <a:cs typeface="+mn-lt"/>
                  </a:rPr>
                  <a:t>Accelerates</a:t>
                </a:r>
                <a:r>
                  <a:rPr lang="en-US" sz="1200">
                    <a:solidFill>
                      <a:schemeClr val="tx1">
                        <a:lumMod val="75000"/>
                        <a:lumOff val="25000"/>
                      </a:schemeClr>
                    </a:solidFill>
                    <a:ea typeface="+mn-lt"/>
                    <a:cs typeface="+mn-lt"/>
                  </a:rPr>
                  <a:t> root cause identification by clustering related logs automatically</a:t>
                </a:r>
                <a:endParaRPr lang="en-US" sz="1200">
                  <a:solidFill>
                    <a:schemeClr val="tx1">
                      <a:lumMod val="75000"/>
                      <a:lumOff val="25000"/>
                    </a:schemeClr>
                  </a:solidFill>
                  <a:latin typeface="Verdana Pro"/>
                  <a:ea typeface="+mn-lt"/>
                  <a:cs typeface="+mn-lt"/>
                </a:endParaRPr>
              </a:p>
              <a:p>
                <a:pPr marL="285750" indent="-285750">
                  <a:spcBef>
                    <a:spcPts val="600"/>
                  </a:spcBef>
                  <a:buFont typeface="Arial"/>
                  <a:buChar char="•"/>
                </a:pPr>
                <a:r>
                  <a:rPr lang="en-US" sz="1200">
                    <a:solidFill>
                      <a:schemeClr val="tx1">
                        <a:lumMod val="75000"/>
                        <a:lumOff val="25000"/>
                      </a:schemeClr>
                    </a:solidFill>
                    <a:latin typeface="Arial"/>
                    <a:ea typeface="+mn-lt"/>
                    <a:cs typeface="+mn-lt"/>
                  </a:rPr>
                  <a:t>Reduces</a:t>
                </a:r>
                <a:r>
                  <a:rPr lang="en-US" sz="1200">
                    <a:solidFill>
                      <a:schemeClr val="tx1">
                        <a:lumMod val="75000"/>
                        <a:lumOff val="25000"/>
                      </a:schemeClr>
                    </a:solidFill>
                    <a:ea typeface="+mn-lt"/>
                    <a:cs typeface="+mn-lt"/>
                  </a:rPr>
                  <a:t> manual investigation efforts, improving response times</a:t>
                </a:r>
                <a:endParaRPr lang="en-US" sz="1200">
                  <a:solidFill>
                    <a:schemeClr val="tx1">
                      <a:lumMod val="75000"/>
                      <a:lumOff val="25000"/>
                    </a:schemeClr>
                  </a:solidFill>
                  <a:latin typeface="Verdana Pro"/>
                  <a:cs typeface="Arial"/>
                </a:endParaRPr>
              </a:p>
            </p:txBody>
          </p:sp>
          <p:sp>
            <p:nvSpPr>
              <p:cNvPr id="31" name="Rectangle 30">
                <a:extLst>
                  <a:ext uri="{FF2B5EF4-FFF2-40B4-BE49-F238E27FC236}">
                    <a16:creationId xmlns:a16="http://schemas.microsoft.com/office/drawing/2014/main" id="{C955208D-028A-8B31-86E0-AB9FE62D2F05}"/>
                  </a:ext>
                </a:extLst>
              </p:cNvPr>
              <p:cNvSpPr/>
              <p:nvPr/>
            </p:nvSpPr>
            <p:spPr>
              <a:xfrm>
                <a:off x="616226" y="4348609"/>
                <a:ext cx="2948237" cy="1538883"/>
              </a:xfrm>
              <a:prstGeom prst="rect">
                <a:avLst/>
              </a:prstGeom>
            </p:spPr>
            <p:txBody>
              <a:bodyPr wrap="square" lIns="91440" tIns="45720" rIns="91440" bIns="45720" anchor="t">
                <a:spAutoFit/>
              </a:bodyPr>
              <a:lstStyle/>
              <a:p>
                <a:pPr>
                  <a:spcBef>
                    <a:spcPts val="600"/>
                  </a:spcBef>
                </a:pPr>
                <a:r>
                  <a:rPr lang="en-US" sz="1200" b="1">
                    <a:solidFill>
                      <a:schemeClr val="tx1">
                        <a:lumMod val="75000"/>
                        <a:lumOff val="25000"/>
                      </a:schemeClr>
                    </a:solidFill>
                    <a:ea typeface="+mn-lt"/>
                    <a:cs typeface="+mn-lt"/>
                  </a:rPr>
                  <a:t>Azure Cognitive Services, Azure ML &amp; Clustering Algorithms:</a:t>
                </a:r>
                <a:endParaRPr lang="en-US" b="1">
                  <a:solidFill>
                    <a:schemeClr val="tx1">
                      <a:lumMod val="75000"/>
                      <a:lumOff val="25000"/>
                    </a:schemeClr>
                  </a:solidFill>
                </a:endParaRPr>
              </a:p>
              <a:p>
                <a:pPr marL="285750" indent="-285750">
                  <a:spcBef>
                    <a:spcPts val="600"/>
                  </a:spcBef>
                  <a:buFont typeface="Arial"/>
                  <a:buChar char="•"/>
                </a:pPr>
                <a:r>
                  <a:rPr lang="en-US" sz="1200">
                    <a:solidFill>
                      <a:schemeClr val="tx1">
                        <a:lumMod val="75000"/>
                        <a:lumOff val="25000"/>
                      </a:schemeClr>
                    </a:solidFill>
                    <a:latin typeface="Verdana Pro"/>
                    <a:cs typeface="Arial"/>
                  </a:rPr>
                  <a:t>Implement Clustering Algorithm </a:t>
                </a:r>
                <a:endParaRPr lang="en-US">
                  <a:solidFill>
                    <a:schemeClr val="tx1">
                      <a:lumMod val="75000"/>
                      <a:lumOff val="25000"/>
                    </a:schemeClr>
                  </a:solidFill>
                  <a:latin typeface="Arial"/>
                  <a:cs typeface="Arial"/>
                </a:endParaRPr>
              </a:p>
              <a:p>
                <a:pPr marL="285750" indent="-285750">
                  <a:spcBef>
                    <a:spcPts val="600"/>
                  </a:spcBef>
                  <a:buFont typeface="Arial"/>
                  <a:buChar char="•"/>
                </a:pPr>
                <a:r>
                  <a:rPr lang="en-US" sz="1200">
                    <a:solidFill>
                      <a:schemeClr val="tx1">
                        <a:lumMod val="75000"/>
                        <a:lumOff val="25000"/>
                      </a:schemeClr>
                    </a:solidFill>
                    <a:latin typeface="Verdana Pro"/>
                    <a:cs typeface="Arial"/>
                  </a:rPr>
                  <a:t>Analyze the specific content of log messages and cluster </a:t>
                </a:r>
                <a:r>
                  <a:rPr lang="en-US" sz="1200">
                    <a:solidFill>
                      <a:schemeClr val="tx1">
                        <a:lumMod val="75000"/>
                        <a:lumOff val="25000"/>
                      </a:schemeClr>
                    </a:solidFill>
                    <a:ea typeface="+mn-lt"/>
                    <a:cs typeface="+mn-lt"/>
                  </a:rPr>
                  <a:t>logs based on their context, enabling proactive issue identification.</a:t>
                </a:r>
              </a:p>
            </p:txBody>
          </p:sp>
          <p:pic>
            <p:nvPicPr>
              <p:cNvPr id="32" name="Picture 31">
                <a:extLst>
                  <a:ext uri="{FF2B5EF4-FFF2-40B4-BE49-F238E27FC236}">
                    <a16:creationId xmlns:a16="http://schemas.microsoft.com/office/drawing/2014/main" id="{1892FBDD-8899-DAEC-9D04-10A8306A119B}"/>
                  </a:ext>
                </a:extLst>
              </p:cNvPr>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660191" y="3071106"/>
                <a:ext cx="501340" cy="501338"/>
              </a:xfrm>
              <a:prstGeom prst="rect">
                <a:avLst/>
              </a:prstGeom>
            </p:spPr>
          </p:pic>
          <p:pic>
            <p:nvPicPr>
              <p:cNvPr id="33" name="Picture 32">
                <a:extLst>
                  <a:ext uri="{FF2B5EF4-FFF2-40B4-BE49-F238E27FC236}">
                    <a16:creationId xmlns:a16="http://schemas.microsoft.com/office/drawing/2014/main" id="{C8B122D2-D20F-FF87-2340-766988ECF62F}"/>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079672" y="3673482"/>
                <a:ext cx="402890" cy="402888"/>
              </a:xfrm>
              <a:prstGeom prst="rect">
                <a:avLst/>
              </a:prstGeom>
            </p:spPr>
          </p:pic>
          <p:sp>
            <p:nvSpPr>
              <p:cNvPr id="35" name="TextBox 34">
                <a:extLst>
                  <a:ext uri="{FF2B5EF4-FFF2-40B4-BE49-F238E27FC236}">
                    <a16:creationId xmlns:a16="http://schemas.microsoft.com/office/drawing/2014/main" id="{8A58E8A2-5C40-1001-EFC1-3B96CA6E39E7}"/>
                  </a:ext>
                </a:extLst>
              </p:cNvPr>
              <p:cNvSpPr txBox="1"/>
              <p:nvPr/>
            </p:nvSpPr>
            <p:spPr>
              <a:xfrm>
                <a:off x="620615" y="1858458"/>
                <a:ext cx="3059290" cy="723275"/>
              </a:xfrm>
              <a:prstGeom prst="rect">
                <a:avLst/>
              </a:prstGeom>
              <a:noFill/>
            </p:spPr>
            <p:txBody>
              <a:bodyPr wrap="square" lIns="91440" tIns="45720" rIns="91440" bIns="45720" anchor="t">
                <a:spAutoFit/>
              </a:bodyPr>
              <a:lstStyle/>
              <a:p>
                <a:pPr marL="171450" indent="-171450">
                  <a:spcBef>
                    <a:spcPts val="600"/>
                  </a:spcBef>
                  <a:buFont typeface="Arial"/>
                  <a:buChar char="•"/>
                </a:pPr>
                <a:r>
                  <a:rPr lang="en-US" sz="1200" b="1">
                    <a:solidFill>
                      <a:schemeClr val="tx1">
                        <a:lumMod val="75000"/>
                        <a:lumOff val="25000"/>
                      </a:schemeClr>
                    </a:solidFill>
                    <a:ea typeface="+mn-lt"/>
                    <a:cs typeface="+mn-lt"/>
                  </a:rPr>
                  <a:t>Root cause analysis</a:t>
                </a:r>
                <a:r>
                  <a:rPr lang="en-US" sz="1200">
                    <a:solidFill>
                      <a:schemeClr val="tx1">
                        <a:lumMod val="75000"/>
                        <a:lumOff val="25000"/>
                      </a:schemeClr>
                    </a:solidFill>
                    <a:ea typeface="+mn-lt"/>
                    <a:cs typeface="+mn-lt"/>
                  </a:rPr>
                  <a:t> is manual</a:t>
                </a:r>
              </a:p>
              <a:p>
                <a:pPr marL="171450" indent="-171450">
                  <a:spcBef>
                    <a:spcPts val="600"/>
                  </a:spcBef>
                  <a:buFont typeface="Arial"/>
                  <a:buChar char="•"/>
                </a:pPr>
                <a:r>
                  <a:rPr lang="en-US" sz="1200">
                    <a:solidFill>
                      <a:schemeClr val="tx1">
                        <a:lumMod val="75000"/>
                        <a:lumOff val="25000"/>
                      </a:schemeClr>
                    </a:solidFill>
                    <a:ea typeface="+mn-lt"/>
                    <a:cs typeface="+mn-lt"/>
                  </a:rPr>
                  <a:t>slows down identifying the cause of system issues.</a:t>
                </a:r>
                <a:endParaRPr lang="en-US" sz="1200">
                  <a:solidFill>
                    <a:schemeClr val="tx1">
                      <a:lumMod val="75000"/>
                      <a:lumOff val="25000"/>
                    </a:schemeClr>
                  </a:solidFill>
                  <a:latin typeface="Arial"/>
                  <a:ea typeface="+mn-lt"/>
                  <a:cs typeface="+mn-lt"/>
                </a:endParaRPr>
              </a:p>
            </p:txBody>
          </p:sp>
          <p:sp>
            <p:nvSpPr>
              <p:cNvPr id="36" name="Rectangle 35">
                <a:extLst>
                  <a:ext uri="{FF2B5EF4-FFF2-40B4-BE49-F238E27FC236}">
                    <a16:creationId xmlns:a16="http://schemas.microsoft.com/office/drawing/2014/main" id="{B5D674C2-2687-08CC-E2AC-51F9698EDB02}"/>
                  </a:ext>
                </a:extLst>
              </p:cNvPr>
              <p:cNvSpPr/>
              <p:nvPr/>
            </p:nvSpPr>
            <p:spPr>
              <a:xfrm>
                <a:off x="6842171" y="2265640"/>
                <a:ext cx="1203204" cy="369332"/>
              </a:xfrm>
              <a:prstGeom prst="rect">
                <a:avLst/>
              </a:prstGeom>
            </p:spPr>
            <p:txBody>
              <a:bodyPr wrap="square" lIns="91440" tIns="45720" rIns="91440" bIns="45720" anchor="t">
                <a:spAutoFit/>
              </a:bodyPr>
              <a:lstStyle/>
              <a:p>
                <a:pPr algn="ctr"/>
                <a:r>
                  <a:rPr lang="en-US">
                    <a:solidFill>
                      <a:schemeClr val="bg1"/>
                    </a:solidFill>
                    <a:ea typeface="+mn-lt"/>
                    <a:cs typeface="+mn-lt"/>
                  </a:rPr>
                  <a:t>Approach</a:t>
                </a:r>
                <a:endParaRPr lang="en-US"/>
              </a:p>
            </p:txBody>
          </p:sp>
          <p:sp>
            <p:nvSpPr>
              <p:cNvPr id="37" name="Rectangle 36">
                <a:extLst>
                  <a:ext uri="{FF2B5EF4-FFF2-40B4-BE49-F238E27FC236}">
                    <a16:creationId xmlns:a16="http://schemas.microsoft.com/office/drawing/2014/main" id="{8BCBB331-C2B0-C85D-0001-B82F47BD578D}"/>
                  </a:ext>
                </a:extLst>
              </p:cNvPr>
              <p:cNvSpPr/>
              <p:nvPr/>
            </p:nvSpPr>
            <p:spPr>
              <a:xfrm>
                <a:off x="4163625" y="4665610"/>
                <a:ext cx="1203204" cy="369332"/>
              </a:xfrm>
              <a:prstGeom prst="rect">
                <a:avLst/>
              </a:prstGeom>
            </p:spPr>
            <p:txBody>
              <a:bodyPr wrap="square" lIns="91440" tIns="45720" rIns="91440" bIns="45720" anchor="t">
                <a:spAutoFit/>
              </a:bodyPr>
              <a:lstStyle/>
              <a:p>
                <a:pPr algn="ctr"/>
                <a:r>
                  <a:rPr lang="en-US">
                    <a:solidFill>
                      <a:schemeClr val="bg1"/>
                    </a:solidFill>
                    <a:ea typeface="+mn-lt"/>
                    <a:cs typeface="+mn-lt"/>
                  </a:rPr>
                  <a:t>Solution</a:t>
                </a:r>
                <a:endParaRPr lang="en-US"/>
              </a:p>
            </p:txBody>
          </p:sp>
          <p:sp>
            <p:nvSpPr>
              <p:cNvPr id="38" name="Rectangle 37">
                <a:extLst>
                  <a:ext uri="{FF2B5EF4-FFF2-40B4-BE49-F238E27FC236}">
                    <a16:creationId xmlns:a16="http://schemas.microsoft.com/office/drawing/2014/main" id="{96C6F4A1-274E-D656-91C0-BD3BEC50B8A9}"/>
                  </a:ext>
                </a:extLst>
              </p:cNvPr>
              <p:cNvSpPr/>
              <p:nvPr/>
            </p:nvSpPr>
            <p:spPr>
              <a:xfrm>
                <a:off x="6842171" y="4665610"/>
                <a:ext cx="1203204" cy="369332"/>
              </a:xfrm>
              <a:prstGeom prst="rect">
                <a:avLst/>
              </a:prstGeom>
            </p:spPr>
            <p:txBody>
              <a:bodyPr wrap="square" lIns="91440" tIns="45720" rIns="91440" bIns="45720" anchor="t">
                <a:spAutoFit/>
              </a:bodyPr>
              <a:lstStyle/>
              <a:p>
                <a:pPr algn="ctr"/>
                <a:r>
                  <a:rPr lang="en-US">
                    <a:solidFill>
                      <a:schemeClr val="bg1"/>
                    </a:solidFill>
                    <a:ea typeface="+mn-lt"/>
                    <a:cs typeface="+mn-lt"/>
                  </a:rPr>
                  <a:t>Benefits</a:t>
                </a:r>
                <a:endParaRPr lang="en-US"/>
              </a:p>
            </p:txBody>
          </p:sp>
        </p:grpSp>
        <p:pic>
          <p:nvPicPr>
            <p:cNvPr id="3" name="Picture 2">
              <a:extLst>
                <a:ext uri="{FF2B5EF4-FFF2-40B4-BE49-F238E27FC236}">
                  <a16:creationId xmlns:a16="http://schemas.microsoft.com/office/drawing/2014/main" id="{AEFF7D8C-92D6-D295-B6BC-4B439C8BE656}"/>
                </a:ext>
              </a:extLst>
            </p:cNvPr>
            <p:cNvPicPr>
              <a:picLocks noChangeAspect="1"/>
            </p:cNvPicPr>
            <p:nvPr/>
          </p:nvPicPr>
          <p:blipFill>
            <a:blip r:embed="rId10"/>
            <a:stretch>
              <a:fillRect/>
            </a:stretch>
          </p:blipFill>
          <p:spPr>
            <a:xfrm>
              <a:off x="5303623" y="3097247"/>
              <a:ext cx="1620486" cy="1620486"/>
            </a:xfrm>
            <a:prstGeom prst="rect">
              <a:avLst/>
            </a:prstGeom>
          </p:spPr>
        </p:pic>
      </p:grpSp>
      <p:sp>
        <p:nvSpPr>
          <p:cNvPr id="5" name="TextBox 4">
            <a:extLst>
              <a:ext uri="{FF2B5EF4-FFF2-40B4-BE49-F238E27FC236}">
                <a16:creationId xmlns:a16="http://schemas.microsoft.com/office/drawing/2014/main" id="{216A38B9-872B-E45F-5D50-1619F83F23CB}"/>
              </a:ext>
            </a:extLst>
          </p:cNvPr>
          <p:cNvSpPr txBox="1"/>
          <p:nvPr/>
        </p:nvSpPr>
        <p:spPr>
          <a:xfrm>
            <a:off x="487179" y="543118"/>
            <a:ext cx="9843542" cy="1692771"/>
          </a:xfrm>
          <a:prstGeom prst="rect">
            <a:avLst/>
          </a:prstGeom>
          <a:noFill/>
        </p:spPr>
        <p:txBody>
          <a:bodyPr wrap="square" lIns="91440" tIns="45720" rIns="91440" bIns="45720" anchor="t">
            <a:spAutoFit/>
          </a:bodyPr>
          <a:lstStyle/>
          <a:p>
            <a:r>
              <a:rPr lang="en-US" sz="2600" b="1">
                <a:solidFill>
                  <a:schemeClr val="tx1">
                    <a:lumMod val="75000"/>
                    <a:lumOff val="25000"/>
                  </a:schemeClr>
                </a:solidFill>
                <a:latin typeface="Montserrat"/>
              </a:rPr>
              <a:t>Automated Root Cause Detection - </a:t>
            </a:r>
            <a:r>
              <a:rPr lang="en-US" sz="2600" b="1">
                <a:solidFill>
                  <a:schemeClr val="tx1">
                    <a:lumMod val="75000"/>
                    <a:lumOff val="25000"/>
                  </a:schemeClr>
                </a:solidFill>
                <a:highlight>
                  <a:srgbClr val="FFFF00"/>
                </a:highlight>
                <a:latin typeface="Montserrat"/>
              </a:rPr>
              <a:t>Make the diagram in center small and bring the relevant dashboard in slide8 here . So that you explain and show the graph</a:t>
            </a:r>
            <a:endParaRPr lang="en-US" sz="2600">
              <a:solidFill>
                <a:schemeClr val="tx1">
                  <a:lumMod val="75000"/>
                  <a:lumOff val="25000"/>
                </a:schemeClr>
              </a:solidFill>
              <a:latin typeface="Montserrat"/>
            </a:endParaRPr>
          </a:p>
          <a:p>
            <a:endParaRPr lang="en-US" sz="2600" b="1">
              <a:solidFill>
                <a:schemeClr val="tx1">
                  <a:lumMod val="75000"/>
                  <a:lumOff val="25000"/>
                </a:schemeClr>
              </a:solidFill>
              <a:latin typeface="Montserrat"/>
            </a:endParaRPr>
          </a:p>
        </p:txBody>
      </p:sp>
      <p:cxnSp>
        <p:nvCxnSpPr>
          <p:cNvPr id="10" name="Straight Connector 9">
            <a:extLst>
              <a:ext uri="{FF2B5EF4-FFF2-40B4-BE49-F238E27FC236}">
                <a16:creationId xmlns:a16="http://schemas.microsoft.com/office/drawing/2014/main" id="{01E76F1F-250A-088D-7ACC-9178E1B02C22}"/>
              </a:ext>
              <a:ext uri="{C183D7F6-B498-43B3-948B-1728B52AA6E4}">
                <adec:decorative xmlns:adec="http://schemas.microsoft.com/office/drawing/2017/decorative" val="1"/>
              </a:ext>
            </a:extLst>
          </p:cNvPr>
          <p:cNvCxnSpPr>
            <a:cxnSpLocks/>
          </p:cNvCxnSpPr>
          <p:nvPr/>
        </p:nvCxnSpPr>
        <p:spPr>
          <a:xfrm>
            <a:off x="488191" y="1088493"/>
            <a:ext cx="10761492"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55888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8CDD38D-9F1D-49FB-9B35-1062FBACB790}"/>
              </a:ext>
            </a:extLst>
          </p:cNvPr>
          <p:cNvGrpSpPr/>
          <p:nvPr/>
        </p:nvGrpSpPr>
        <p:grpSpPr>
          <a:xfrm>
            <a:off x="3006427" y="2418369"/>
            <a:ext cx="2663970" cy="2733854"/>
            <a:chOff x="3607115" y="1429541"/>
            <a:chExt cx="5000102" cy="4999802"/>
          </a:xfrm>
        </p:grpSpPr>
        <p:grpSp>
          <p:nvGrpSpPr>
            <p:cNvPr id="41" name="Group 40">
              <a:extLst>
                <a:ext uri="{FF2B5EF4-FFF2-40B4-BE49-F238E27FC236}">
                  <a16:creationId xmlns:a16="http://schemas.microsoft.com/office/drawing/2014/main" id="{9D11F4F6-6B66-3F63-53B3-84CF50B5A9FB}"/>
                </a:ext>
              </a:extLst>
            </p:cNvPr>
            <p:cNvGrpSpPr/>
            <p:nvPr/>
          </p:nvGrpSpPr>
          <p:grpSpPr>
            <a:xfrm>
              <a:off x="3607115" y="1429541"/>
              <a:ext cx="5000102" cy="4999802"/>
              <a:chOff x="3595949" y="1098550"/>
              <a:chExt cx="5000102" cy="4999802"/>
            </a:xfrm>
          </p:grpSpPr>
          <p:sp>
            <p:nvSpPr>
              <p:cNvPr id="8" name="Freeform: Shape 7">
                <a:extLst>
                  <a:ext uri="{FF2B5EF4-FFF2-40B4-BE49-F238E27FC236}">
                    <a16:creationId xmlns:a16="http://schemas.microsoft.com/office/drawing/2014/main" id="{EB29871E-3662-CBAE-51A1-AFB023016423}"/>
                  </a:ext>
                </a:extLst>
              </p:cNvPr>
              <p:cNvSpPr/>
              <p:nvPr/>
            </p:nvSpPr>
            <p:spPr>
              <a:xfrm>
                <a:off x="3608427" y="1098550"/>
                <a:ext cx="1551232" cy="1516327"/>
              </a:xfrm>
              <a:custGeom>
                <a:avLst/>
                <a:gdLst>
                  <a:gd name="connsiteX0" fmla="*/ 299823 w 1724424"/>
                  <a:gd name="connsiteY0" fmla="*/ 1674902 h 1685623"/>
                  <a:gd name="connsiteX1" fmla="*/ 79785 w 1724424"/>
                  <a:gd name="connsiteY1" fmla="*/ 1579521 h 1685623"/>
                  <a:gd name="connsiteX2" fmla="*/ 10945 w 1724424"/>
                  <a:gd name="connsiteY2" fmla="*/ 1404985 h 1685623"/>
                  <a:gd name="connsiteX3" fmla="*/ 13681 w 1724424"/>
                  <a:gd name="connsiteY3" fmla="*/ 1399083 h 1685623"/>
                  <a:gd name="connsiteX4" fmla="*/ 1450403 w 1724424"/>
                  <a:gd name="connsiteY4" fmla="*/ 11362 h 1685623"/>
                  <a:gd name="connsiteX5" fmla="*/ 1625648 w 1724424"/>
                  <a:gd name="connsiteY5" fmla="*/ 78984 h 1685623"/>
                  <a:gd name="connsiteX6" fmla="*/ 1627605 w 1724424"/>
                  <a:gd name="connsiteY6" fmla="*/ 83630 h 1685623"/>
                  <a:gd name="connsiteX7" fmla="*/ 1715127 w 1724424"/>
                  <a:gd name="connsiteY7" fmla="*/ 306904 h 1685623"/>
                  <a:gd name="connsiteX8" fmla="*/ 1647020 w 1724424"/>
                  <a:gd name="connsiteY8" fmla="*/ 475631 h 1685623"/>
                  <a:gd name="connsiteX9" fmla="*/ 470091 w 1724424"/>
                  <a:gd name="connsiteY9" fmla="*/ 1612342 h 1685623"/>
                  <a:gd name="connsiteX10" fmla="*/ 299823 w 1724424"/>
                  <a:gd name="connsiteY10" fmla="*/ 1674902 h 1685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424" h="1685623">
                    <a:moveTo>
                      <a:pt x="299823" y="1674902"/>
                    </a:moveTo>
                    <a:lnTo>
                      <a:pt x="79785" y="1579521"/>
                    </a:lnTo>
                    <a:cubicBezTo>
                      <a:pt x="12577" y="1550337"/>
                      <a:pt x="-18244" y="1472183"/>
                      <a:pt x="10945" y="1404985"/>
                    </a:cubicBezTo>
                    <a:cubicBezTo>
                      <a:pt x="11808" y="1402997"/>
                      <a:pt x="12721" y="1401025"/>
                      <a:pt x="13681" y="1399083"/>
                    </a:cubicBezTo>
                    <a:cubicBezTo>
                      <a:pt x="317582" y="784193"/>
                      <a:pt x="825343" y="293752"/>
                      <a:pt x="1450403" y="11362"/>
                    </a:cubicBezTo>
                    <a:cubicBezTo>
                      <a:pt x="1517462" y="-18359"/>
                      <a:pt x="1595924" y="11918"/>
                      <a:pt x="1625648" y="78984"/>
                    </a:cubicBezTo>
                    <a:cubicBezTo>
                      <a:pt x="1626326" y="80520"/>
                      <a:pt x="1626989" y="82069"/>
                      <a:pt x="1627605" y="83630"/>
                    </a:cubicBezTo>
                    <a:lnTo>
                      <a:pt x="1715127" y="306904"/>
                    </a:lnTo>
                    <a:cubicBezTo>
                      <a:pt x="1740891" y="372308"/>
                      <a:pt x="1710967" y="446439"/>
                      <a:pt x="1647020" y="475631"/>
                    </a:cubicBezTo>
                    <a:cubicBezTo>
                      <a:pt x="1136324" y="708890"/>
                      <a:pt x="720947" y="1110060"/>
                      <a:pt x="470091" y="1612342"/>
                    </a:cubicBezTo>
                    <a:cubicBezTo>
                      <a:pt x="438847" y="1674979"/>
                      <a:pt x="364191" y="1702407"/>
                      <a:pt x="299823" y="1674902"/>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12" name="Freeform: Shape 11">
                <a:extLst>
                  <a:ext uri="{FF2B5EF4-FFF2-40B4-BE49-F238E27FC236}">
                    <a16:creationId xmlns:a16="http://schemas.microsoft.com/office/drawing/2014/main" id="{AC73601A-EE45-1ABB-6FA2-65F4ED869633}"/>
                  </a:ext>
                </a:extLst>
              </p:cNvPr>
              <p:cNvSpPr/>
              <p:nvPr/>
            </p:nvSpPr>
            <p:spPr>
              <a:xfrm>
                <a:off x="7078981" y="1110090"/>
                <a:ext cx="1517070" cy="1552187"/>
              </a:xfrm>
              <a:custGeom>
                <a:avLst/>
                <a:gdLst>
                  <a:gd name="connsiteX0" fmla="*/ 11097 w 1686448"/>
                  <a:gd name="connsiteY0" fmla="*/ 299776 h 1725486"/>
                  <a:gd name="connsiteX1" fmla="*/ 106478 w 1686448"/>
                  <a:gd name="connsiteY1" fmla="*/ 79738 h 1725486"/>
                  <a:gd name="connsiteX2" fmla="*/ 281307 w 1686448"/>
                  <a:gd name="connsiteY2" fmla="*/ 11031 h 1725486"/>
                  <a:gd name="connsiteX3" fmla="*/ 286916 w 1686448"/>
                  <a:gd name="connsiteY3" fmla="*/ 13634 h 1725486"/>
                  <a:gd name="connsiteX4" fmla="*/ 1674638 w 1686448"/>
                  <a:gd name="connsiteY4" fmla="*/ 1450356 h 1725486"/>
                  <a:gd name="connsiteX5" fmla="*/ 1608180 w 1686448"/>
                  <a:gd name="connsiteY5" fmla="*/ 1625816 h 1725486"/>
                  <a:gd name="connsiteX6" fmla="*/ 1602216 w 1686448"/>
                  <a:gd name="connsiteY6" fmla="*/ 1628328 h 1725486"/>
                  <a:gd name="connsiteX7" fmla="*/ 1378942 w 1686448"/>
                  <a:gd name="connsiteY7" fmla="*/ 1716004 h 1725486"/>
                  <a:gd name="connsiteX8" fmla="*/ 1209445 w 1686448"/>
                  <a:gd name="connsiteY8" fmla="*/ 1647743 h 1725486"/>
                  <a:gd name="connsiteX9" fmla="*/ 73349 w 1686448"/>
                  <a:gd name="connsiteY9" fmla="*/ 471431 h 1725486"/>
                  <a:gd name="connsiteX10" fmla="*/ 11097 w 1686448"/>
                  <a:gd name="connsiteY10" fmla="*/ 299776 h 172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6448" h="1725486">
                    <a:moveTo>
                      <a:pt x="11097" y="299776"/>
                    </a:moveTo>
                    <a:lnTo>
                      <a:pt x="106478" y="79738"/>
                    </a:lnTo>
                    <a:cubicBezTo>
                      <a:pt x="135786" y="12489"/>
                      <a:pt x="214047" y="-18273"/>
                      <a:pt x="281307" y="11031"/>
                    </a:cubicBezTo>
                    <a:cubicBezTo>
                      <a:pt x="283187" y="11856"/>
                      <a:pt x="285067" y="12723"/>
                      <a:pt x="286916" y="13634"/>
                    </a:cubicBezTo>
                    <a:cubicBezTo>
                      <a:pt x="901745" y="317620"/>
                      <a:pt x="1392163" y="825357"/>
                      <a:pt x="1674638" y="1450356"/>
                    </a:cubicBezTo>
                    <a:cubicBezTo>
                      <a:pt x="1704732" y="1517153"/>
                      <a:pt x="1674977" y="1595723"/>
                      <a:pt x="1608180" y="1625816"/>
                    </a:cubicBezTo>
                    <a:cubicBezTo>
                      <a:pt x="1606207" y="1626694"/>
                      <a:pt x="1604220" y="1627542"/>
                      <a:pt x="1602216" y="1628328"/>
                    </a:cubicBezTo>
                    <a:lnTo>
                      <a:pt x="1378942" y="1716004"/>
                    </a:lnTo>
                    <a:cubicBezTo>
                      <a:pt x="1313285" y="1742153"/>
                      <a:pt x="1238660" y="1712106"/>
                      <a:pt x="1209445" y="1647743"/>
                    </a:cubicBezTo>
                    <a:cubicBezTo>
                      <a:pt x="976154" y="1137433"/>
                      <a:pt x="575247" y="722318"/>
                      <a:pt x="73349" y="471431"/>
                    </a:cubicBezTo>
                    <a:cubicBezTo>
                      <a:pt x="10142" y="439975"/>
                      <a:pt x="-17255" y="364440"/>
                      <a:pt x="11097" y="299776"/>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17" name="Freeform: Shape 16">
                <a:extLst>
                  <a:ext uri="{FF2B5EF4-FFF2-40B4-BE49-F238E27FC236}">
                    <a16:creationId xmlns:a16="http://schemas.microsoft.com/office/drawing/2014/main" id="{D5AA95E7-06BD-4054-3AC8-79C509F055CA}"/>
                  </a:ext>
                </a:extLst>
              </p:cNvPr>
              <p:cNvSpPr/>
              <p:nvPr/>
            </p:nvSpPr>
            <p:spPr>
              <a:xfrm>
                <a:off x="7032350" y="4581800"/>
                <a:ext cx="1551915" cy="1516552"/>
              </a:xfrm>
              <a:custGeom>
                <a:avLst/>
                <a:gdLst>
                  <a:gd name="connsiteX0" fmla="*/ 1425233 w 1725184"/>
                  <a:gd name="connsiteY0" fmla="*/ 10687 h 1685873"/>
                  <a:gd name="connsiteX1" fmla="*/ 1645271 w 1725184"/>
                  <a:gd name="connsiteY1" fmla="*/ 106068 h 1685873"/>
                  <a:gd name="connsiteX2" fmla="*/ 1714149 w 1725184"/>
                  <a:gd name="connsiteY2" fmla="*/ 280358 h 1685873"/>
                  <a:gd name="connsiteX3" fmla="*/ 1711375 w 1725184"/>
                  <a:gd name="connsiteY3" fmla="*/ 286352 h 1685873"/>
                  <a:gd name="connsiteX4" fmla="*/ 274653 w 1725184"/>
                  <a:gd name="connsiteY4" fmla="*/ 1674073 h 1685873"/>
                  <a:gd name="connsiteX5" fmla="*/ 99192 w 1725184"/>
                  <a:gd name="connsiteY5" fmla="*/ 1607614 h 1685873"/>
                  <a:gd name="connsiteX6" fmla="*/ 96680 w 1725184"/>
                  <a:gd name="connsiteY6" fmla="*/ 1601651 h 1685873"/>
                  <a:gd name="connsiteX7" fmla="*/ 9158 w 1725184"/>
                  <a:gd name="connsiteY7" fmla="*/ 1378377 h 1685873"/>
                  <a:gd name="connsiteX8" fmla="*/ 77265 w 1725184"/>
                  <a:gd name="connsiteY8" fmla="*/ 1209650 h 1685873"/>
                  <a:gd name="connsiteX9" fmla="*/ 1254965 w 1725184"/>
                  <a:gd name="connsiteY9" fmla="*/ 72785 h 1685873"/>
                  <a:gd name="connsiteX10" fmla="*/ 1425233 w 1725184"/>
                  <a:gd name="connsiteY10" fmla="*/ 10687 h 168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5184" h="1685873">
                    <a:moveTo>
                      <a:pt x="1425233" y="10687"/>
                    </a:moveTo>
                    <a:lnTo>
                      <a:pt x="1645271" y="106068"/>
                    </a:lnTo>
                    <a:cubicBezTo>
                      <a:pt x="1712423" y="135175"/>
                      <a:pt x="1743256" y="213206"/>
                      <a:pt x="1714149" y="280358"/>
                    </a:cubicBezTo>
                    <a:cubicBezTo>
                      <a:pt x="1713271" y="282376"/>
                      <a:pt x="1712346" y="284379"/>
                      <a:pt x="1711375" y="286352"/>
                    </a:cubicBezTo>
                    <a:cubicBezTo>
                      <a:pt x="1407512" y="901273"/>
                      <a:pt x="899744" y="1391721"/>
                      <a:pt x="274653" y="1674073"/>
                    </a:cubicBezTo>
                    <a:cubicBezTo>
                      <a:pt x="207856" y="1704167"/>
                      <a:pt x="129286" y="1674412"/>
                      <a:pt x="99192" y="1607614"/>
                    </a:cubicBezTo>
                    <a:cubicBezTo>
                      <a:pt x="98314" y="1605642"/>
                      <a:pt x="97466" y="1603654"/>
                      <a:pt x="96680" y="1601651"/>
                    </a:cubicBezTo>
                    <a:lnTo>
                      <a:pt x="9158" y="1378377"/>
                    </a:lnTo>
                    <a:cubicBezTo>
                      <a:pt x="-16606" y="1312967"/>
                      <a:pt x="13319" y="1238835"/>
                      <a:pt x="77265" y="1209650"/>
                    </a:cubicBezTo>
                    <a:cubicBezTo>
                      <a:pt x="588254" y="976483"/>
                      <a:pt x="1003924" y="575237"/>
                      <a:pt x="1254965" y="72785"/>
                    </a:cubicBezTo>
                    <a:cubicBezTo>
                      <a:pt x="1286368" y="10317"/>
                      <a:pt x="1360978" y="-16895"/>
                      <a:pt x="1425233" y="10687"/>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22" name="Freeform: Shape 21">
                <a:extLst>
                  <a:ext uri="{FF2B5EF4-FFF2-40B4-BE49-F238E27FC236}">
                    <a16:creationId xmlns:a16="http://schemas.microsoft.com/office/drawing/2014/main" id="{6B2B4B0E-7ED8-94DE-A08B-2AA84B585F31}"/>
                  </a:ext>
                </a:extLst>
              </p:cNvPr>
              <p:cNvSpPr/>
              <p:nvPr/>
            </p:nvSpPr>
            <p:spPr>
              <a:xfrm>
                <a:off x="3595949" y="4534436"/>
                <a:ext cx="1517201" cy="1552761"/>
              </a:xfrm>
              <a:custGeom>
                <a:avLst/>
                <a:gdLst>
                  <a:gd name="connsiteX0" fmla="*/ 1675222 w 1686594"/>
                  <a:gd name="connsiteY0" fmla="*/ 1426098 h 1726124"/>
                  <a:gd name="connsiteX1" fmla="*/ 1579841 w 1686594"/>
                  <a:gd name="connsiteY1" fmla="*/ 1646137 h 1726124"/>
                  <a:gd name="connsiteX2" fmla="*/ 1405089 w 1686594"/>
                  <a:gd name="connsiteY2" fmla="*/ 1715030 h 1726124"/>
                  <a:gd name="connsiteX3" fmla="*/ 1399403 w 1686594"/>
                  <a:gd name="connsiteY3" fmla="*/ 1712395 h 1726124"/>
                  <a:gd name="connsiteX4" fmla="*/ 11680 w 1686594"/>
                  <a:gd name="connsiteY4" fmla="*/ 275057 h 1726124"/>
                  <a:gd name="connsiteX5" fmla="*/ 78242 w 1686594"/>
                  <a:gd name="connsiteY5" fmla="*/ 99396 h 1726124"/>
                  <a:gd name="connsiteX6" fmla="*/ 84102 w 1686594"/>
                  <a:gd name="connsiteY6" fmla="*/ 96930 h 1726124"/>
                  <a:gd name="connsiteX7" fmla="*/ 307377 w 1686594"/>
                  <a:gd name="connsiteY7" fmla="*/ 9408 h 1726124"/>
                  <a:gd name="connsiteX8" fmla="*/ 476874 w 1686594"/>
                  <a:gd name="connsiteY8" fmla="*/ 77669 h 1726124"/>
                  <a:gd name="connsiteX9" fmla="*/ 1613740 w 1686594"/>
                  <a:gd name="connsiteY9" fmla="*/ 1254443 h 1726124"/>
                  <a:gd name="connsiteX10" fmla="*/ 1675222 w 1686594"/>
                  <a:gd name="connsiteY10" fmla="*/ 1426098 h 172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6594" h="1726124">
                    <a:moveTo>
                      <a:pt x="1675222" y="1426098"/>
                    </a:moveTo>
                    <a:lnTo>
                      <a:pt x="1579841" y="1646137"/>
                    </a:lnTo>
                    <a:cubicBezTo>
                      <a:pt x="1550610" y="1713412"/>
                      <a:pt x="1472364" y="1744260"/>
                      <a:pt x="1405089" y="1715030"/>
                    </a:cubicBezTo>
                    <a:cubicBezTo>
                      <a:pt x="1403178" y="1714198"/>
                      <a:pt x="1401283" y="1713320"/>
                      <a:pt x="1399403" y="1712395"/>
                    </a:cubicBezTo>
                    <a:cubicBezTo>
                      <a:pt x="784481" y="1408255"/>
                      <a:pt x="294040" y="900287"/>
                      <a:pt x="11680" y="275057"/>
                    </a:cubicBezTo>
                    <a:cubicBezTo>
                      <a:pt x="-18445" y="208167"/>
                      <a:pt x="11355" y="129536"/>
                      <a:pt x="78242" y="99396"/>
                    </a:cubicBezTo>
                    <a:cubicBezTo>
                      <a:pt x="80174" y="98533"/>
                      <a:pt x="82130" y="97701"/>
                      <a:pt x="84102" y="96930"/>
                    </a:cubicBezTo>
                    <a:lnTo>
                      <a:pt x="307377" y="9408"/>
                    </a:lnTo>
                    <a:cubicBezTo>
                      <a:pt x="373038" y="-16833"/>
                      <a:pt x="447720" y="13245"/>
                      <a:pt x="476874" y="77669"/>
                    </a:cubicBezTo>
                    <a:cubicBezTo>
                      <a:pt x="710195" y="588335"/>
                      <a:pt x="1111426" y="1003649"/>
                      <a:pt x="1613740" y="1254443"/>
                    </a:cubicBezTo>
                    <a:cubicBezTo>
                      <a:pt x="1676655" y="1286171"/>
                      <a:pt x="1703682" y="1361643"/>
                      <a:pt x="1675222" y="1426098"/>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7" name="Freeform: Shape 6">
                <a:extLst>
                  <a:ext uri="{FF2B5EF4-FFF2-40B4-BE49-F238E27FC236}">
                    <a16:creationId xmlns:a16="http://schemas.microsoft.com/office/drawing/2014/main" id="{6A9F9DAB-59A5-F306-2D16-26F151E17422}"/>
                  </a:ext>
                </a:extLst>
              </p:cNvPr>
              <p:cNvSpPr/>
              <p:nvPr/>
            </p:nvSpPr>
            <p:spPr>
              <a:xfrm>
                <a:off x="3761488" y="1279139"/>
                <a:ext cx="2583957" cy="2231982"/>
              </a:xfrm>
              <a:custGeom>
                <a:avLst/>
                <a:gdLst>
                  <a:gd name="connsiteX0" fmla="*/ 1144809 w 2872452"/>
                  <a:gd name="connsiteY0" fmla="*/ 2474493 h 2481179"/>
                  <a:gd name="connsiteX1" fmla="*/ 2368427 w 2872452"/>
                  <a:gd name="connsiteY1" fmla="*/ 1141781 h 2481179"/>
                  <a:gd name="connsiteX2" fmla="*/ 2698639 w 2872452"/>
                  <a:gd name="connsiteY2" fmla="*/ 963963 h 2481179"/>
                  <a:gd name="connsiteX3" fmla="*/ 2729457 w 2872452"/>
                  <a:gd name="connsiteY3" fmla="*/ 928831 h 2481179"/>
                  <a:gd name="connsiteX4" fmla="*/ 2722369 w 2872452"/>
                  <a:gd name="connsiteY4" fmla="*/ 176570 h 2481179"/>
                  <a:gd name="connsiteX5" fmla="*/ 2722369 w 2872452"/>
                  <a:gd name="connsiteY5" fmla="*/ 176570 h 2481179"/>
                  <a:gd name="connsiteX6" fmla="*/ 2244694 w 2872452"/>
                  <a:gd name="connsiteY6" fmla="*/ 4608 h 2481179"/>
                  <a:gd name="connsiteX7" fmla="*/ -70 w 2872452"/>
                  <a:gd name="connsiteY7" fmla="*/ 2481119 h 2481179"/>
                  <a:gd name="connsiteX8" fmla="*/ -70 w 2872452"/>
                  <a:gd name="connsiteY8" fmla="*/ 2481119 h 2481179"/>
                  <a:gd name="connsiteX9" fmla="*/ 1140186 w 2872452"/>
                  <a:gd name="connsiteY9" fmla="*/ 2470178 h 248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2452" h="2481179">
                    <a:moveTo>
                      <a:pt x="1144809" y="2474493"/>
                    </a:moveTo>
                    <a:cubicBezTo>
                      <a:pt x="1194009" y="1800140"/>
                      <a:pt x="1700715" y="1248256"/>
                      <a:pt x="2368427" y="1141781"/>
                    </a:cubicBezTo>
                    <a:cubicBezTo>
                      <a:pt x="2495643" y="1122181"/>
                      <a:pt x="2612242" y="1059390"/>
                      <a:pt x="2698639" y="963963"/>
                    </a:cubicBezTo>
                    <a:lnTo>
                      <a:pt x="2729457" y="928831"/>
                    </a:lnTo>
                    <a:cubicBezTo>
                      <a:pt x="2922715" y="714247"/>
                      <a:pt x="2919633" y="387470"/>
                      <a:pt x="2722369" y="176570"/>
                    </a:cubicBezTo>
                    <a:lnTo>
                      <a:pt x="2722369" y="176570"/>
                    </a:lnTo>
                    <a:cubicBezTo>
                      <a:pt x="2600253" y="45475"/>
                      <a:pt x="2422343" y="-18572"/>
                      <a:pt x="2244694" y="4608"/>
                    </a:cubicBezTo>
                    <a:cubicBezTo>
                      <a:pt x="1006900" y="172102"/>
                      <a:pt x="46619" y="1214357"/>
                      <a:pt x="-70" y="2481119"/>
                    </a:cubicBezTo>
                    <a:lnTo>
                      <a:pt x="-70" y="2481119"/>
                    </a:lnTo>
                    <a:cubicBezTo>
                      <a:pt x="300557" y="2101599"/>
                      <a:pt x="837710" y="2115158"/>
                      <a:pt x="1140186" y="2470178"/>
                    </a:cubicBezTo>
                    <a:close/>
                  </a:path>
                </a:pathLst>
              </a:custGeom>
              <a:solidFill>
                <a:srgbClr val="FA854B"/>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9" name="Freeform: Shape 8">
                <a:extLst>
                  <a:ext uri="{FF2B5EF4-FFF2-40B4-BE49-F238E27FC236}">
                    <a16:creationId xmlns:a16="http://schemas.microsoft.com/office/drawing/2014/main" id="{A3D8E584-1B16-0ADA-9410-3BD6EAFF61FB}"/>
                  </a:ext>
                </a:extLst>
              </p:cNvPr>
              <p:cNvSpPr/>
              <p:nvPr/>
            </p:nvSpPr>
            <p:spPr>
              <a:xfrm>
                <a:off x="5413337" y="1377318"/>
                <a:ext cx="812270" cy="812269"/>
              </a:xfrm>
              <a:custGeom>
                <a:avLst/>
                <a:gdLst>
                  <a:gd name="connsiteX0" fmla="*/ 902960 w 902959"/>
                  <a:gd name="connsiteY0" fmla="*/ 451479 h 902958"/>
                  <a:gd name="connsiteX1" fmla="*/ 451480 w 902959"/>
                  <a:gd name="connsiteY1" fmla="*/ 902959 h 902958"/>
                  <a:gd name="connsiteX2" fmla="*/ 0 w 902959"/>
                  <a:gd name="connsiteY2" fmla="*/ 451479 h 902958"/>
                  <a:gd name="connsiteX3" fmla="*/ 451480 w 902959"/>
                  <a:gd name="connsiteY3" fmla="*/ 0 h 902958"/>
                  <a:gd name="connsiteX4" fmla="*/ 902960 w 902959"/>
                  <a:gd name="connsiteY4" fmla="*/ 451479 h 90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8">
                    <a:moveTo>
                      <a:pt x="902960" y="451479"/>
                    </a:moveTo>
                    <a:cubicBezTo>
                      <a:pt x="902960" y="700825"/>
                      <a:pt x="700825" y="902959"/>
                      <a:pt x="451480" y="902959"/>
                    </a:cubicBezTo>
                    <a:cubicBezTo>
                      <a:pt x="202134" y="902959"/>
                      <a:pt x="0" y="700825"/>
                      <a:pt x="0" y="451479"/>
                    </a:cubicBezTo>
                    <a:cubicBezTo>
                      <a:pt x="0" y="202134"/>
                      <a:pt x="202134" y="0"/>
                      <a:pt x="451480" y="0"/>
                    </a:cubicBezTo>
                    <a:cubicBezTo>
                      <a:pt x="700825" y="0"/>
                      <a:pt x="902960" y="202134"/>
                      <a:pt x="902960" y="451479"/>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1" name="Freeform: Shape 10">
                <a:extLst>
                  <a:ext uri="{FF2B5EF4-FFF2-40B4-BE49-F238E27FC236}">
                    <a16:creationId xmlns:a16="http://schemas.microsoft.com/office/drawing/2014/main" id="{2067C609-27B8-3708-38DD-7CF591A7016F}"/>
                  </a:ext>
                </a:extLst>
              </p:cNvPr>
              <p:cNvSpPr/>
              <p:nvPr/>
            </p:nvSpPr>
            <p:spPr>
              <a:xfrm>
                <a:off x="6183330" y="1263794"/>
                <a:ext cx="2231861" cy="2584636"/>
              </a:xfrm>
              <a:custGeom>
                <a:avLst/>
                <a:gdLst>
                  <a:gd name="connsiteX0" fmla="*/ 6402 w 2481044"/>
                  <a:gd name="connsiteY0" fmla="*/ 1144817 h 2873206"/>
                  <a:gd name="connsiteX1" fmla="*/ 1339115 w 2481044"/>
                  <a:gd name="connsiteY1" fmla="*/ 2368434 h 2873206"/>
                  <a:gd name="connsiteX2" fmla="*/ 1516933 w 2481044"/>
                  <a:gd name="connsiteY2" fmla="*/ 2698800 h 2873206"/>
                  <a:gd name="connsiteX3" fmla="*/ 1552065 w 2481044"/>
                  <a:gd name="connsiteY3" fmla="*/ 2730388 h 2873206"/>
                  <a:gd name="connsiteX4" fmla="*/ 2304480 w 2481044"/>
                  <a:gd name="connsiteY4" fmla="*/ 2723146 h 2873206"/>
                  <a:gd name="connsiteX5" fmla="*/ 2304480 w 2481044"/>
                  <a:gd name="connsiteY5" fmla="*/ 2723146 h 2873206"/>
                  <a:gd name="connsiteX6" fmla="*/ 2476289 w 2481044"/>
                  <a:gd name="connsiteY6" fmla="*/ 2245472 h 2873206"/>
                  <a:gd name="connsiteX7" fmla="*/ -70 w 2481044"/>
                  <a:gd name="connsiteY7" fmla="*/ -61 h 2873206"/>
                  <a:gd name="connsiteX8" fmla="*/ -70 w 2481044"/>
                  <a:gd name="connsiteY8" fmla="*/ -61 h 2873206"/>
                  <a:gd name="connsiteX9" fmla="*/ 10871 w 2481044"/>
                  <a:gd name="connsiteY9" fmla="*/ 1140195 h 287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1044" h="2873206">
                    <a:moveTo>
                      <a:pt x="6402" y="1144817"/>
                    </a:moveTo>
                    <a:cubicBezTo>
                      <a:pt x="680787" y="1193972"/>
                      <a:pt x="1232686" y="1700692"/>
                      <a:pt x="1339115" y="2368434"/>
                    </a:cubicBezTo>
                    <a:cubicBezTo>
                      <a:pt x="1358761" y="2495681"/>
                      <a:pt x="1421537" y="2612326"/>
                      <a:pt x="1516933" y="2698800"/>
                    </a:cubicBezTo>
                    <a:lnTo>
                      <a:pt x="1552065" y="2730388"/>
                    </a:lnTo>
                    <a:cubicBezTo>
                      <a:pt x="1766788" y="2923477"/>
                      <a:pt x="2093518" y="2920333"/>
                      <a:pt x="2304480" y="2723146"/>
                    </a:cubicBezTo>
                    <a:lnTo>
                      <a:pt x="2304480" y="2723146"/>
                    </a:lnTo>
                    <a:cubicBezTo>
                      <a:pt x="2435518" y="2601000"/>
                      <a:pt x="2499510" y="2423105"/>
                      <a:pt x="2476289" y="2245472"/>
                    </a:cubicBezTo>
                    <a:cubicBezTo>
                      <a:pt x="2308949" y="1007062"/>
                      <a:pt x="1266539" y="46628"/>
                      <a:pt x="-70" y="-61"/>
                    </a:cubicBezTo>
                    <a:lnTo>
                      <a:pt x="-70" y="-61"/>
                    </a:lnTo>
                    <a:cubicBezTo>
                      <a:pt x="323517" y="217050"/>
                      <a:pt x="429530" y="827395"/>
                      <a:pt x="10871" y="1140195"/>
                    </a:cubicBezTo>
                    <a:close/>
                  </a:path>
                </a:pathLst>
              </a:custGeom>
              <a:solidFill>
                <a:schemeClr val="accent6"/>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3" name="Freeform: Shape 12">
                <a:extLst>
                  <a:ext uri="{FF2B5EF4-FFF2-40B4-BE49-F238E27FC236}">
                    <a16:creationId xmlns:a16="http://schemas.microsoft.com/office/drawing/2014/main" id="{9F023184-E144-129C-4B79-9E46444BF337}"/>
                  </a:ext>
                </a:extLst>
              </p:cNvPr>
              <p:cNvSpPr/>
              <p:nvPr/>
            </p:nvSpPr>
            <p:spPr>
              <a:xfrm>
                <a:off x="7504726" y="2915641"/>
                <a:ext cx="812270" cy="812269"/>
              </a:xfrm>
              <a:custGeom>
                <a:avLst/>
                <a:gdLst>
                  <a:gd name="connsiteX0" fmla="*/ 902959 w 902959"/>
                  <a:gd name="connsiteY0" fmla="*/ 451479 h 902958"/>
                  <a:gd name="connsiteX1" fmla="*/ 451480 w 902959"/>
                  <a:gd name="connsiteY1" fmla="*/ 902959 h 902958"/>
                  <a:gd name="connsiteX2" fmla="*/ 0 w 902959"/>
                  <a:gd name="connsiteY2" fmla="*/ 451479 h 902958"/>
                  <a:gd name="connsiteX3" fmla="*/ 451480 w 902959"/>
                  <a:gd name="connsiteY3" fmla="*/ 0 h 902958"/>
                  <a:gd name="connsiteX4" fmla="*/ 902959 w 902959"/>
                  <a:gd name="connsiteY4" fmla="*/ 451479 h 90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8">
                    <a:moveTo>
                      <a:pt x="902959" y="451479"/>
                    </a:moveTo>
                    <a:cubicBezTo>
                      <a:pt x="902959" y="700825"/>
                      <a:pt x="700825" y="902959"/>
                      <a:pt x="451480" y="902959"/>
                    </a:cubicBezTo>
                    <a:cubicBezTo>
                      <a:pt x="202134" y="902959"/>
                      <a:pt x="0" y="700825"/>
                      <a:pt x="0" y="451479"/>
                    </a:cubicBezTo>
                    <a:cubicBezTo>
                      <a:pt x="0" y="202134"/>
                      <a:pt x="202134" y="0"/>
                      <a:pt x="451480" y="0"/>
                    </a:cubicBezTo>
                    <a:cubicBezTo>
                      <a:pt x="700825" y="0"/>
                      <a:pt x="902959" y="202134"/>
                      <a:pt x="902959" y="451479"/>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5" name="Freeform: Shape 14">
                <a:extLst>
                  <a:ext uri="{FF2B5EF4-FFF2-40B4-BE49-F238E27FC236}">
                    <a16:creationId xmlns:a16="http://schemas.microsoft.com/office/drawing/2014/main" id="{9E1228EF-BDF1-708E-3F21-045211BE91F2}"/>
                  </a:ext>
                </a:extLst>
              </p:cNvPr>
              <p:cNvSpPr/>
              <p:nvPr/>
            </p:nvSpPr>
            <p:spPr>
              <a:xfrm>
                <a:off x="5845893" y="3686327"/>
                <a:ext cx="2584489" cy="2231916"/>
              </a:xfrm>
              <a:custGeom>
                <a:avLst/>
                <a:gdLst>
                  <a:gd name="connsiteX0" fmla="*/ 1728249 w 2873043"/>
                  <a:gd name="connsiteY0" fmla="*/ 5795 h 2481106"/>
                  <a:gd name="connsiteX1" fmla="*/ 504631 w 2873043"/>
                  <a:gd name="connsiteY1" fmla="*/ 1338353 h 2481106"/>
                  <a:gd name="connsiteX2" fmla="*/ 174419 w 2873043"/>
                  <a:gd name="connsiteY2" fmla="*/ 1516325 h 2481106"/>
                  <a:gd name="connsiteX3" fmla="*/ 142677 w 2873043"/>
                  <a:gd name="connsiteY3" fmla="*/ 1552227 h 2481106"/>
                  <a:gd name="connsiteX4" fmla="*/ 149919 w 2873043"/>
                  <a:gd name="connsiteY4" fmla="*/ 2304488 h 2481106"/>
                  <a:gd name="connsiteX5" fmla="*/ 149919 w 2873043"/>
                  <a:gd name="connsiteY5" fmla="*/ 2304488 h 2481106"/>
                  <a:gd name="connsiteX6" fmla="*/ 627594 w 2873043"/>
                  <a:gd name="connsiteY6" fmla="*/ 2476296 h 2481106"/>
                  <a:gd name="connsiteX7" fmla="*/ 2872974 w 2873043"/>
                  <a:gd name="connsiteY7" fmla="*/ -61 h 2481106"/>
                  <a:gd name="connsiteX8" fmla="*/ 2872974 w 2873043"/>
                  <a:gd name="connsiteY8" fmla="*/ -61 h 2481106"/>
                  <a:gd name="connsiteX9" fmla="*/ 1732718 w 2873043"/>
                  <a:gd name="connsiteY9" fmla="*/ 10880 h 2481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3043" h="2481106">
                    <a:moveTo>
                      <a:pt x="1728249" y="5795"/>
                    </a:moveTo>
                    <a:cubicBezTo>
                      <a:pt x="1679095" y="680133"/>
                      <a:pt x="1172344" y="1232000"/>
                      <a:pt x="504631" y="1338353"/>
                    </a:cubicBezTo>
                    <a:cubicBezTo>
                      <a:pt x="377369" y="1357953"/>
                      <a:pt x="260755" y="1420805"/>
                      <a:pt x="174419" y="1516325"/>
                    </a:cubicBezTo>
                    <a:lnTo>
                      <a:pt x="142677" y="1552227"/>
                    </a:lnTo>
                    <a:cubicBezTo>
                      <a:pt x="-50396" y="1766904"/>
                      <a:pt x="-47253" y="2093571"/>
                      <a:pt x="149919" y="2304488"/>
                    </a:cubicBezTo>
                    <a:lnTo>
                      <a:pt x="149919" y="2304488"/>
                    </a:lnTo>
                    <a:cubicBezTo>
                      <a:pt x="271957" y="2435679"/>
                      <a:pt x="449945" y="2499703"/>
                      <a:pt x="627594" y="2476296"/>
                    </a:cubicBezTo>
                    <a:cubicBezTo>
                      <a:pt x="1866004" y="2308956"/>
                      <a:pt x="2826285" y="1266701"/>
                      <a:pt x="2872974" y="-61"/>
                    </a:cubicBezTo>
                    <a:lnTo>
                      <a:pt x="2872974" y="-61"/>
                    </a:lnTo>
                    <a:cubicBezTo>
                      <a:pt x="2600237" y="411048"/>
                      <a:pt x="2006225" y="383928"/>
                      <a:pt x="1732718" y="10880"/>
                    </a:cubicBezTo>
                    <a:close/>
                  </a:path>
                </a:pathLst>
              </a:custGeom>
              <a:solidFill>
                <a:srgbClr val="F7C84F"/>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8" name="Freeform: Shape 17">
                <a:extLst>
                  <a:ext uri="{FF2B5EF4-FFF2-40B4-BE49-F238E27FC236}">
                    <a16:creationId xmlns:a16="http://schemas.microsoft.com/office/drawing/2014/main" id="{9D885BBD-147B-F963-EB91-710A7E55B0BB}"/>
                  </a:ext>
                </a:extLst>
              </p:cNvPr>
              <p:cNvSpPr/>
              <p:nvPr/>
            </p:nvSpPr>
            <p:spPr>
              <a:xfrm>
                <a:off x="5966401" y="5007029"/>
                <a:ext cx="812270" cy="812269"/>
              </a:xfrm>
              <a:custGeom>
                <a:avLst/>
                <a:gdLst>
                  <a:gd name="connsiteX0" fmla="*/ 902959 w 902959"/>
                  <a:gd name="connsiteY0" fmla="*/ 451480 h 902958"/>
                  <a:gd name="connsiteX1" fmla="*/ 451480 w 902959"/>
                  <a:gd name="connsiteY1" fmla="*/ 902959 h 902958"/>
                  <a:gd name="connsiteX2" fmla="*/ 0 w 902959"/>
                  <a:gd name="connsiteY2" fmla="*/ 451480 h 902958"/>
                  <a:gd name="connsiteX3" fmla="*/ 451480 w 902959"/>
                  <a:gd name="connsiteY3" fmla="*/ 0 h 902958"/>
                  <a:gd name="connsiteX4" fmla="*/ 902959 w 902959"/>
                  <a:gd name="connsiteY4" fmla="*/ 451480 h 90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8">
                    <a:moveTo>
                      <a:pt x="902959" y="451480"/>
                    </a:moveTo>
                    <a:cubicBezTo>
                      <a:pt x="902959" y="700825"/>
                      <a:pt x="700825" y="902959"/>
                      <a:pt x="451480" y="902959"/>
                    </a:cubicBezTo>
                    <a:cubicBezTo>
                      <a:pt x="202134" y="902959"/>
                      <a:pt x="0" y="700825"/>
                      <a:pt x="0" y="451480"/>
                    </a:cubicBezTo>
                    <a:cubicBezTo>
                      <a:pt x="0" y="202134"/>
                      <a:pt x="202134" y="0"/>
                      <a:pt x="451480" y="0"/>
                    </a:cubicBezTo>
                    <a:cubicBezTo>
                      <a:pt x="700825" y="0"/>
                      <a:pt x="902959" y="202134"/>
                      <a:pt x="902959" y="451480"/>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20" name="Freeform: Shape 19">
                <a:extLst>
                  <a:ext uri="{FF2B5EF4-FFF2-40B4-BE49-F238E27FC236}">
                    <a16:creationId xmlns:a16="http://schemas.microsoft.com/office/drawing/2014/main" id="{97A26069-93A6-E07F-25FE-8893DAF1B0AF}"/>
                  </a:ext>
                </a:extLst>
              </p:cNvPr>
              <p:cNvSpPr/>
              <p:nvPr/>
            </p:nvSpPr>
            <p:spPr>
              <a:xfrm>
                <a:off x="3777177" y="3348273"/>
                <a:ext cx="2231501" cy="2584549"/>
              </a:xfrm>
              <a:custGeom>
                <a:avLst/>
                <a:gdLst>
                  <a:gd name="connsiteX0" fmla="*/ 2474103 w 2480644"/>
                  <a:gd name="connsiteY0" fmla="*/ 1727710 h 2873110"/>
                  <a:gd name="connsiteX1" fmla="*/ 1141390 w 2480644"/>
                  <a:gd name="connsiteY1" fmla="*/ 504247 h 2873110"/>
                  <a:gd name="connsiteX2" fmla="*/ 963572 w 2480644"/>
                  <a:gd name="connsiteY2" fmla="*/ 173881 h 2873110"/>
                  <a:gd name="connsiteX3" fmla="*/ 928902 w 2480644"/>
                  <a:gd name="connsiteY3" fmla="*/ 142755 h 2873110"/>
                  <a:gd name="connsiteX4" fmla="*/ 176487 w 2480644"/>
                  <a:gd name="connsiteY4" fmla="*/ 149998 h 2873110"/>
                  <a:gd name="connsiteX5" fmla="*/ 176487 w 2480644"/>
                  <a:gd name="connsiteY5" fmla="*/ 149998 h 2873110"/>
                  <a:gd name="connsiteX6" fmla="*/ 4678 w 2480644"/>
                  <a:gd name="connsiteY6" fmla="*/ 627672 h 2873110"/>
                  <a:gd name="connsiteX7" fmla="*/ 2480575 w 2480644"/>
                  <a:gd name="connsiteY7" fmla="*/ 2873050 h 2873110"/>
                  <a:gd name="connsiteX8" fmla="*/ 2480575 w 2480644"/>
                  <a:gd name="connsiteY8" fmla="*/ 2873050 h 2873110"/>
                  <a:gd name="connsiteX9" fmla="*/ 2469635 w 2480644"/>
                  <a:gd name="connsiteY9" fmla="*/ 1732795 h 287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0644" h="2873110">
                    <a:moveTo>
                      <a:pt x="2474103" y="1727710"/>
                    </a:moveTo>
                    <a:cubicBezTo>
                      <a:pt x="1799750" y="1678633"/>
                      <a:pt x="1247820" y="1171959"/>
                      <a:pt x="1141390" y="504247"/>
                    </a:cubicBezTo>
                    <a:cubicBezTo>
                      <a:pt x="1121790" y="376985"/>
                      <a:pt x="1058999" y="260340"/>
                      <a:pt x="963572" y="173881"/>
                    </a:cubicBezTo>
                    <a:lnTo>
                      <a:pt x="928902" y="142755"/>
                    </a:lnTo>
                    <a:cubicBezTo>
                      <a:pt x="714210" y="-50410"/>
                      <a:pt x="387419" y="-47267"/>
                      <a:pt x="176487" y="149998"/>
                    </a:cubicBezTo>
                    <a:lnTo>
                      <a:pt x="176487" y="149998"/>
                    </a:lnTo>
                    <a:cubicBezTo>
                      <a:pt x="45295" y="272036"/>
                      <a:pt x="-18723" y="450023"/>
                      <a:pt x="4678" y="627672"/>
                    </a:cubicBezTo>
                    <a:cubicBezTo>
                      <a:pt x="171556" y="1866390"/>
                      <a:pt x="1213966" y="2826361"/>
                      <a:pt x="2480575" y="2873050"/>
                    </a:cubicBezTo>
                    <a:lnTo>
                      <a:pt x="2480575" y="2873050"/>
                    </a:lnTo>
                    <a:cubicBezTo>
                      <a:pt x="2095353" y="2700009"/>
                      <a:pt x="2013840" y="2006148"/>
                      <a:pt x="2469635" y="1732795"/>
                    </a:cubicBezTo>
                    <a:close/>
                  </a:path>
                </a:pathLst>
              </a:custGeom>
              <a:solidFill>
                <a:schemeClr val="accent2"/>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23" name="Freeform: Shape 22">
                <a:extLst>
                  <a:ext uri="{FF2B5EF4-FFF2-40B4-BE49-F238E27FC236}">
                    <a16:creationId xmlns:a16="http://schemas.microsoft.com/office/drawing/2014/main" id="{3CDD3D54-C492-F7CB-ACD4-266AF934EB71}"/>
                  </a:ext>
                </a:extLst>
              </p:cNvPr>
              <p:cNvSpPr/>
              <p:nvPr/>
            </p:nvSpPr>
            <p:spPr>
              <a:xfrm rot="20224201">
                <a:off x="3874982" y="3468791"/>
                <a:ext cx="812270" cy="812270"/>
              </a:xfrm>
              <a:custGeom>
                <a:avLst/>
                <a:gdLst>
                  <a:gd name="connsiteX0" fmla="*/ 902890 w 902959"/>
                  <a:gd name="connsiteY0" fmla="*/ 451419 h 902959"/>
                  <a:gd name="connsiteX1" fmla="*/ 451410 w 902959"/>
                  <a:gd name="connsiteY1" fmla="*/ 902898 h 902959"/>
                  <a:gd name="connsiteX2" fmla="*/ -70 w 902959"/>
                  <a:gd name="connsiteY2" fmla="*/ 451419 h 902959"/>
                  <a:gd name="connsiteX3" fmla="*/ 451410 w 902959"/>
                  <a:gd name="connsiteY3" fmla="*/ -61 h 902959"/>
                  <a:gd name="connsiteX4" fmla="*/ 902890 w 902959"/>
                  <a:gd name="connsiteY4" fmla="*/ 451419 h 902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9">
                    <a:moveTo>
                      <a:pt x="902890" y="451419"/>
                    </a:moveTo>
                    <a:cubicBezTo>
                      <a:pt x="902890" y="700764"/>
                      <a:pt x="700756" y="902898"/>
                      <a:pt x="451410" y="902898"/>
                    </a:cubicBezTo>
                    <a:cubicBezTo>
                      <a:pt x="202065" y="902898"/>
                      <a:pt x="-70" y="700764"/>
                      <a:pt x="-70" y="451419"/>
                    </a:cubicBezTo>
                    <a:cubicBezTo>
                      <a:pt x="-70" y="202074"/>
                      <a:pt x="202065" y="-61"/>
                      <a:pt x="451410" y="-61"/>
                    </a:cubicBezTo>
                    <a:cubicBezTo>
                      <a:pt x="700756" y="-61"/>
                      <a:pt x="902890" y="202074"/>
                      <a:pt x="902890" y="451419"/>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pic>
            <p:nvPicPr>
              <p:cNvPr id="27" name="Picture 26">
                <a:extLst>
                  <a:ext uri="{FF2B5EF4-FFF2-40B4-BE49-F238E27FC236}">
                    <a16:creationId xmlns:a16="http://schemas.microsoft.com/office/drawing/2014/main" id="{D6AA7B1A-4E4B-3FE0-A43B-733A49B87E7B}"/>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576478" y="1540459"/>
                <a:ext cx="485988" cy="485986"/>
              </a:xfrm>
              <a:prstGeom prst="rect">
                <a:avLst/>
              </a:prstGeom>
            </p:spPr>
          </p:pic>
          <p:sp>
            <p:nvSpPr>
              <p:cNvPr id="28" name="Rectangle 27">
                <a:extLst>
                  <a:ext uri="{FF2B5EF4-FFF2-40B4-BE49-F238E27FC236}">
                    <a16:creationId xmlns:a16="http://schemas.microsoft.com/office/drawing/2014/main" id="{CB9586E9-8D65-F885-A1ED-2F81FC49FBBC}"/>
                  </a:ext>
                </a:extLst>
              </p:cNvPr>
              <p:cNvSpPr/>
              <p:nvPr/>
            </p:nvSpPr>
            <p:spPr>
              <a:xfrm>
                <a:off x="3927557" y="2155929"/>
                <a:ext cx="1379051" cy="844315"/>
              </a:xfrm>
              <a:prstGeom prst="rect">
                <a:avLst/>
              </a:prstGeom>
            </p:spPr>
            <p:txBody>
              <a:bodyPr wrap="square" lIns="91440" tIns="45720" rIns="91440" bIns="45720" anchor="t">
                <a:spAutoFit/>
              </a:bodyPr>
              <a:lstStyle/>
              <a:p>
                <a:pPr algn="ctr"/>
                <a:r>
                  <a:rPr lang="en-US" sz="800" b="1">
                    <a:solidFill>
                      <a:schemeClr val="bg1"/>
                    </a:solidFill>
                    <a:latin typeface="Lora"/>
                  </a:rPr>
                  <a:t>Data Dog</a:t>
                </a:r>
                <a:endParaRPr lang="en-US" sz="800">
                  <a:solidFill>
                    <a:schemeClr val="bg1"/>
                  </a:solidFill>
                  <a:cs typeface="Arial"/>
                </a:endParaRPr>
              </a:p>
              <a:p>
                <a:pPr algn="ctr"/>
                <a:r>
                  <a:rPr lang="en-US" sz="800" b="1">
                    <a:solidFill>
                      <a:schemeClr val="bg1"/>
                    </a:solidFill>
                    <a:latin typeface="Lora"/>
                  </a:rPr>
                  <a:t>Limitation </a:t>
                </a:r>
                <a:endParaRPr lang="en-US" sz="800">
                  <a:solidFill>
                    <a:schemeClr val="bg1"/>
                  </a:solidFill>
                  <a:cs typeface="Arial"/>
                </a:endParaRPr>
              </a:p>
              <a:p>
                <a:pPr algn="ctr"/>
                <a:endParaRPr lang="en-US" sz="800" b="1">
                  <a:solidFill>
                    <a:schemeClr val="bg1"/>
                  </a:solidFill>
                  <a:latin typeface="Lora" pitchFamily="2" charset="0"/>
                </a:endParaRPr>
              </a:p>
            </p:txBody>
          </p:sp>
          <p:pic>
            <p:nvPicPr>
              <p:cNvPr id="29" name="Picture 28">
                <a:extLst>
                  <a:ext uri="{FF2B5EF4-FFF2-40B4-BE49-F238E27FC236}">
                    <a16:creationId xmlns:a16="http://schemas.microsoft.com/office/drawing/2014/main" id="{C33B1C3A-4E84-EF2A-F618-EA3F8244E183}"/>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128505" y="5169132"/>
                <a:ext cx="488062" cy="488062"/>
              </a:xfrm>
              <a:prstGeom prst="rect">
                <a:avLst/>
              </a:prstGeom>
            </p:spPr>
          </p:pic>
          <p:pic>
            <p:nvPicPr>
              <p:cNvPr id="32" name="Picture 31">
                <a:extLst>
                  <a:ext uri="{FF2B5EF4-FFF2-40B4-BE49-F238E27FC236}">
                    <a16:creationId xmlns:a16="http://schemas.microsoft.com/office/drawing/2014/main" id="{1892FBDD-8899-DAEC-9D04-10A8306A119B}"/>
                  </a:ext>
                </a:extLst>
              </p:cNvPr>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660191" y="3071106"/>
                <a:ext cx="501340" cy="501338"/>
              </a:xfrm>
              <a:prstGeom prst="rect">
                <a:avLst/>
              </a:prstGeom>
            </p:spPr>
          </p:pic>
          <p:pic>
            <p:nvPicPr>
              <p:cNvPr id="33" name="Picture 32">
                <a:extLst>
                  <a:ext uri="{FF2B5EF4-FFF2-40B4-BE49-F238E27FC236}">
                    <a16:creationId xmlns:a16="http://schemas.microsoft.com/office/drawing/2014/main" id="{C8B122D2-D20F-FF87-2340-766988ECF62F}"/>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079672" y="3673482"/>
                <a:ext cx="402890" cy="402888"/>
              </a:xfrm>
              <a:prstGeom prst="rect">
                <a:avLst/>
              </a:prstGeom>
            </p:spPr>
          </p:pic>
          <p:sp>
            <p:nvSpPr>
              <p:cNvPr id="36" name="Rectangle 35">
                <a:extLst>
                  <a:ext uri="{FF2B5EF4-FFF2-40B4-BE49-F238E27FC236}">
                    <a16:creationId xmlns:a16="http://schemas.microsoft.com/office/drawing/2014/main" id="{B5D674C2-2687-08CC-E2AC-51F9698EDB02}"/>
                  </a:ext>
                </a:extLst>
              </p:cNvPr>
              <p:cNvSpPr/>
              <p:nvPr/>
            </p:nvSpPr>
            <p:spPr>
              <a:xfrm>
                <a:off x="6842170" y="2265640"/>
                <a:ext cx="1203204" cy="394014"/>
              </a:xfrm>
              <a:prstGeom prst="rect">
                <a:avLst/>
              </a:prstGeom>
            </p:spPr>
            <p:txBody>
              <a:bodyPr wrap="square" lIns="91440" tIns="45720" rIns="91440" bIns="45720" anchor="t">
                <a:spAutoFit/>
              </a:bodyPr>
              <a:lstStyle/>
              <a:p>
                <a:pPr algn="ctr"/>
                <a:r>
                  <a:rPr lang="en-US" sz="800">
                    <a:solidFill>
                      <a:schemeClr val="bg1"/>
                    </a:solidFill>
                    <a:ea typeface="+mn-lt"/>
                    <a:cs typeface="+mn-lt"/>
                  </a:rPr>
                  <a:t>Approach</a:t>
                </a:r>
                <a:endParaRPr lang="en-US" sz="800">
                  <a:solidFill>
                    <a:schemeClr val="bg1"/>
                  </a:solidFill>
                </a:endParaRPr>
              </a:p>
            </p:txBody>
          </p:sp>
          <p:sp>
            <p:nvSpPr>
              <p:cNvPr id="37" name="Rectangle 36">
                <a:extLst>
                  <a:ext uri="{FF2B5EF4-FFF2-40B4-BE49-F238E27FC236}">
                    <a16:creationId xmlns:a16="http://schemas.microsoft.com/office/drawing/2014/main" id="{8BCBB331-C2B0-C85D-0001-B82F47BD578D}"/>
                  </a:ext>
                </a:extLst>
              </p:cNvPr>
              <p:cNvSpPr/>
              <p:nvPr/>
            </p:nvSpPr>
            <p:spPr>
              <a:xfrm>
                <a:off x="4163625" y="4665609"/>
                <a:ext cx="1203204" cy="394014"/>
              </a:xfrm>
              <a:prstGeom prst="rect">
                <a:avLst/>
              </a:prstGeom>
            </p:spPr>
            <p:txBody>
              <a:bodyPr wrap="square" lIns="91440" tIns="45720" rIns="91440" bIns="45720" anchor="t">
                <a:spAutoFit/>
              </a:bodyPr>
              <a:lstStyle/>
              <a:p>
                <a:pPr algn="ctr"/>
                <a:r>
                  <a:rPr lang="en-US" sz="800">
                    <a:solidFill>
                      <a:schemeClr val="bg1"/>
                    </a:solidFill>
                    <a:ea typeface="+mn-lt"/>
                    <a:cs typeface="+mn-lt"/>
                  </a:rPr>
                  <a:t>Solution</a:t>
                </a:r>
                <a:endParaRPr lang="en-US" sz="800">
                  <a:solidFill>
                    <a:schemeClr val="bg1"/>
                  </a:solidFill>
                  <a:cs typeface="Arial"/>
                </a:endParaRPr>
              </a:p>
            </p:txBody>
          </p:sp>
          <p:sp>
            <p:nvSpPr>
              <p:cNvPr id="38" name="Rectangle 37">
                <a:extLst>
                  <a:ext uri="{FF2B5EF4-FFF2-40B4-BE49-F238E27FC236}">
                    <a16:creationId xmlns:a16="http://schemas.microsoft.com/office/drawing/2014/main" id="{96C6F4A1-274E-D656-91C0-BD3BEC50B8A9}"/>
                  </a:ext>
                </a:extLst>
              </p:cNvPr>
              <p:cNvSpPr/>
              <p:nvPr/>
            </p:nvSpPr>
            <p:spPr>
              <a:xfrm>
                <a:off x="6842170" y="4665609"/>
                <a:ext cx="1203204" cy="394014"/>
              </a:xfrm>
              <a:prstGeom prst="rect">
                <a:avLst/>
              </a:prstGeom>
            </p:spPr>
            <p:txBody>
              <a:bodyPr wrap="square" lIns="91440" tIns="45720" rIns="91440" bIns="45720" anchor="t">
                <a:spAutoFit/>
              </a:bodyPr>
              <a:lstStyle/>
              <a:p>
                <a:pPr algn="ctr"/>
                <a:r>
                  <a:rPr lang="en-US" sz="800">
                    <a:solidFill>
                      <a:schemeClr val="bg1"/>
                    </a:solidFill>
                    <a:ea typeface="+mn-lt"/>
                    <a:cs typeface="+mn-lt"/>
                  </a:rPr>
                  <a:t>Benefits</a:t>
                </a:r>
                <a:endParaRPr lang="en-US" sz="800">
                  <a:solidFill>
                    <a:schemeClr val="bg1"/>
                  </a:solidFill>
                  <a:cs typeface="Arial"/>
                </a:endParaRPr>
              </a:p>
            </p:txBody>
          </p:sp>
        </p:grpSp>
        <p:pic>
          <p:nvPicPr>
            <p:cNvPr id="3" name="Picture 2">
              <a:extLst>
                <a:ext uri="{FF2B5EF4-FFF2-40B4-BE49-F238E27FC236}">
                  <a16:creationId xmlns:a16="http://schemas.microsoft.com/office/drawing/2014/main" id="{AEFF7D8C-92D6-D295-B6BC-4B439C8BE656}"/>
                </a:ext>
              </a:extLst>
            </p:cNvPr>
            <p:cNvPicPr>
              <a:picLocks noChangeAspect="1"/>
            </p:cNvPicPr>
            <p:nvPr/>
          </p:nvPicPr>
          <p:blipFill>
            <a:blip r:embed="rId10"/>
            <a:stretch>
              <a:fillRect/>
            </a:stretch>
          </p:blipFill>
          <p:spPr>
            <a:xfrm>
              <a:off x="5303623" y="3097247"/>
              <a:ext cx="1620486" cy="1620486"/>
            </a:xfrm>
            <a:prstGeom prst="rect">
              <a:avLst/>
            </a:prstGeom>
          </p:spPr>
        </p:pic>
      </p:grpSp>
      <p:cxnSp>
        <p:nvCxnSpPr>
          <p:cNvPr id="10" name="Straight Connector 9">
            <a:extLst>
              <a:ext uri="{FF2B5EF4-FFF2-40B4-BE49-F238E27FC236}">
                <a16:creationId xmlns:a16="http://schemas.microsoft.com/office/drawing/2014/main" id="{01E76F1F-250A-088D-7ACC-9178E1B02C22}"/>
              </a:ext>
              <a:ext uri="{C183D7F6-B498-43B3-948B-1728B52AA6E4}">
                <adec:decorative xmlns:adec="http://schemas.microsoft.com/office/drawing/2017/decorative" val="1"/>
              </a:ext>
            </a:extLst>
          </p:cNvPr>
          <p:cNvCxnSpPr>
            <a:cxnSpLocks/>
          </p:cNvCxnSpPr>
          <p:nvPr/>
        </p:nvCxnSpPr>
        <p:spPr>
          <a:xfrm>
            <a:off x="488191" y="1088493"/>
            <a:ext cx="10761492"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pic>
        <p:nvPicPr>
          <p:cNvPr id="16" name="Picture 15" descr="A screenshot of a computer&#10;&#10;Description automatically generated">
            <a:extLst>
              <a:ext uri="{FF2B5EF4-FFF2-40B4-BE49-F238E27FC236}">
                <a16:creationId xmlns:a16="http://schemas.microsoft.com/office/drawing/2014/main" id="{5E9633D3-2C8C-67AB-E020-7ADC0B81424B}"/>
              </a:ext>
            </a:extLst>
          </p:cNvPr>
          <p:cNvPicPr>
            <a:picLocks noChangeAspect="1"/>
          </p:cNvPicPr>
          <p:nvPr/>
        </p:nvPicPr>
        <p:blipFill>
          <a:blip r:embed="rId11"/>
          <a:stretch>
            <a:fillRect/>
          </a:stretch>
        </p:blipFill>
        <p:spPr>
          <a:xfrm>
            <a:off x="8023223" y="1172401"/>
            <a:ext cx="3856704" cy="1346184"/>
          </a:xfrm>
          <a:prstGeom prst="rect">
            <a:avLst/>
          </a:prstGeom>
        </p:spPr>
      </p:pic>
      <p:sp>
        <p:nvSpPr>
          <p:cNvPr id="21" name="TextBox 20">
            <a:extLst>
              <a:ext uri="{FF2B5EF4-FFF2-40B4-BE49-F238E27FC236}">
                <a16:creationId xmlns:a16="http://schemas.microsoft.com/office/drawing/2014/main" id="{197DC1E8-1894-F8CE-F83C-5E50A24F0C4E}"/>
              </a:ext>
            </a:extLst>
          </p:cNvPr>
          <p:cNvSpPr txBox="1"/>
          <p:nvPr/>
        </p:nvSpPr>
        <p:spPr>
          <a:xfrm>
            <a:off x="621755" y="2032342"/>
            <a:ext cx="1984995" cy="1092607"/>
          </a:xfrm>
          <a:prstGeom prst="rect">
            <a:avLst/>
          </a:prstGeom>
          <a:noFill/>
        </p:spPr>
        <p:txBody>
          <a:bodyPr wrap="square" lIns="91440" tIns="45720" rIns="91440" bIns="45720" anchor="t">
            <a:spAutoFit/>
          </a:bodyPr>
          <a:lstStyle/>
          <a:p>
            <a:pPr marL="171450" indent="-171450">
              <a:spcBef>
                <a:spcPts val="600"/>
              </a:spcBef>
              <a:buFont typeface="Arial"/>
              <a:buChar char="•"/>
            </a:pPr>
            <a:r>
              <a:rPr lang="en-US" sz="1200" b="1">
                <a:solidFill>
                  <a:schemeClr val="tx1">
                    <a:lumMod val="75000"/>
                    <a:lumOff val="25000"/>
                  </a:schemeClr>
                </a:solidFill>
                <a:ea typeface="+mn-lt"/>
                <a:cs typeface="+mn-lt"/>
              </a:rPr>
              <a:t>Root cause analysis</a:t>
            </a:r>
            <a:r>
              <a:rPr lang="en-US" sz="1200">
                <a:solidFill>
                  <a:schemeClr val="tx1">
                    <a:lumMod val="75000"/>
                    <a:lumOff val="25000"/>
                  </a:schemeClr>
                </a:solidFill>
                <a:ea typeface="+mn-lt"/>
                <a:cs typeface="+mn-lt"/>
              </a:rPr>
              <a:t> is manual</a:t>
            </a:r>
          </a:p>
          <a:p>
            <a:pPr marL="171450" indent="-171450">
              <a:spcBef>
                <a:spcPts val="600"/>
              </a:spcBef>
              <a:buFont typeface="Arial"/>
              <a:buChar char="•"/>
            </a:pPr>
            <a:r>
              <a:rPr lang="en-US" sz="1200">
                <a:solidFill>
                  <a:schemeClr val="tx1">
                    <a:lumMod val="75000"/>
                    <a:lumOff val="25000"/>
                  </a:schemeClr>
                </a:solidFill>
                <a:ea typeface="+mn-lt"/>
                <a:cs typeface="+mn-lt"/>
              </a:rPr>
              <a:t>slows down identifying the cause of system issues.</a:t>
            </a:r>
            <a:endParaRPr lang="en-US" sz="1200">
              <a:solidFill>
                <a:schemeClr val="tx1">
                  <a:lumMod val="75000"/>
                  <a:lumOff val="25000"/>
                </a:schemeClr>
              </a:solidFill>
              <a:latin typeface="Arial"/>
              <a:ea typeface="+mn-lt"/>
              <a:cs typeface="+mn-lt"/>
            </a:endParaRPr>
          </a:p>
        </p:txBody>
      </p:sp>
      <p:sp>
        <p:nvSpPr>
          <p:cNvPr id="25" name="Rectangle 24">
            <a:extLst>
              <a:ext uri="{FF2B5EF4-FFF2-40B4-BE49-F238E27FC236}">
                <a16:creationId xmlns:a16="http://schemas.microsoft.com/office/drawing/2014/main" id="{67C3F24A-BFB9-3745-D252-8CF4BAE7E30E}"/>
              </a:ext>
            </a:extLst>
          </p:cNvPr>
          <p:cNvSpPr/>
          <p:nvPr/>
        </p:nvSpPr>
        <p:spPr>
          <a:xfrm>
            <a:off x="5254256" y="1844965"/>
            <a:ext cx="2418023" cy="830997"/>
          </a:xfrm>
          <a:prstGeom prst="rect">
            <a:avLst/>
          </a:prstGeom>
        </p:spPr>
        <p:txBody>
          <a:bodyPr wrap="square" lIns="91440" tIns="45720" rIns="91440" bIns="45720" anchor="t">
            <a:spAutoFit/>
          </a:bodyPr>
          <a:lstStyle/>
          <a:p>
            <a:pPr marL="285750" indent="-285750">
              <a:spcBef>
                <a:spcPts val="600"/>
              </a:spcBef>
              <a:buFont typeface="Arial"/>
              <a:buChar char="•"/>
            </a:pPr>
            <a:r>
              <a:rPr lang="en-US" sz="1200" b="1">
                <a:solidFill>
                  <a:schemeClr val="tx1">
                    <a:lumMod val="75000"/>
                    <a:lumOff val="25000"/>
                  </a:schemeClr>
                </a:solidFill>
                <a:ea typeface="+mn-lt"/>
                <a:cs typeface="+mn-lt"/>
              </a:rPr>
              <a:t>Automatic Clustering</a:t>
            </a:r>
            <a:r>
              <a:rPr lang="en-US" sz="1200">
                <a:solidFill>
                  <a:schemeClr val="tx1">
                    <a:lumMod val="75000"/>
                    <a:lumOff val="25000"/>
                  </a:schemeClr>
                </a:solidFill>
                <a:ea typeface="+mn-lt"/>
                <a:cs typeface="+mn-lt"/>
              </a:rPr>
              <a:t> by using machine learning K means Clustering to group logs based on their context</a:t>
            </a:r>
            <a:endParaRPr lang="en-US" sz="1200">
              <a:solidFill>
                <a:schemeClr val="tx1">
                  <a:lumMod val="75000"/>
                  <a:lumOff val="25000"/>
                </a:schemeClr>
              </a:solidFill>
              <a:latin typeface="Arial"/>
              <a:ea typeface="+mn-lt"/>
              <a:cs typeface="+mn-lt"/>
            </a:endParaRPr>
          </a:p>
        </p:txBody>
      </p:sp>
      <p:pic>
        <p:nvPicPr>
          <p:cNvPr id="39" name="Picture 38" descr="A graph of data with orange and blue bars&#10;&#10;Description automatically generated">
            <a:extLst>
              <a:ext uri="{FF2B5EF4-FFF2-40B4-BE49-F238E27FC236}">
                <a16:creationId xmlns:a16="http://schemas.microsoft.com/office/drawing/2014/main" id="{7A19C577-F0B4-2A18-5EF3-80FF04BB8A17}"/>
              </a:ext>
            </a:extLst>
          </p:cNvPr>
          <p:cNvPicPr>
            <a:picLocks noChangeAspect="1"/>
          </p:cNvPicPr>
          <p:nvPr/>
        </p:nvPicPr>
        <p:blipFill>
          <a:blip r:embed="rId12"/>
          <a:stretch>
            <a:fillRect/>
          </a:stretch>
        </p:blipFill>
        <p:spPr>
          <a:xfrm>
            <a:off x="7931196" y="3614830"/>
            <a:ext cx="4027572" cy="2243891"/>
          </a:xfrm>
          <a:prstGeom prst="rect">
            <a:avLst/>
          </a:prstGeom>
        </p:spPr>
      </p:pic>
      <p:sp>
        <p:nvSpPr>
          <p:cNvPr id="126" name="Rectangle 125">
            <a:extLst>
              <a:ext uri="{FF2B5EF4-FFF2-40B4-BE49-F238E27FC236}">
                <a16:creationId xmlns:a16="http://schemas.microsoft.com/office/drawing/2014/main" id="{5A024B3E-8FE5-5143-D03A-9C32716AB71F}"/>
              </a:ext>
            </a:extLst>
          </p:cNvPr>
          <p:cNvSpPr/>
          <p:nvPr/>
        </p:nvSpPr>
        <p:spPr>
          <a:xfrm>
            <a:off x="617366" y="3929460"/>
            <a:ext cx="2436074" cy="2092881"/>
          </a:xfrm>
          <a:prstGeom prst="rect">
            <a:avLst/>
          </a:prstGeom>
        </p:spPr>
        <p:txBody>
          <a:bodyPr wrap="square" lIns="91440" tIns="45720" rIns="91440" bIns="45720" anchor="t">
            <a:spAutoFit/>
          </a:bodyPr>
          <a:lstStyle/>
          <a:p>
            <a:pPr>
              <a:spcBef>
                <a:spcPts val="600"/>
              </a:spcBef>
            </a:pPr>
            <a:r>
              <a:rPr lang="en-US" sz="1200" b="1">
                <a:solidFill>
                  <a:schemeClr val="tx1">
                    <a:lumMod val="75000"/>
                    <a:lumOff val="25000"/>
                  </a:schemeClr>
                </a:solidFill>
                <a:ea typeface="+mn-lt"/>
                <a:cs typeface="+mn-lt"/>
              </a:rPr>
              <a:t>Azure Cognitive Services, Azure ML &amp; Clustering Algorithms:</a:t>
            </a:r>
            <a:endParaRPr lang="en-US" b="1">
              <a:solidFill>
                <a:schemeClr val="tx1">
                  <a:lumMod val="75000"/>
                  <a:lumOff val="25000"/>
                </a:schemeClr>
              </a:solidFill>
            </a:endParaRPr>
          </a:p>
          <a:p>
            <a:pPr marL="285750" indent="-285750">
              <a:spcBef>
                <a:spcPts val="600"/>
              </a:spcBef>
              <a:buFont typeface="Arial"/>
              <a:buChar char="•"/>
            </a:pPr>
            <a:r>
              <a:rPr lang="en-US" sz="1200">
                <a:solidFill>
                  <a:schemeClr val="tx1">
                    <a:lumMod val="75000"/>
                    <a:lumOff val="25000"/>
                  </a:schemeClr>
                </a:solidFill>
                <a:latin typeface="Verdana Pro"/>
                <a:cs typeface="Arial"/>
              </a:rPr>
              <a:t>Implement Clustering Algorithm </a:t>
            </a:r>
            <a:endParaRPr lang="en-US">
              <a:solidFill>
                <a:schemeClr val="tx1">
                  <a:lumMod val="75000"/>
                  <a:lumOff val="25000"/>
                </a:schemeClr>
              </a:solidFill>
              <a:latin typeface="Arial"/>
              <a:cs typeface="Arial"/>
            </a:endParaRPr>
          </a:p>
          <a:p>
            <a:pPr marL="285750" indent="-285750">
              <a:spcBef>
                <a:spcPts val="600"/>
              </a:spcBef>
              <a:buFont typeface="Arial"/>
              <a:buChar char="•"/>
            </a:pPr>
            <a:r>
              <a:rPr lang="en-US" sz="1200">
                <a:solidFill>
                  <a:schemeClr val="tx1">
                    <a:lumMod val="75000"/>
                    <a:lumOff val="25000"/>
                  </a:schemeClr>
                </a:solidFill>
                <a:latin typeface="Verdana Pro"/>
                <a:cs typeface="Arial"/>
              </a:rPr>
              <a:t>Analyze the specific content of log messages and cluster </a:t>
            </a:r>
            <a:r>
              <a:rPr lang="en-US" sz="1200">
                <a:solidFill>
                  <a:schemeClr val="tx1">
                    <a:lumMod val="75000"/>
                    <a:lumOff val="25000"/>
                  </a:schemeClr>
                </a:solidFill>
                <a:ea typeface="+mn-lt"/>
                <a:cs typeface="+mn-lt"/>
              </a:rPr>
              <a:t>logs based on their context, enabling proactive issue identification.</a:t>
            </a:r>
          </a:p>
        </p:txBody>
      </p:sp>
      <p:sp>
        <p:nvSpPr>
          <p:cNvPr id="129" name="TextBox 128">
            <a:extLst>
              <a:ext uri="{FF2B5EF4-FFF2-40B4-BE49-F238E27FC236}">
                <a16:creationId xmlns:a16="http://schemas.microsoft.com/office/drawing/2014/main" id="{9CCCA3C6-04C4-2DC0-D493-05C119F4B0E7}"/>
              </a:ext>
            </a:extLst>
          </p:cNvPr>
          <p:cNvSpPr txBox="1"/>
          <p:nvPr/>
        </p:nvSpPr>
        <p:spPr>
          <a:xfrm>
            <a:off x="5671146" y="4112466"/>
            <a:ext cx="2006184" cy="147732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Sans-Serif"/>
              <a:buChar char="•"/>
            </a:pPr>
            <a:r>
              <a:rPr lang="en-US" sz="1200">
                <a:solidFill>
                  <a:srgbClr val="7F7F7F"/>
                </a:solidFill>
                <a:cs typeface="Arial"/>
              </a:rPr>
              <a:t>Accelerates root cause identification by clustering related logs automatically</a:t>
            </a:r>
            <a:r>
              <a:rPr lang="en-US" sz="1200">
                <a:cs typeface="Arial"/>
              </a:rPr>
              <a:t>​</a:t>
            </a:r>
          </a:p>
          <a:p>
            <a:pPr marL="285750" indent="-285750">
              <a:buFont typeface="Arial,Sans-Serif"/>
              <a:buChar char="•"/>
            </a:pPr>
            <a:r>
              <a:rPr lang="en-US" sz="1200">
                <a:solidFill>
                  <a:srgbClr val="7F7F7F"/>
                </a:solidFill>
                <a:cs typeface="Arial"/>
              </a:rPr>
              <a:t>Reduces manual investigation efforts, improving response times</a:t>
            </a:r>
            <a:r>
              <a:rPr lang="en-US" sz="1200">
                <a:cs typeface="Arial"/>
              </a:rPr>
              <a:t>​</a:t>
            </a:r>
          </a:p>
        </p:txBody>
      </p:sp>
    </p:spTree>
    <p:extLst>
      <p:ext uri="{BB962C8B-B14F-4D97-AF65-F5344CB8AC3E}">
        <p14:creationId xmlns:p14="http://schemas.microsoft.com/office/powerpoint/2010/main" val="21483872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8CDD38D-9F1D-49FB-9B35-1062FBACB790}"/>
              </a:ext>
            </a:extLst>
          </p:cNvPr>
          <p:cNvGrpSpPr/>
          <p:nvPr/>
        </p:nvGrpSpPr>
        <p:grpSpPr>
          <a:xfrm>
            <a:off x="3006427" y="2418369"/>
            <a:ext cx="2663970" cy="2733854"/>
            <a:chOff x="3607115" y="1429541"/>
            <a:chExt cx="5000102" cy="4999802"/>
          </a:xfrm>
        </p:grpSpPr>
        <p:grpSp>
          <p:nvGrpSpPr>
            <p:cNvPr id="41" name="Group 40">
              <a:extLst>
                <a:ext uri="{FF2B5EF4-FFF2-40B4-BE49-F238E27FC236}">
                  <a16:creationId xmlns:a16="http://schemas.microsoft.com/office/drawing/2014/main" id="{9D11F4F6-6B66-3F63-53B3-84CF50B5A9FB}"/>
                </a:ext>
              </a:extLst>
            </p:cNvPr>
            <p:cNvGrpSpPr/>
            <p:nvPr/>
          </p:nvGrpSpPr>
          <p:grpSpPr>
            <a:xfrm>
              <a:off x="3607115" y="1429541"/>
              <a:ext cx="5000102" cy="4999802"/>
              <a:chOff x="3595949" y="1098550"/>
              <a:chExt cx="5000102" cy="4999802"/>
            </a:xfrm>
          </p:grpSpPr>
          <p:sp>
            <p:nvSpPr>
              <p:cNvPr id="8" name="Freeform: Shape 7">
                <a:extLst>
                  <a:ext uri="{FF2B5EF4-FFF2-40B4-BE49-F238E27FC236}">
                    <a16:creationId xmlns:a16="http://schemas.microsoft.com/office/drawing/2014/main" id="{EB29871E-3662-CBAE-51A1-AFB023016423}"/>
                  </a:ext>
                </a:extLst>
              </p:cNvPr>
              <p:cNvSpPr/>
              <p:nvPr/>
            </p:nvSpPr>
            <p:spPr>
              <a:xfrm>
                <a:off x="3608427" y="1098550"/>
                <a:ext cx="1551232" cy="1516327"/>
              </a:xfrm>
              <a:custGeom>
                <a:avLst/>
                <a:gdLst>
                  <a:gd name="connsiteX0" fmla="*/ 299823 w 1724424"/>
                  <a:gd name="connsiteY0" fmla="*/ 1674902 h 1685623"/>
                  <a:gd name="connsiteX1" fmla="*/ 79785 w 1724424"/>
                  <a:gd name="connsiteY1" fmla="*/ 1579521 h 1685623"/>
                  <a:gd name="connsiteX2" fmla="*/ 10945 w 1724424"/>
                  <a:gd name="connsiteY2" fmla="*/ 1404985 h 1685623"/>
                  <a:gd name="connsiteX3" fmla="*/ 13681 w 1724424"/>
                  <a:gd name="connsiteY3" fmla="*/ 1399083 h 1685623"/>
                  <a:gd name="connsiteX4" fmla="*/ 1450403 w 1724424"/>
                  <a:gd name="connsiteY4" fmla="*/ 11362 h 1685623"/>
                  <a:gd name="connsiteX5" fmla="*/ 1625648 w 1724424"/>
                  <a:gd name="connsiteY5" fmla="*/ 78984 h 1685623"/>
                  <a:gd name="connsiteX6" fmla="*/ 1627605 w 1724424"/>
                  <a:gd name="connsiteY6" fmla="*/ 83630 h 1685623"/>
                  <a:gd name="connsiteX7" fmla="*/ 1715127 w 1724424"/>
                  <a:gd name="connsiteY7" fmla="*/ 306904 h 1685623"/>
                  <a:gd name="connsiteX8" fmla="*/ 1647020 w 1724424"/>
                  <a:gd name="connsiteY8" fmla="*/ 475631 h 1685623"/>
                  <a:gd name="connsiteX9" fmla="*/ 470091 w 1724424"/>
                  <a:gd name="connsiteY9" fmla="*/ 1612342 h 1685623"/>
                  <a:gd name="connsiteX10" fmla="*/ 299823 w 1724424"/>
                  <a:gd name="connsiteY10" fmla="*/ 1674902 h 1685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424" h="1685623">
                    <a:moveTo>
                      <a:pt x="299823" y="1674902"/>
                    </a:moveTo>
                    <a:lnTo>
                      <a:pt x="79785" y="1579521"/>
                    </a:lnTo>
                    <a:cubicBezTo>
                      <a:pt x="12577" y="1550337"/>
                      <a:pt x="-18244" y="1472183"/>
                      <a:pt x="10945" y="1404985"/>
                    </a:cubicBezTo>
                    <a:cubicBezTo>
                      <a:pt x="11808" y="1402997"/>
                      <a:pt x="12721" y="1401025"/>
                      <a:pt x="13681" y="1399083"/>
                    </a:cubicBezTo>
                    <a:cubicBezTo>
                      <a:pt x="317582" y="784193"/>
                      <a:pt x="825343" y="293752"/>
                      <a:pt x="1450403" y="11362"/>
                    </a:cubicBezTo>
                    <a:cubicBezTo>
                      <a:pt x="1517462" y="-18359"/>
                      <a:pt x="1595924" y="11918"/>
                      <a:pt x="1625648" y="78984"/>
                    </a:cubicBezTo>
                    <a:cubicBezTo>
                      <a:pt x="1626326" y="80520"/>
                      <a:pt x="1626989" y="82069"/>
                      <a:pt x="1627605" y="83630"/>
                    </a:cubicBezTo>
                    <a:lnTo>
                      <a:pt x="1715127" y="306904"/>
                    </a:lnTo>
                    <a:cubicBezTo>
                      <a:pt x="1740891" y="372308"/>
                      <a:pt x="1710967" y="446439"/>
                      <a:pt x="1647020" y="475631"/>
                    </a:cubicBezTo>
                    <a:cubicBezTo>
                      <a:pt x="1136324" y="708890"/>
                      <a:pt x="720947" y="1110060"/>
                      <a:pt x="470091" y="1612342"/>
                    </a:cubicBezTo>
                    <a:cubicBezTo>
                      <a:pt x="438847" y="1674979"/>
                      <a:pt x="364191" y="1702407"/>
                      <a:pt x="299823" y="1674902"/>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12" name="Freeform: Shape 11">
                <a:extLst>
                  <a:ext uri="{FF2B5EF4-FFF2-40B4-BE49-F238E27FC236}">
                    <a16:creationId xmlns:a16="http://schemas.microsoft.com/office/drawing/2014/main" id="{AC73601A-EE45-1ABB-6FA2-65F4ED869633}"/>
                  </a:ext>
                </a:extLst>
              </p:cNvPr>
              <p:cNvSpPr/>
              <p:nvPr/>
            </p:nvSpPr>
            <p:spPr>
              <a:xfrm>
                <a:off x="7078981" y="1110090"/>
                <a:ext cx="1517070" cy="1552187"/>
              </a:xfrm>
              <a:custGeom>
                <a:avLst/>
                <a:gdLst>
                  <a:gd name="connsiteX0" fmla="*/ 11097 w 1686448"/>
                  <a:gd name="connsiteY0" fmla="*/ 299776 h 1725486"/>
                  <a:gd name="connsiteX1" fmla="*/ 106478 w 1686448"/>
                  <a:gd name="connsiteY1" fmla="*/ 79738 h 1725486"/>
                  <a:gd name="connsiteX2" fmla="*/ 281307 w 1686448"/>
                  <a:gd name="connsiteY2" fmla="*/ 11031 h 1725486"/>
                  <a:gd name="connsiteX3" fmla="*/ 286916 w 1686448"/>
                  <a:gd name="connsiteY3" fmla="*/ 13634 h 1725486"/>
                  <a:gd name="connsiteX4" fmla="*/ 1674638 w 1686448"/>
                  <a:gd name="connsiteY4" fmla="*/ 1450356 h 1725486"/>
                  <a:gd name="connsiteX5" fmla="*/ 1608180 w 1686448"/>
                  <a:gd name="connsiteY5" fmla="*/ 1625816 h 1725486"/>
                  <a:gd name="connsiteX6" fmla="*/ 1602216 w 1686448"/>
                  <a:gd name="connsiteY6" fmla="*/ 1628328 h 1725486"/>
                  <a:gd name="connsiteX7" fmla="*/ 1378942 w 1686448"/>
                  <a:gd name="connsiteY7" fmla="*/ 1716004 h 1725486"/>
                  <a:gd name="connsiteX8" fmla="*/ 1209445 w 1686448"/>
                  <a:gd name="connsiteY8" fmla="*/ 1647743 h 1725486"/>
                  <a:gd name="connsiteX9" fmla="*/ 73349 w 1686448"/>
                  <a:gd name="connsiteY9" fmla="*/ 471431 h 1725486"/>
                  <a:gd name="connsiteX10" fmla="*/ 11097 w 1686448"/>
                  <a:gd name="connsiteY10" fmla="*/ 299776 h 172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6448" h="1725486">
                    <a:moveTo>
                      <a:pt x="11097" y="299776"/>
                    </a:moveTo>
                    <a:lnTo>
                      <a:pt x="106478" y="79738"/>
                    </a:lnTo>
                    <a:cubicBezTo>
                      <a:pt x="135786" y="12489"/>
                      <a:pt x="214047" y="-18273"/>
                      <a:pt x="281307" y="11031"/>
                    </a:cubicBezTo>
                    <a:cubicBezTo>
                      <a:pt x="283187" y="11856"/>
                      <a:pt x="285067" y="12723"/>
                      <a:pt x="286916" y="13634"/>
                    </a:cubicBezTo>
                    <a:cubicBezTo>
                      <a:pt x="901745" y="317620"/>
                      <a:pt x="1392163" y="825357"/>
                      <a:pt x="1674638" y="1450356"/>
                    </a:cubicBezTo>
                    <a:cubicBezTo>
                      <a:pt x="1704732" y="1517153"/>
                      <a:pt x="1674977" y="1595723"/>
                      <a:pt x="1608180" y="1625816"/>
                    </a:cubicBezTo>
                    <a:cubicBezTo>
                      <a:pt x="1606207" y="1626694"/>
                      <a:pt x="1604220" y="1627542"/>
                      <a:pt x="1602216" y="1628328"/>
                    </a:cubicBezTo>
                    <a:lnTo>
                      <a:pt x="1378942" y="1716004"/>
                    </a:lnTo>
                    <a:cubicBezTo>
                      <a:pt x="1313285" y="1742153"/>
                      <a:pt x="1238660" y="1712106"/>
                      <a:pt x="1209445" y="1647743"/>
                    </a:cubicBezTo>
                    <a:cubicBezTo>
                      <a:pt x="976154" y="1137433"/>
                      <a:pt x="575247" y="722318"/>
                      <a:pt x="73349" y="471431"/>
                    </a:cubicBezTo>
                    <a:cubicBezTo>
                      <a:pt x="10142" y="439975"/>
                      <a:pt x="-17255" y="364440"/>
                      <a:pt x="11097" y="299776"/>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17" name="Freeform: Shape 16">
                <a:extLst>
                  <a:ext uri="{FF2B5EF4-FFF2-40B4-BE49-F238E27FC236}">
                    <a16:creationId xmlns:a16="http://schemas.microsoft.com/office/drawing/2014/main" id="{D5AA95E7-06BD-4054-3AC8-79C509F055CA}"/>
                  </a:ext>
                </a:extLst>
              </p:cNvPr>
              <p:cNvSpPr/>
              <p:nvPr/>
            </p:nvSpPr>
            <p:spPr>
              <a:xfrm>
                <a:off x="7032350" y="4581800"/>
                <a:ext cx="1551915" cy="1516552"/>
              </a:xfrm>
              <a:custGeom>
                <a:avLst/>
                <a:gdLst>
                  <a:gd name="connsiteX0" fmla="*/ 1425233 w 1725184"/>
                  <a:gd name="connsiteY0" fmla="*/ 10687 h 1685873"/>
                  <a:gd name="connsiteX1" fmla="*/ 1645271 w 1725184"/>
                  <a:gd name="connsiteY1" fmla="*/ 106068 h 1685873"/>
                  <a:gd name="connsiteX2" fmla="*/ 1714149 w 1725184"/>
                  <a:gd name="connsiteY2" fmla="*/ 280358 h 1685873"/>
                  <a:gd name="connsiteX3" fmla="*/ 1711375 w 1725184"/>
                  <a:gd name="connsiteY3" fmla="*/ 286352 h 1685873"/>
                  <a:gd name="connsiteX4" fmla="*/ 274653 w 1725184"/>
                  <a:gd name="connsiteY4" fmla="*/ 1674073 h 1685873"/>
                  <a:gd name="connsiteX5" fmla="*/ 99192 w 1725184"/>
                  <a:gd name="connsiteY5" fmla="*/ 1607614 h 1685873"/>
                  <a:gd name="connsiteX6" fmla="*/ 96680 w 1725184"/>
                  <a:gd name="connsiteY6" fmla="*/ 1601651 h 1685873"/>
                  <a:gd name="connsiteX7" fmla="*/ 9158 w 1725184"/>
                  <a:gd name="connsiteY7" fmla="*/ 1378377 h 1685873"/>
                  <a:gd name="connsiteX8" fmla="*/ 77265 w 1725184"/>
                  <a:gd name="connsiteY8" fmla="*/ 1209650 h 1685873"/>
                  <a:gd name="connsiteX9" fmla="*/ 1254965 w 1725184"/>
                  <a:gd name="connsiteY9" fmla="*/ 72785 h 1685873"/>
                  <a:gd name="connsiteX10" fmla="*/ 1425233 w 1725184"/>
                  <a:gd name="connsiteY10" fmla="*/ 10687 h 168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5184" h="1685873">
                    <a:moveTo>
                      <a:pt x="1425233" y="10687"/>
                    </a:moveTo>
                    <a:lnTo>
                      <a:pt x="1645271" y="106068"/>
                    </a:lnTo>
                    <a:cubicBezTo>
                      <a:pt x="1712423" y="135175"/>
                      <a:pt x="1743256" y="213206"/>
                      <a:pt x="1714149" y="280358"/>
                    </a:cubicBezTo>
                    <a:cubicBezTo>
                      <a:pt x="1713271" y="282376"/>
                      <a:pt x="1712346" y="284379"/>
                      <a:pt x="1711375" y="286352"/>
                    </a:cubicBezTo>
                    <a:cubicBezTo>
                      <a:pt x="1407512" y="901273"/>
                      <a:pt x="899744" y="1391721"/>
                      <a:pt x="274653" y="1674073"/>
                    </a:cubicBezTo>
                    <a:cubicBezTo>
                      <a:pt x="207856" y="1704167"/>
                      <a:pt x="129286" y="1674412"/>
                      <a:pt x="99192" y="1607614"/>
                    </a:cubicBezTo>
                    <a:cubicBezTo>
                      <a:pt x="98314" y="1605642"/>
                      <a:pt x="97466" y="1603654"/>
                      <a:pt x="96680" y="1601651"/>
                    </a:cubicBezTo>
                    <a:lnTo>
                      <a:pt x="9158" y="1378377"/>
                    </a:lnTo>
                    <a:cubicBezTo>
                      <a:pt x="-16606" y="1312967"/>
                      <a:pt x="13319" y="1238835"/>
                      <a:pt x="77265" y="1209650"/>
                    </a:cubicBezTo>
                    <a:cubicBezTo>
                      <a:pt x="588254" y="976483"/>
                      <a:pt x="1003924" y="575237"/>
                      <a:pt x="1254965" y="72785"/>
                    </a:cubicBezTo>
                    <a:cubicBezTo>
                      <a:pt x="1286368" y="10317"/>
                      <a:pt x="1360978" y="-16895"/>
                      <a:pt x="1425233" y="10687"/>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22" name="Freeform: Shape 21">
                <a:extLst>
                  <a:ext uri="{FF2B5EF4-FFF2-40B4-BE49-F238E27FC236}">
                    <a16:creationId xmlns:a16="http://schemas.microsoft.com/office/drawing/2014/main" id="{6B2B4B0E-7ED8-94DE-A08B-2AA84B585F31}"/>
                  </a:ext>
                </a:extLst>
              </p:cNvPr>
              <p:cNvSpPr/>
              <p:nvPr/>
            </p:nvSpPr>
            <p:spPr>
              <a:xfrm>
                <a:off x="3595949" y="4534436"/>
                <a:ext cx="1517201" cy="1552761"/>
              </a:xfrm>
              <a:custGeom>
                <a:avLst/>
                <a:gdLst>
                  <a:gd name="connsiteX0" fmla="*/ 1675222 w 1686594"/>
                  <a:gd name="connsiteY0" fmla="*/ 1426098 h 1726124"/>
                  <a:gd name="connsiteX1" fmla="*/ 1579841 w 1686594"/>
                  <a:gd name="connsiteY1" fmla="*/ 1646137 h 1726124"/>
                  <a:gd name="connsiteX2" fmla="*/ 1405089 w 1686594"/>
                  <a:gd name="connsiteY2" fmla="*/ 1715030 h 1726124"/>
                  <a:gd name="connsiteX3" fmla="*/ 1399403 w 1686594"/>
                  <a:gd name="connsiteY3" fmla="*/ 1712395 h 1726124"/>
                  <a:gd name="connsiteX4" fmla="*/ 11680 w 1686594"/>
                  <a:gd name="connsiteY4" fmla="*/ 275057 h 1726124"/>
                  <a:gd name="connsiteX5" fmla="*/ 78242 w 1686594"/>
                  <a:gd name="connsiteY5" fmla="*/ 99396 h 1726124"/>
                  <a:gd name="connsiteX6" fmla="*/ 84102 w 1686594"/>
                  <a:gd name="connsiteY6" fmla="*/ 96930 h 1726124"/>
                  <a:gd name="connsiteX7" fmla="*/ 307377 w 1686594"/>
                  <a:gd name="connsiteY7" fmla="*/ 9408 h 1726124"/>
                  <a:gd name="connsiteX8" fmla="*/ 476874 w 1686594"/>
                  <a:gd name="connsiteY8" fmla="*/ 77669 h 1726124"/>
                  <a:gd name="connsiteX9" fmla="*/ 1613740 w 1686594"/>
                  <a:gd name="connsiteY9" fmla="*/ 1254443 h 1726124"/>
                  <a:gd name="connsiteX10" fmla="*/ 1675222 w 1686594"/>
                  <a:gd name="connsiteY10" fmla="*/ 1426098 h 172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6594" h="1726124">
                    <a:moveTo>
                      <a:pt x="1675222" y="1426098"/>
                    </a:moveTo>
                    <a:lnTo>
                      <a:pt x="1579841" y="1646137"/>
                    </a:lnTo>
                    <a:cubicBezTo>
                      <a:pt x="1550610" y="1713412"/>
                      <a:pt x="1472364" y="1744260"/>
                      <a:pt x="1405089" y="1715030"/>
                    </a:cubicBezTo>
                    <a:cubicBezTo>
                      <a:pt x="1403178" y="1714198"/>
                      <a:pt x="1401283" y="1713320"/>
                      <a:pt x="1399403" y="1712395"/>
                    </a:cubicBezTo>
                    <a:cubicBezTo>
                      <a:pt x="784481" y="1408255"/>
                      <a:pt x="294040" y="900287"/>
                      <a:pt x="11680" y="275057"/>
                    </a:cubicBezTo>
                    <a:cubicBezTo>
                      <a:pt x="-18445" y="208167"/>
                      <a:pt x="11355" y="129536"/>
                      <a:pt x="78242" y="99396"/>
                    </a:cubicBezTo>
                    <a:cubicBezTo>
                      <a:pt x="80174" y="98533"/>
                      <a:pt x="82130" y="97701"/>
                      <a:pt x="84102" y="96930"/>
                    </a:cubicBezTo>
                    <a:lnTo>
                      <a:pt x="307377" y="9408"/>
                    </a:lnTo>
                    <a:cubicBezTo>
                      <a:pt x="373038" y="-16833"/>
                      <a:pt x="447720" y="13245"/>
                      <a:pt x="476874" y="77669"/>
                    </a:cubicBezTo>
                    <a:cubicBezTo>
                      <a:pt x="710195" y="588335"/>
                      <a:pt x="1111426" y="1003649"/>
                      <a:pt x="1613740" y="1254443"/>
                    </a:cubicBezTo>
                    <a:cubicBezTo>
                      <a:pt x="1676655" y="1286171"/>
                      <a:pt x="1703682" y="1361643"/>
                      <a:pt x="1675222" y="1426098"/>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7" name="Freeform: Shape 6">
                <a:extLst>
                  <a:ext uri="{FF2B5EF4-FFF2-40B4-BE49-F238E27FC236}">
                    <a16:creationId xmlns:a16="http://schemas.microsoft.com/office/drawing/2014/main" id="{6A9F9DAB-59A5-F306-2D16-26F151E17422}"/>
                  </a:ext>
                </a:extLst>
              </p:cNvPr>
              <p:cNvSpPr/>
              <p:nvPr/>
            </p:nvSpPr>
            <p:spPr>
              <a:xfrm>
                <a:off x="3761488" y="1279139"/>
                <a:ext cx="2583957" cy="2231982"/>
              </a:xfrm>
              <a:custGeom>
                <a:avLst/>
                <a:gdLst>
                  <a:gd name="connsiteX0" fmla="*/ 1144809 w 2872452"/>
                  <a:gd name="connsiteY0" fmla="*/ 2474493 h 2481179"/>
                  <a:gd name="connsiteX1" fmla="*/ 2368427 w 2872452"/>
                  <a:gd name="connsiteY1" fmla="*/ 1141781 h 2481179"/>
                  <a:gd name="connsiteX2" fmla="*/ 2698639 w 2872452"/>
                  <a:gd name="connsiteY2" fmla="*/ 963963 h 2481179"/>
                  <a:gd name="connsiteX3" fmla="*/ 2729457 w 2872452"/>
                  <a:gd name="connsiteY3" fmla="*/ 928831 h 2481179"/>
                  <a:gd name="connsiteX4" fmla="*/ 2722369 w 2872452"/>
                  <a:gd name="connsiteY4" fmla="*/ 176570 h 2481179"/>
                  <a:gd name="connsiteX5" fmla="*/ 2722369 w 2872452"/>
                  <a:gd name="connsiteY5" fmla="*/ 176570 h 2481179"/>
                  <a:gd name="connsiteX6" fmla="*/ 2244694 w 2872452"/>
                  <a:gd name="connsiteY6" fmla="*/ 4608 h 2481179"/>
                  <a:gd name="connsiteX7" fmla="*/ -70 w 2872452"/>
                  <a:gd name="connsiteY7" fmla="*/ 2481119 h 2481179"/>
                  <a:gd name="connsiteX8" fmla="*/ -70 w 2872452"/>
                  <a:gd name="connsiteY8" fmla="*/ 2481119 h 2481179"/>
                  <a:gd name="connsiteX9" fmla="*/ 1140186 w 2872452"/>
                  <a:gd name="connsiteY9" fmla="*/ 2470178 h 248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2452" h="2481179">
                    <a:moveTo>
                      <a:pt x="1144809" y="2474493"/>
                    </a:moveTo>
                    <a:cubicBezTo>
                      <a:pt x="1194009" y="1800140"/>
                      <a:pt x="1700715" y="1248256"/>
                      <a:pt x="2368427" y="1141781"/>
                    </a:cubicBezTo>
                    <a:cubicBezTo>
                      <a:pt x="2495643" y="1122181"/>
                      <a:pt x="2612242" y="1059390"/>
                      <a:pt x="2698639" y="963963"/>
                    </a:cubicBezTo>
                    <a:lnTo>
                      <a:pt x="2729457" y="928831"/>
                    </a:lnTo>
                    <a:cubicBezTo>
                      <a:pt x="2922715" y="714247"/>
                      <a:pt x="2919633" y="387470"/>
                      <a:pt x="2722369" y="176570"/>
                    </a:cubicBezTo>
                    <a:lnTo>
                      <a:pt x="2722369" y="176570"/>
                    </a:lnTo>
                    <a:cubicBezTo>
                      <a:pt x="2600253" y="45475"/>
                      <a:pt x="2422343" y="-18572"/>
                      <a:pt x="2244694" y="4608"/>
                    </a:cubicBezTo>
                    <a:cubicBezTo>
                      <a:pt x="1006900" y="172102"/>
                      <a:pt x="46619" y="1214357"/>
                      <a:pt x="-70" y="2481119"/>
                    </a:cubicBezTo>
                    <a:lnTo>
                      <a:pt x="-70" y="2481119"/>
                    </a:lnTo>
                    <a:cubicBezTo>
                      <a:pt x="300557" y="2101599"/>
                      <a:pt x="837710" y="2115158"/>
                      <a:pt x="1140186" y="2470178"/>
                    </a:cubicBezTo>
                    <a:close/>
                  </a:path>
                </a:pathLst>
              </a:custGeom>
              <a:solidFill>
                <a:srgbClr val="FA854B"/>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9" name="Freeform: Shape 8">
                <a:extLst>
                  <a:ext uri="{FF2B5EF4-FFF2-40B4-BE49-F238E27FC236}">
                    <a16:creationId xmlns:a16="http://schemas.microsoft.com/office/drawing/2014/main" id="{A3D8E584-1B16-0ADA-9410-3BD6EAFF61FB}"/>
                  </a:ext>
                </a:extLst>
              </p:cNvPr>
              <p:cNvSpPr/>
              <p:nvPr/>
            </p:nvSpPr>
            <p:spPr>
              <a:xfrm>
                <a:off x="5413337" y="1377318"/>
                <a:ext cx="812270" cy="812269"/>
              </a:xfrm>
              <a:custGeom>
                <a:avLst/>
                <a:gdLst>
                  <a:gd name="connsiteX0" fmla="*/ 902960 w 902959"/>
                  <a:gd name="connsiteY0" fmla="*/ 451479 h 902958"/>
                  <a:gd name="connsiteX1" fmla="*/ 451480 w 902959"/>
                  <a:gd name="connsiteY1" fmla="*/ 902959 h 902958"/>
                  <a:gd name="connsiteX2" fmla="*/ 0 w 902959"/>
                  <a:gd name="connsiteY2" fmla="*/ 451479 h 902958"/>
                  <a:gd name="connsiteX3" fmla="*/ 451480 w 902959"/>
                  <a:gd name="connsiteY3" fmla="*/ 0 h 902958"/>
                  <a:gd name="connsiteX4" fmla="*/ 902960 w 902959"/>
                  <a:gd name="connsiteY4" fmla="*/ 451479 h 90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8">
                    <a:moveTo>
                      <a:pt x="902960" y="451479"/>
                    </a:moveTo>
                    <a:cubicBezTo>
                      <a:pt x="902960" y="700825"/>
                      <a:pt x="700825" y="902959"/>
                      <a:pt x="451480" y="902959"/>
                    </a:cubicBezTo>
                    <a:cubicBezTo>
                      <a:pt x="202134" y="902959"/>
                      <a:pt x="0" y="700825"/>
                      <a:pt x="0" y="451479"/>
                    </a:cubicBezTo>
                    <a:cubicBezTo>
                      <a:pt x="0" y="202134"/>
                      <a:pt x="202134" y="0"/>
                      <a:pt x="451480" y="0"/>
                    </a:cubicBezTo>
                    <a:cubicBezTo>
                      <a:pt x="700825" y="0"/>
                      <a:pt x="902960" y="202134"/>
                      <a:pt x="902960" y="451479"/>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1" name="Freeform: Shape 10">
                <a:extLst>
                  <a:ext uri="{FF2B5EF4-FFF2-40B4-BE49-F238E27FC236}">
                    <a16:creationId xmlns:a16="http://schemas.microsoft.com/office/drawing/2014/main" id="{2067C609-27B8-3708-38DD-7CF591A7016F}"/>
                  </a:ext>
                </a:extLst>
              </p:cNvPr>
              <p:cNvSpPr/>
              <p:nvPr/>
            </p:nvSpPr>
            <p:spPr>
              <a:xfrm>
                <a:off x="6183330" y="1263794"/>
                <a:ext cx="2231861" cy="2584636"/>
              </a:xfrm>
              <a:custGeom>
                <a:avLst/>
                <a:gdLst>
                  <a:gd name="connsiteX0" fmla="*/ 6402 w 2481044"/>
                  <a:gd name="connsiteY0" fmla="*/ 1144817 h 2873206"/>
                  <a:gd name="connsiteX1" fmla="*/ 1339115 w 2481044"/>
                  <a:gd name="connsiteY1" fmla="*/ 2368434 h 2873206"/>
                  <a:gd name="connsiteX2" fmla="*/ 1516933 w 2481044"/>
                  <a:gd name="connsiteY2" fmla="*/ 2698800 h 2873206"/>
                  <a:gd name="connsiteX3" fmla="*/ 1552065 w 2481044"/>
                  <a:gd name="connsiteY3" fmla="*/ 2730388 h 2873206"/>
                  <a:gd name="connsiteX4" fmla="*/ 2304480 w 2481044"/>
                  <a:gd name="connsiteY4" fmla="*/ 2723146 h 2873206"/>
                  <a:gd name="connsiteX5" fmla="*/ 2304480 w 2481044"/>
                  <a:gd name="connsiteY5" fmla="*/ 2723146 h 2873206"/>
                  <a:gd name="connsiteX6" fmla="*/ 2476289 w 2481044"/>
                  <a:gd name="connsiteY6" fmla="*/ 2245472 h 2873206"/>
                  <a:gd name="connsiteX7" fmla="*/ -70 w 2481044"/>
                  <a:gd name="connsiteY7" fmla="*/ -61 h 2873206"/>
                  <a:gd name="connsiteX8" fmla="*/ -70 w 2481044"/>
                  <a:gd name="connsiteY8" fmla="*/ -61 h 2873206"/>
                  <a:gd name="connsiteX9" fmla="*/ 10871 w 2481044"/>
                  <a:gd name="connsiteY9" fmla="*/ 1140195 h 287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1044" h="2873206">
                    <a:moveTo>
                      <a:pt x="6402" y="1144817"/>
                    </a:moveTo>
                    <a:cubicBezTo>
                      <a:pt x="680787" y="1193972"/>
                      <a:pt x="1232686" y="1700692"/>
                      <a:pt x="1339115" y="2368434"/>
                    </a:cubicBezTo>
                    <a:cubicBezTo>
                      <a:pt x="1358761" y="2495681"/>
                      <a:pt x="1421537" y="2612326"/>
                      <a:pt x="1516933" y="2698800"/>
                    </a:cubicBezTo>
                    <a:lnTo>
                      <a:pt x="1552065" y="2730388"/>
                    </a:lnTo>
                    <a:cubicBezTo>
                      <a:pt x="1766788" y="2923477"/>
                      <a:pt x="2093518" y="2920333"/>
                      <a:pt x="2304480" y="2723146"/>
                    </a:cubicBezTo>
                    <a:lnTo>
                      <a:pt x="2304480" y="2723146"/>
                    </a:lnTo>
                    <a:cubicBezTo>
                      <a:pt x="2435518" y="2601000"/>
                      <a:pt x="2499510" y="2423105"/>
                      <a:pt x="2476289" y="2245472"/>
                    </a:cubicBezTo>
                    <a:cubicBezTo>
                      <a:pt x="2308949" y="1007062"/>
                      <a:pt x="1266539" y="46628"/>
                      <a:pt x="-70" y="-61"/>
                    </a:cubicBezTo>
                    <a:lnTo>
                      <a:pt x="-70" y="-61"/>
                    </a:lnTo>
                    <a:cubicBezTo>
                      <a:pt x="323517" y="217050"/>
                      <a:pt x="429530" y="827395"/>
                      <a:pt x="10871" y="1140195"/>
                    </a:cubicBezTo>
                    <a:close/>
                  </a:path>
                </a:pathLst>
              </a:custGeom>
              <a:solidFill>
                <a:schemeClr val="accent6"/>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3" name="Freeform: Shape 12">
                <a:extLst>
                  <a:ext uri="{FF2B5EF4-FFF2-40B4-BE49-F238E27FC236}">
                    <a16:creationId xmlns:a16="http://schemas.microsoft.com/office/drawing/2014/main" id="{9F023184-E144-129C-4B79-9E46444BF337}"/>
                  </a:ext>
                </a:extLst>
              </p:cNvPr>
              <p:cNvSpPr/>
              <p:nvPr/>
            </p:nvSpPr>
            <p:spPr>
              <a:xfrm>
                <a:off x="7504726" y="2915641"/>
                <a:ext cx="812270" cy="812269"/>
              </a:xfrm>
              <a:custGeom>
                <a:avLst/>
                <a:gdLst>
                  <a:gd name="connsiteX0" fmla="*/ 902959 w 902959"/>
                  <a:gd name="connsiteY0" fmla="*/ 451479 h 902958"/>
                  <a:gd name="connsiteX1" fmla="*/ 451480 w 902959"/>
                  <a:gd name="connsiteY1" fmla="*/ 902959 h 902958"/>
                  <a:gd name="connsiteX2" fmla="*/ 0 w 902959"/>
                  <a:gd name="connsiteY2" fmla="*/ 451479 h 902958"/>
                  <a:gd name="connsiteX3" fmla="*/ 451480 w 902959"/>
                  <a:gd name="connsiteY3" fmla="*/ 0 h 902958"/>
                  <a:gd name="connsiteX4" fmla="*/ 902959 w 902959"/>
                  <a:gd name="connsiteY4" fmla="*/ 451479 h 90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8">
                    <a:moveTo>
                      <a:pt x="902959" y="451479"/>
                    </a:moveTo>
                    <a:cubicBezTo>
                      <a:pt x="902959" y="700825"/>
                      <a:pt x="700825" y="902959"/>
                      <a:pt x="451480" y="902959"/>
                    </a:cubicBezTo>
                    <a:cubicBezTo>
                      <a:pt x="202134" y="902959"/>
                      <a:pt x="0" y="700825"/>
                      <a:pt x="0" y="451479"/>
                    </a:cubicBezTo>
                    <a:cubicBezTo>
                      <a:pt x="0" y="202134"/>
                      <a:pt x="202134" y="0"/>
                      <a:pt x="451480" y="0"/>
                    </a:cubicBezTo>
                    <a:cubicBezTo>
                      <a:pt x="700825" y="0"/>
                      <a:pt x="902959" y="202134"/>
                      <a:pt x="902959" y="451479"/>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5" name="Freeform: Shape 14">
                <a:extLst>
                  <a:ext uri="{FF2B5EF4-FFF2-40B4-BE49-F238E27FC236}">
                    <a16:creationId xmlns:a16="http://schemas.microsoft.com/office/drawing/2014/main" id="{9E1228EF-BDF1-708E-3F21-045211BE91F2}"/>
                  </a:ext>
                </a:extLst>
              </p:cNvPr>
              <p:cNvSpPr/>
              <p:nvPr/>
            </p:nvSpPr>
            <p:spPr>
              <a:xfrm>
                <a:off x="5845893" y="3686327"/>
                <a:ext cx="2584489" cy="2231916"/>
              </a:xfrm>
              <a:custGeom>
                <a:avLst/>
                <a:gdLst>
                  <a:gd name="connsiteX0" fmla="*/ 1728249 w 2873043"/>
                  <a:gd name="connsiteY0" fmla="*/ 5795 h 2481106"/>
                  <a:gd name="connsiteX1" fmla="*/ 504631 w 2873043"/>
                  <a:gd name="connsiteY1" fmla="*/ 1338353 h 2481106"/>
                  <a:gd name="connsiteX2" fmla="*/ 174419 w 2873043"/>
                  <a:gd name="connsiteY2" fmla="*/ 1516325 h 2481106"/>
                  <a:gd name="connsiteX3" fmla="*/ 142677 w 2873043"/>
                  <a:gd name="connsiteY3" fmla="*/ 1552227 h 2481106"/>
                  <a:gd name="connsiteX4" fmla="*/ 149919 w 2873043"/>
                  <a:gd name="connsiteY4" fmla="*/ 2304488 h 2481106"/>
                  <a:gd name="connsiteX5" fmla="*/ 149919 w 2873043"/>
                  <a:gd name="connsiteY5" fmla="*/ 2304488 h 2481106"/>
                  <a:gd name="connsiteX6" fmla="*/ 627594 w 2873043"/>
                  <a:gd name="connsiteY6" fmla="*/ 2476296 h 2481106"/>
                  <a:gd name="connsiteX7" fmla="*/ 2872974 w 2873043"/>
                  <a:gd name="connsiteY7" fmla="*/ -61 h 2481106"/>
                  <a:gd name="connsiteX8" fmla="*/ 2872974 w 2873043"/>
                  <a:gd name="connsiteY8" fmla="*/ -61 h 2481106"/>
                  <a:gd name="connsiteX9" fmla="*/ 1732718 w 2873043"/>
                  <a:gd name="connsiteY9" fmla="*/ 10880 h 2481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3043" h="2481106">
                    <a:moveTo>
                      <a:pt x="1728249" y="5795"/>
                    </a:moveTo>
                    <a:cubicBezTo>
                      <a:pt x="1679095" y="680133"/>
                      <a:pt x="1172344" y="1232000"/>
                      <a:pt x="504631" y="1338353"/>
                    </a:cubicBezTo>
                    <a:cubicBezTo>
                      <a:pt x="377369" y="1357953"/>
                      <a:pt x="260755" y="1420805"/>
                      <a:pt x="174419" y="1516325"/>
                    </a:cubicBezTo>
                    <a:lnTo>
                      <a:pt x="142677" y="1552227"/>
                    </a:lnTo>
                    <a:cubicBezTo>
                      <a:pt x="-50396" y="1766904"/>
                      <a:pt x="-47253" y="2093571"/>
                      <a:pt x="149919" y="2304488"/>
                    </a:cubicBezTo>
                    <a:lnTo>
                      <a:pt x="149919" y="2304488"/>
                    </a:lnTo>
                    <a:cubicBezTo>
                      <a:pt x="271957" y="2435679"/>
                      <a:pt x="449945" y="2499703"/>
                      <a:pt x="627594" y="2476296"/>
                    </a:cubicBezTo>
                    <a:cubicBezTo>
                      <a:pt x="1866004" y="2308956"/>
                      <a:pt x="2826285" y="1266701"/>
                      <a:pt x="2872974" y="-61"/>
                    </a:cubicBezTo>
                    <a:lnTo>
                      <a:pt x="2872974" y="-61"/>
                    </a:lnTo>
                    <a:cubicBezTo>
                      <a:pt x="2600237" y="411048"/>
                      <a:pt x="2006225" y="383928"/>
                      <a:pt x="1732718" y="10880"/>
                    </a:cubicBezTo>
                    <a:close/>
                  </a:path>
                </a:pathLst>
              </a:custGeom>
              <a:solidFill>
                <a:srgbClr val="F7C84F"/>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8" name="Freeform: Shape 17">
                <a:extLst>
                  <a:ext uri="{FF2B5EF4-FFF2-40B4-BE49-F238E27FC236}">
                    <a16:creationId xmlns:a16="http://schemas.microsoft.com/office/drawing/2014/main" id="{9D885BBD-147B-F963-EB91-710A7E55B0BB}"/>
                  </a:ext>
                </a:extLst>
              </p:cNvPr>
              <p:cNvSpPr/>
              <p:nvPr/>
            </p:nvSpPr>
            <p:spPr>
              <a:xfrm>
                <a:off x="5966401" y="5007029"/>
                <a:ext cx="812270" cy="812269"/>
              </a:xfrm>
              <a:custGeom>
                <a:avLst/>
                <a:gdLst>
                  <a:gd name="connsiteX0" fmla="*/ 902959 w 902959"/>
                  <a:gd name="connsiteY0" fmla="*/ 451480 h 902958"/>
                  <a:gd name="connsiteX1" fmla="*/ 451480 w 902959"/>
                  <a:gd name="connsiteY1" fmla="*/ 902959 h 902958"/>
                  <a:gd name="connsiteX2" fmla="*/ 0 w 902959"/>
                  <a:gd name="connsiteY2" fmla="*/ 451480 h 902958"/>
                  <a:gd name="connsiteX3" fmla="*/ 451480 w 902959"/>
                  <a:gd name="connsiteY3" fmla="*/ 0 h 902958"/>
                  <a:gd name="connsiteX4" fmla="*/ 902959 w 902959"/>
                  <a:gd name="connsiteY4" fmla="*/ 451480 h 90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8">
                    <a:moveTo>
                      <a:pt x="902959" y="451480"/>
                    </a:moveTo>
                    <a:cubicBezTo>
                      <a:pt x="902959" y="700825"/>
                      <a:pt x="700825" y="902959"/>
                      <a:pt x="451480" y="902959"/>
                    </a:cubicBezTo>
                    <a:cubicBezTo>
                      <a:pt x="202134" y="902959"/>
                      <a:pt x="0" y="700825"/>
                      <a:pt x="0" y="451480"/>
                    </a:cubicBezTo>
                    <a:cubicBezTo>
                      <a:pt x="0" y="202134"/>
                      <a:pt x="202134" y="0"/>
                      <a:pt x="451480" y="0"/>
                    </a:cubicBezTo>
                    <a:cubicBezTo>
                      <a:pt x="700825" y="0"/>
                      <a:pt x="902959" y="202134"/>
                      <a:pt x="902959" y="451480"/>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20" name="Freeform: Shape 19">
                <a:extLst>
                  <a:ext uri="{FF2B5EF4-FFF2-40B4-BE49-F238E27FC236}">
                    <a16:creationId xmlns:a16="http://schemas.microsoft.com/office/drawing/2014/main" id="{97A26069-93A6-E07F-25FE-8893DAF1B0AF}"/>
                  </a:ext>
                </a:extLst>
              </p:cNvPr>
              <p:cNvSpPr/>
              <p:nvPr/>
            </p:nvSpPr>
            <p:spPr>
              <a:xfrm>
                <a:off x="3777177" y="3348273"/>
                <a:ext cx="2231501" cy="2584549"/>
              </a:xfrm>
              <a:custGeom>
                <a:avLst/>
                <a:gdLst>
                  <a:gd name="connsiteX0" fmla="*/ 2474103 w 2480644"/>
                  <a:gd name="connsiteY0" fmla="*/ 1727710 h 2873110"/>
                  <a:gd name="connsiteX1" fmla="*/ 1141390 w 2480644"/>
                  <a:gd name="connsiteY1" fmla="*/ 504247 h 2873110"/>
                  <a:gd name="connsiteX2" fmla="*/ 963572 w 2480644"/>
                  <a:gd name="connsiteY2" fmla="*/ 173881 h 2873110"/>
                  <a:gd name="connsiteX3" fmla="*/ 928902 w 2480644"/>
                  <a:gd name="connsiteY3" fmla="*/ 142755 h 2873110"/>
                  <a:gd name="connsiteX4" fmla="*/ 176487 w 2480644"/>
                  <a:gd name="connsiteY4" fmla="*/ 149998 h 2873110"/>
                  <a:gd name="connsiteX5" fmla="*/ 176487 w 2480644"/>
                  <a:gd name="connsiteY5" fmla="*/ 149998 h 2873110"/>
                  <a:gd name="connsiteX6" fmla="*/ 4678 w 2480644"/>
                  <a:gd name="connsiteY6" fmla="*/ 627672 h 2873110"/>
                  <a:gd name="connsiteX7" fmla="*/ 2480575 w 2480644"/>
                  <a:gd name="connsiteY7" fmla="*/ 2873050 h 2873110"/>
                  <a:gd name="connsiteX8" fmla="*/ 2480575 w 2480644"/>
                  <a:gd name="connsiteY8" fmla="*/ 2873050 h 2873110"/>
                  <a:gd name="connsiteX9" fmla="*/ 2469635 w 2480644"/>
                  <a:gd name="connsiteY9" fmla="*/ 1732795 h 287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0644" h="2873110">
                    <a:moveTo>
                      <a:pt x="2474103" y="1727710"/>
                    </a:moveTo>
                    <a:cubicBezTo>
                      <a:pt x="1799750" y="1678633"/>
                      <a:pt x="1247820" y="1171959"/>
                      <a:pt x="1141390" y="504247"/>
                    </a:cubicBezTo>
                    <a:cubicBezTo>
                      <a:pt x="1121790" y="376985"/>
                      <a:pt x="1058999" y="260340"/>
                      <a:pt x="963572" y="173881"/>
                    </a:cubicBezTo>
                    <a:lnTo>
                      <a:pt x="928902" y="142755"/>
                    </a:lnTo>
                    <a:cubicBezTo>
                      <a:pt x="714210" y="-50410"/>
                      <a:pt x="387419" y="-47267"/>
                      <a:pt x="176487" y="149998"/>
                    </a:cubicBezTo>
                    <a:lnTo>
                      <a:pt x="176487" y="149998"/>
                    </a:lnTo>
                    <a:cubicBezTo>
                      <a:pt x="45295" y="272036"/>
                      <a:pt x="-18723" y="450023"/>
                      <a:pt x="4678" y="627672"/>
                    </a:cubicBezTo>
                    <a:cubicBezTo>
                      <a:pt x="171556" y="1866390"/>
                      <a:pt x="1213966" y="2826361"/>
                      <a:pt x="2480575" y="2873050"/>
                    </a:cubicBezTo>
                    <a:lnTo>
                      <a:pt x="2480575" y="2873050"/>
                    </a:lnTo>
                    <a:cubicBezTo>
                      <a:pt x="2095353" y="2700009"/>
                      <a:pt x="2013840" y="2006148"/>
                      <a:pt x="2469635" y="1732795"/>
                    </a:cubicBezTo>
                    <a:close/>
                  </a:path>
                </a:pathLst>
              </a:custGeom>
              <a:solidFill>
                <a:schemeClr val="accent2"/>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23" name="Freeform: Shape 22">
                <a:extLst>
                  <a:ext uri="{FF2B5EF4-FFF2-40B4-BE49-F238E27FC236}">
                    <a16:creationId xmlns:a16="http://schemas.microsoft.com/office/drawing/2014/main" id="{3CDD3D54-C492-F7CB-ACD4-266AF934EB71}"/>
                  </a:ext>
                </a:extLst>
              </p:cNvPr>
              <p:cNvSpPr/>
              <p:nvPr/>
            </p:nvSpPr>
            <p:spPr>
              <a:xfrm rot="20224201">
                <a:off x="3874982" y="3468791"/>
                <a:ext cx="812270" cy="812270"/>
              </a:xfrm>
              <a:custGeom>
                <a:avLst/>
                <a:gdLst>
                  <a:gd name="connsiteX0" fmla="*/ 902890 w 902959"/>
                  <a:gd name="connsiteY0" fmla="*/ 451419 h 902959"/>
                  <a:gd name="connsiteX1" fmla="*/ 451410 w 902959"/>
                  <a:gd name="connsiteY1" fmla="*/ 902898 h 902959"/>
                  <a:gd name="connsiteX2" fmla="*/ -70 w 902959"/>
                  <a:gd name="connsiteY2" fmla="*/ 451419 h 902959"/>
                  <a:gd name="connsiteX3" fmla="*/ 451410 w 902959"/>
                  <a:gd name="connsiteY3" fmla="*/ -61 h 902959"/>
                  <a:gd name="connsiteX4" fmla="*/ 902890 w 902959"/>
                  <a:gd name="connsiteY4" fmla="*/ 451419 h 902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9">
                    <a:moveTo>
                      <a:pt x="902890" y="451419"/>
                    </a:moveTo>
                    <a:cubicBezTo>
                      <a:pt x="902890" y="700764"/>
                      <a:pt x="700756" y="902898"/>
                      <a:pt x="451410" y="902898"/>
                    </a:cubicBezTo>
                    <a:cubicBezTo>
                      <a:pt x="202065" y="902898"/>
                      <a:pt x="-70" y="700764"/>
                      <a:pt x="-70" y="451419"/>
                    </a:cubicBezTo>
                    <a:cubicBezTo>
                      <a:pt x="-70" y="202074"/>
                      <a:pt x="202065" y="-61"/>
                      <a:pt x="451410" y="-61"/>
                    </a:cubicBezTo>
                    <a:cubicBezTo>
                      <a:pt x="700756" y="-61"/>
                      <a:pt x="902890" y="202074"/>
                      <a:pt x="902890" y="451419"/>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pic>
            <p:nvPicPr>
              <p:cNvPr id="27" name="Picture 26">
                <a:extLst>
                  <a:ext uri="{FF2B5EF4-FFF2-40B4-BE49-F238E27FC236}">
                    <a16:creationId xmlns:a16="http://schemas.microsoft.com/office/drawing/2014/main" id="{D6AA7B1A-4E4B-3FE0-A43B-733A49B87E7B}"/>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576478" y="1540459"/>
                <a:ext cx="485988" cy="485986"/>
              </a:xfrm>
              <a:prstGeom prst="rect">
                <a:avLst/>
              </a:prstGeom>
            </p:spPr>
          </p:pic>
          <p:sp>
            <p:nvSpPr>
              <p:cNvPr id="28" name="Rectangle 27">
                <a:extLst>
                  <a:ext uri="{FF2B5EF4-FFF2-40B4-BE49-F238E27FC236}">
                    <a16:creationId xmlns:a16="http://schemas.microsoft.com/office/drawing/2014/main" id="{CB9586E9-8D65-F885-A1ED-2F81FC49FBBC}"/>
                  </a:ext>
                </a:extLst>
              </p:cNvPr>
              <p:cNvSpPr/>
              <p:nvPr/>
            </p:nvSpPr>
            <p:spPr>
              <a:xfrm>
                <a:off x="3927557" y="2155929"/>
                <a:ext cx="1379051" cy="844315"/>
              </a:xfrm>
              <a:prstGeom prst="rect">
                <a:avLst/>
              </a:prstGeom>
            </p:spPr>
            <p:txBody>
              <a:bodyPr wrap="square" lIns="91440" tIns="45720" rIns="91440" bIns="45720" anchor="t">
                <a:spAutoFit/>
              </a:bodyPr>
              <a:lstStyle/>
              <a:p>
                <a:pPr algn="ctr"/>
                <a:r>
                  <a:rPr lang="en-US" sz="800" b="1">
                    <a:solidFill>
                      <a:schemeClr val="bg1"/>
                    </a:solidFill>
                    <a:latin typeface="Lora"/>
                  </a:rPr>
                  <a:t>Data Dog</a:t>
                </a:r>
                <a:endParaRPr lang="en-US" sz="800">
                  <a:solidFill>
                    <a:schemeClr val="bg1"/>
                  </a:solidFill>
                  <a:cs typeface="Arial"/>
                </a:endParaRPr>
              </a:p>
              <a:p>
                <a:pPr algn="ctr"/>
                <a:r>
                  <a:rPr lang="en-US" sz="800" b="1">
                    <a:solidFill>
                      <a:schemeClr val="bg1"/>
                    </a:solidFill>
                    <a:latin typeface="Lora"/>
                  </a:rPr>
                  <a:t>Limitation </a:t>
                </a:r>
                <a:endParaRPr lang="en-US" sz="800">
                  <a:solidFill>
                    <a:schemeClr val="bg1"/>
                  </a:solidFill>
                  <a:cs typeface="Arial"/>
                </a:endParaRPr>
              </a:p>
              <a:p>
                <a:pPr algn="ctr"/>
                <a:endParaRPr lang="en-US" sz="800" b="1">
                  <a:solidFill>
                    <a:schemeClr val="bg1"/>
                  </a:solidFill>
                  <a:latin typeface="Lora" pitchFamily="2" charset="0"/>
                </a:endParaRPr>
              </a:p>
            </p:txBody>
          </p:sp>
          <p:pic>
            <p:nvPicPr>
              <p:cNvPr id="29" name="Picture 28">
                <a:extLst>
                  <a:ext uri="{FF2B5EF4-FFF2-40B4-BE49-F238E27FC236}">
                    <a16:creationId xmlns:a16="http://schemas.microsoft.com/office/drawing/2014/main" id="{C33B1C3A-4E84-EF2A-F618-EA3F8244E183}"/>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128505" y="5169132"/>
                <a:ext cx="488062" cy="488062"/>
              </a:xfrm>
              <a:prstGeom prst="rect">
                <a:avLst/>
              </a:prstGeom>
            </p:spPr>
          </p:pic>
          <p:pic>
            <p:nvPicPr>
              <p:cNvPr id="32" name="Picture 31">
                <a:extLst>
                  <a:ext uri="{FF2B5EF4-FFF2-40B4-BE49-F238E27FC236}">
                    <a16:creationId xmlns:a16="http://schemas.microsoft.com/office/drawing/2014/main" id="{1892FBDD-8899-DAEC-9D04-10A8306A119B}"/>
                  </a:ext>
                </a:extLst>
              </p:cNvPr>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660191" y="3071106"/>
                <a:ext cx="501340" cy="501338"/>
              </a:xfrm>
              <a:prstGeom prst="rect">
                <a:avLst/>
              </a:prstGeom>
            </p:spPr>
          </p:pic>
          <p:pic>
            <p:nvPicPr>
              <p:cNvPr id="33" name="Picture 32">
                <a:extLst>
                  <a:ext uri="{FF2B5EF4-FFF2-40B4-BE49-F238E27FC236}">
                    <a16:creationId xmlns:a16="http://schemas.microsoft.com/office/drawing/2014/main" id="{C8B122D2-D20F-FF87-2340-766988ECF62F}"/>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079672" y="3673482"/>
                <a:ext cx="402890" cy="402888"/>
              </a:xfrm>
              <a:prstGeom prst="rect">
                <a:avLst/>
              </a:prstGeom>
            </p:spPr>
          </p:pic>
          <p:sp>
            <p:nvSpPr>
              <p:cNvPr id="36" name="Rectangle 35">
                <a:extLst>
                  <a:ext uri="{FF2B5EF4-FFF2-40B4-BE49-F238E27FC236}">
                    <a16:creationId xmlns:a16="http://schemas.microsoft.com/office/drawing/2014/main" id="{B5D674C2-2687-08CC-E2AC-51F9698EDB02}"/>
                  </a:ext>
                </a:extLst>
              </p:cNvPr>
              <p:cNvSpPr/>
              <p:nvPr/>
            </p:nvSpPr>
            <p:spPr>
              <a:xfrm>
                <a:off x="6842170" y="2265640"/>
                <a:ext cx="1203204" cy="394014"/>
              </a:xfrm>
              <a:prstGeom prst="rect">
                <a:avLst/>
              </a:prstGeom>
            </p:spPr>
            <p:txBody>
              <a:bodyPr wrap="square" lIns="91440" tIns="45720" rIns="91440" bIns="45720" anchor="t">
                <a:spAutoFit/>
              </a:bodyPr>
              <a:lstStyle/>
              <a:p>
                <a:pPr algn="ctr"/>
                <a:r>
                  <a:rPr lang="en-US" sz="800">
                    <a:solidFill>
                      <a:schemeClr val="bg1"/>
                    </a:solidFill>
                    <a:ea typeface="+mn-lt"/>
                    <a:cs typeface="+mn-lt"/>
                  </a:rPr>
                  <a:t>Approach</a:t>
                </a:r>
                <a:endParaRPr lang="en-US" sz="800">
                  <a:solidFill>
                    <a:schemeClr val="bg1"/>
                  </a:solidFill>
                </a:endParaRPr>
              </a:p>
            </p:txBody>
          </p:sp>
          <p:sp>
            <p:nvSpPr>
              <p:cNvPr id="37" name="Rectangle 36">
                <a:extLst>
                  <a:ext uri="{FF2B5EF4-FFF2-40B4-BE49-F238E27FC236}">
                    <a16:creationId xmlns:a16="http://schemas.microsoft.com/office/drawing/2014/main" id="{8BCBB331-C2B0-C85D-0001-B82F47BD578D}"/>
                  </a:ext>
                </a:extLst>
              </p:cNvPr>
              <p:cNvSpPr/>
              <p:nvPr/>
            </p:nvSpPr>
            <p:spPr>
              <a:xfrm>
                <a:off x="4163625" y="4665609"/>
                <a:ext cx="1203204" cy="394014"/>
              </a:xfrm>
              <a:prstGeom prst="rect">
                <a:avLst/>
              </a:prstGeom>
            </p:spPr>
            <p:txBody>
              <a:bodyPr wrap="square" lIns="91440" tIns="45720" rIns="91440" bIns="45720" anchor="t">
                <a:spAutoFit/>
              </a:bodyPr>
              <a:lstStyle/>
              <a:p>
                <a:pPr algn="ctr"/>
                <a:r>
                  <a:rPr lang="en-US" sz="800">
                    <a:solidFill>
                      <a:schemeClr val="bg1"/>
                    </a:solidFill>
                    <a:ea typeface="+mn-lt"/>
                    <a:cs typeface="+mn-lt"/>
                  </a:rPr>
                  <a:t>Solution</a:t>
                </a:r>
                <a:endParaRPr lang="en-US" sz="800">
                  <a:solidFill>
                    <a:schemeClr val="bg1"/>
                  </a:solidFill>
                  <a:cs typeface="Arial"/>
                </a:endParaRPr>
              </a:p>
            </p:txBody>
          </p:sp>
          <p:sp>
            <p:nvSpPr>
              <p:cNvPr id="38" name="Rectangle 37">
                <a:extLst>
                  <a:ext uri="{FF2B5EF4-FFF2-40B4-BE49-F238E27FC236}">
                    <a16:creationId xmlns:a16="http://schemas.microsoft.com/office/drawing/2014/main" id="{96C6F4A1-274E-D656-91C0-BD3BEC50B8A9}"/>
                  </a:ext>
                </a:extLst>
              </p:cNvPr>
              <p:cNvSpPr/>
              <p:nvPr/>
            </p:nvSpPr>
            <p:spPr>
              <a:xfrm>
                <a:off x="6842170" y="4665609"/>
                <a:ext cx="1203204" cy="394014"/>
              </a:xfrm>
              <a:prstGeom prst="rect">
                <a:avLst/>
              </a:prstGeom>
            </p:spPr>
            <p:txBody>
              <a:bodyPr wrap="square" lIns="91440" tIns="45720" rIns="91440" bIns="45720" anchor="t">
                <a:spAutoFit/>
              </a:bodyPr>
              <a:lstStyle/>
              <a:p>
                <a:pPr algn="ctr"/>
                <a:r>
                  <a:rPr lang="en-US" sz="800">
                    <a:solidFill>
                      <a:schemeClr val="bg1"/>
                    </a:solidFill>
                    <a:ea typeface="+mn-lt"/>
                    <a:cs typeface="+mn-lt"/>
                  </a:rPr>
                  <a:t>Benefits</a:t>
                </a:r>
                <a:endParaRPr lang="en-US" sz="800">
                  <a:solidFill>
                    <a:schemeClr val="bg1"/>
                  </a:solidFill>
                  <a:cs typeface="Arial"/>
                </a:endParaRPr>
              </a:p>
            </p:txBody>
          </p:sp>
        </p:grpSp>
        <p:pic>
          <p:nvPicPr>
            <p:cNvPr id="3" name="Picture 2">
              <a:extLst>
                <a:ext uri="{FF2B5EF4-FFF2-40B4-BE49-F238E27FC236}">
                  <a16:creationId xmlns:a16="http://schemas.microsoft.com/office/drawing/2014/main" id="{AEFF7D8C-92D6-D295-B6BC-4B439C8BE656}"/>
                </a:ext>
              </a:extLst>
            </p:cNvPr>
            <p:cNvPicPr>
              <a:picLocks noChangeAspect="1"/>
            </p:cNvPicPr>
            <p:nvPr/>
          </p:nvPicPr>
          <p:blipFill>
            <a:blip r:embed="rId10"/>
            <a:stretch>
              <a:fillRect/>
            </a:stretch>
          </p:blipFill>
          <p:spPr>
            <a:xfrm>
              <a:off x="5303623" y="3097247"/>
              <a:ext cx="1620486" cy="1620486"/>
            </a:xfrm>
            <a:prstGeom prst="rect">
              <a:avLst/>
            </a:prstGeom>
          </p:spPr>
        </p:pic>
      </p:grpSp>
      <p:cxnSp>
        <p:nvCxnSpPr>
          <p:cNvPr id="10" name="Straight Connector 9">
            <a:extLst>
              <a:ext uri="{FF2B5EF4-FFF2-40B4-BE49-F238E27FC236}">
                <a16:creationId xmlns:a16="http://schemas.microsoft.com/office/drawing/2014/main" id="{01E76F1F-250A-088D-7ACC-9178E1B02C22}"/>
              </a:ext>
              <a:ext uri="{C183D7F6-B498-43B3-948B-1728B52AA6E4}">
                <adec:decorative xmlns:adec="http://schemas.microsoft.com/office/drawing/2017/decorative" val="1"/>
              </a:ext>
            </a:extLst>
          </p:cNvPr>
          <p:cNvCxnSpPr>
            <a:cxnSpLocks/>
          </p:cNvCxnSpPr>
          <p:nvPr/>
        </p:nvCxnSpPr>
        <p:spPr>
          <a:xfrm>
            <a:off x="488191" y="1088493"/>
            <a:ext cx="10761492"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pic>
        <p:nvPicPr>
          <p:cNvPr id="16" name="Picture 15" descr="A screenshot of a computer&#10;&#10;Description automatically generated">
            <a:extLst>
              <a:ext uri="{FF2B5EF4-FFF2-40B4-BE49-F238E27FC236}">
                <a16:creationId xmlns:a16="http://schemas.microsoft.com/office/drawing/2014/main" id="{5E9633D3-2C8C-67AB-E020-7ADC0B81424B}"/>
              </a:ext>
            </a:extLst>
          </p:cNvPr>
          <p:cNvPicPr>
            <a:picLocks noChangeAspect="1"/>
          </p:cNvPicPr>
          <p:nvPr/>
        </p:nvPicPr>
        <p:blipFill>
          <a:blip r:embed="rId11"/>
          <a:stretch>
            <a:fillRect/>
          </a:stretch>
        </p:blipFill>
        <p:spPr>
          <a:xfrm>
            <a:off x="8023223" y="1172401"/>
            <a:ext cx="3856704" cy="1346184"/>
          </a:xfrm>
          <a:prstGeom prst="rect">
            <a:avLst/>
          </a:prstGeom>
        </p:spPr>
      </p:pic>
      <p:sp>
        <p:nvSpPr>
          <p:cNvPr id="21" name="TextBox 20">
            <a:extLst>
              <a:ext uri="{FF2B5EF4-FFF2-40B4-BE49-F238E27FC236}">
                <a16:creationId xmlns:a16="http://schemas.microsoft.com/office/drawing/2014/main" id="{197DC1E8-1894-F8CE-F83C-5E50A24F0C4E}"/>
              </a:ext>
            </a:extLst>
          </p:cNvPr>
          <p:cNvSpPr txBox="1"/>
          <p:nvPr/>
        </p:nvSpPr>
        <p:spPr>
          <a:xfrm>
            <a:off x="621755" y="2032342"/>
            <a:ext cx="1984995" cy="1092607"/>
          </a:xfrm>
          <a:prstGeom prst="rect">
            <a:avLst/>
          </a:prstGeom>
          <a:noFill/>
        </p:spPr>
        <p:txBody>
          <a:bodyPr wrap="square" lIns="91440" tIns="45720" rIns="91440" bIns="45720" anchor="t">
            <a:spAutoFit/>
          </a:bodyPr>
          <a:lstStyle/>
          <a:p>
            <a:pPr marL="171450" indent="-171450">
              <a:spcBef>
                <a:spcPts val="600"/>
              </a:spcBef>
              <a:buFont typeface="Arial"/>
              <a:buChar char="•"/>
            </a:pPr>
            <a:r>
              <a:rPr lang="en-US" sz="1200" b="1">
                <a:solidFill>
                  <a:schemeClr val="tx1">
                    <a:lumMod val="75000"/>
                    <a:lumOff val="25000"/>
                  </a:schemeClr>
                </a:solidFill>
                <a:ea typeface="+mn-lt"/>
                <a:cs typeface="+mn-lt"/>
              </a:rPr>
              <a:t>Root cause analysis</a:t>
            </a:r>
            <a:r>
              <a:rPr lang="en-US" sz="1200">
                <a:solidFill>
                  <a:schemeClr val="tx1">
                    <a:lumMod val="75000"/>
                    <a:lumOff val="25000"/>
                  </a:schemeClr>
                </a:solidFill>
                <a:ea typeface="+mn-lt"/>
                <a:cs typeface="+mn-lt"/>
              </a:rPr>
              <a:t> is manual</a:t>
            </a:r>
          </a:p>
          <a:p>
            <a:pPr marL="171450" indent="-171450">
              <a:spcBef>
                <a:spcPts val="600"/>
              </a:spcBef>
              <a:buFont typeface="Arial"/>
              <a:buChar char="•"/>
            </a:pPr>
            <a:r>
              <a:rPr lang="en-US" sz="1200">
                <a:solidFill>
                  <a:schemeClr val="tx1">
                    <a:lumMod val="75000"/>
                    <a:lumOff val="25000"/>
                  </a:schemeClr>
                </a:solidFill>
                <a:ea typeface="+mn-lt"/>
                <a:cs typeface="+mn-lt"/>
              </a:rPr>
              <a:t>slows down identifying the cause of system issues.</a:t>
            </a:r>
            <a:endParaRPr lang="en-US" sz="1200">
              <a:solidFill>
                <a:schemeClr val="tx1">
                  <a:lumMod val="75000"/>
                  <a:lumOff val="25000"/>
                </a:schemeClr>
              </a:solidFill>
              <a:latin typeface="Arial"/>
              <a:ea typeface="+mn-lt"/>
              <a:cs typeface="+mn-lt"/>
            </a:endParaRPr>
          </a:p>
        </p:txBody>
      </p:sp>
      <p:sp>
        <p:nvSpPr>
          <p:cNvPr id="25" name="Rectangle 24">
            <a:extLst>
              <a:ext uri="{FF2B5EF4-FFF2-40B4-BE49-F238E27FC236}">
                <a16:creationId xmlns:a16="http://schemas.microsoft.com/office/drawing/2014/main" id="{67C3F24A-BFB9-3745-D252-8CF4BAE7E30E}"/>
              </a:ext>
            </a:extLst>
          </p:cNvPr>
          <p:cNvSpPr/>
          <p:nvPr/>
        </p:nvSpPr>
        <p:spPr>
          <a:xfrm>
            <a:off x="5254256" y="1844965"/>
            <a:ext cx="2418023" cy="1723549"/>
          </a:xfrm>
          <a:prstGeom prst="rect">
            <a:avLst/>
          </a:prstGeom>
        </p:spPr>
        <p:txBody>
          <a:bodyPr wrap="square" lIns="91440" tIns="45720" rIns="91440" bIns="45720" anchor="t">
            <a:spAutoFit/>
          </a:bodyPr>
          <a:lstStyle/>
          <a:p>
            <a:pPr marL="285750" indent="-285750">
              <a:spcBef>
                <a:spcPts val="600"/>
              </a:spcBef>
              <a:buFont typeface="Arial"/>
              <a:buChar char="•"/>
            </a:pPr>
            <a:r>
              <a:rPr lang="en-US" sz="1200" b="1">
                <a:solidFill>
                  <a:schemeClr val="tx1">
                    <a:lumMod val="75000"/>
                    <a:lumOff val="25000"/>
                  </a:schemeClr>
                </a:solidFill>
                <a:ea typeface="+mn-lt"/>
                <a:cs typeface="+mn-lt"/>
              </a:rPr>
              <a:t>Automatic Clustering</a:t>
            </a:r>
            <a:r>
              <a:rPr lang="en-US" sz="1200">
                <a:solidFill>
                  <a:schemeClr val="tx1">
                    <a:lumMod val="75000"/>
                    <a:lumOff val="25000"/>
                  </a:schemeClr>
                </a:solidFill>
                <a:ea typeface="+mn-lt"/>
                <a:cs typeface="+mn-lt"/>
              </a:rPr>
              <a:t> by using machine learning K means Clustering to group logs based on their context.</a:t>
            </a:r>
          </a:p>
          <a:p>
            <a:pPr marL="285750" indent="-285750">
              <a:spcBef>
                <a:spcPts val="600"/>
              </a:spcBef>
              <a:buFont typeface="Arial"/>
              <a:buChar char="•"/>
            </a:pPr>
            <a:r>
              <a:rPr lang="en-US" sz="1200">
                <a:solidFill>
                  <a:schemeClr val="tx1">
                    <a:lumMod val="75000"/>
                    <a:lumOff val="25000"/>
                  </a:schemeClr>
                </a:solidFill>
                <a:ea typeface="+mn-lt"/>
                <a:cs typeface="+mn-lt"/>
              </a:rPr>
              <a:t>The number of clusters are determined by </a:t>
            </a:r>
            <a:r>
              <a:rPr lang="en-US" sz="1200" err="1">
                <a:solidFill>
                  <a:schemeClr val="tx1">
                    <a:lumMod val="75000"/>
                    <a:lumOff val="25000"/>
                  </a:schemeClr>
                </a:solidFill>
                <a:ea typeface="+mn-lt"/>
                <a:cs typeface="+mn-lt"/>
              </a:rPr>
              <a:t>silhouette_score</a:t>
            </a:r>
          </a:p>
          <a:p>
            <a:pPr marL="285750" indent="-285750">
              <a:spcBef>
                <a:spcPts val="600"/>
              </a:spcBef>
              <a:buFont typeface="Arial"/>
              <a:buChar char="•"/>
            </a:pPr>
            <a:endParaRPr lang="en-US" sz="1200">
              <a:solidFill>
                <a:schemeClr val="tx1">
                  <a:lumMod val="75000"/>
                  <a:lumOff val="25000"/>
                </a:schemeClr>
              </a:solidFill>
              <a:ea typeface="+mn-lt"/>
              <a:cs typeface="+mn-lt"/>
            </a:endParaRPr>
          </a:p>
        </p:txBody>
      </p:sp>
      <p:pic>
        <p:nvPicPr>
          <p:cNvPr id="39" name="Picture 38" descr="A graph of data with orange and blue bars&#10;&#10;Description automatically generated">
            <a:extLst>
              <a:ext uri="{FF2B5EF4-FFF2-40B4-BE49-F238E27FC236}">
                <a16:creationId xmlns:a16="http://schemas.microsoft.com/office/drawing/2014/main" id="{7A19C577-F0B4-2A18-5EF3-80FF04BB8A17}"/>
              </a:ext>
            </a:extLst>
          </p:cNvPr>
          <p:cNvPicPr>
            <a:picLocks noChangeAspect="1"/>
          </p:cNvPicPr>
          <p:nvPr/>
        </p:nvPicPr>
        <p:blipFill>
          <a:blip r:embed="rId12"/>
          <a:stretch>
            <a:fillRect/>
          </a:stretch>
        </p:blipFill>
        <p:spPr>
          <a:xfrm>
            <a:off x="7931196" y="3614830"/>
            <a:ext cx="4027572" cy="2243891"/>
          </a:xfrm>
          <a:prstGeom prst="rect">
            <a:avLst/>
          </a:prstGeom>
        </p:spPr>
      </p:pic>
      <p:sp>
        <p:nvSpPr>
          <p:cNvPr id="126" name="Rectangle 125">
            <a:extLst>
              <a:ext uri="{FF2B5EF4-FFF2-40B4-BE49-F238E27FC236}">
                <a16:creationId xmlns:a16="http://schemas.microsoft.com/office/drawing/2014/main" id="{5A024B3E-8FE5-5143-D03A-9C32716AB71F}"/>
              </a:ext>
            </a:extLst>
          </p:cNvPr>
          <p:cNvSpPr/>
          <p:nvPr/>
        </p:nvSpPr>
        <p:spPr>
          <a:xfrm>
            <a:off x="617366" y="3929460"/>
            <a:ext cx="2436074" cy="2092881"/>
          </a:xfrm>
          <a:prstGeom prst="rect">
            <a:avLst/>
          </a:prstGeom>
        </p:spPr>
        <p:txBody>
          <a:bodyPr wrap="square" lIns="91440" tIns="45720" rIns="91440" bIns="45720" anchor="t">
            <a:spAutoFit/>
          </a:bodyPr>
          <a:lstStyle/>
          <a:p>
            <a:pPr>
              <a:spcBef>
                <a:spcPts val="600"/>
              </a:spcBef>
            </a:pPr>
            <a:r>
              <a:rPr lang="en-US" sz="1200" b="1">
                <a:solidFill>
                  <a:schemeClr val="tx1">
                    <a:lumMod val="75000"/>
                    <a:lumOff val="25000"/>
                  </a:schemeClr>
                </a:solidFill>
                <a:ea typeface="+mn-lt"/>
                <a:cs typeface="+mn-lt"/>
              </a:rPr>
              <a:t>Azure Cognitive Services, Azure ML &amp; Clustering Algorithms:</a:t>
            </a:r>
            <a:endParaRPr lang="en-US" b="1">
              <a:solidFill>
                <a:schemeClr val="tx1">
                  <a:lumMod val="75000"/>
                  <a:lumOff val="25000"/>
                </a:schemeClr>
              </a:solidFill>
            </a:endParaRPr>
          </a:p>
          <a:p>
            <a:pPr marL="285750" indent="-285750">
              <a:spcBef>
                <a:spcPts val="600"/>
              </a:spcBef>
              <a:buFont typeface="Arial"/>
              <a:buChar char="•"/>
            </a:pPr>
            <a:r>
              <a:rPr lang="en-US" sz="1200">
                <a:solidFill>
                  <a:schemeClr val="tx1">
                    <a:lumMod val="75000"/>
                    <a:lumOff val="25000"/>
                  </a:schemeClr>
                </a:solidFill>
                <a:latin typeface="Verdana Pro"/>
                <a:cs typeface="Arial"/>
              </a:rPr>
              <a:t>Implement Clustering Algorithm </a:t>
            </a:r>
            <a:endParaRPr lang="en-US">
              <a:solidFill>
                <a:schemeClr val="tx1">
                  <a:lumMod val="75000"/>
                  <a:lumOff val="25000"/>
                </a:schemeClr>
              </a:solidFill>
              <a:latin typeface="Arial"/>
              <a:cs typeface="Arial"/>
            </a:endParaRPr>
          </a:p>
          <a:p>
            <a:pPr marL="285750" indent="-285750">
              <a:spcBef>
                <a:spcPts val="600"/>
              </a:spcBef>
              <a:buFont typeface="Arial"/>
              <a:buChar char="•"/>
            </a:pPr>
            <a:r>
              <a:rPr lang="en-US" sz="1200">
                <a:solidFill>
                  <a:schemeClr val="tx1">
                    <a:lumMod val="75000"/>
                    <a:lumOff val="25000"/>
                  </a:schemeClr>
                </a:solidFill>
                <a:latin typeface="Verdana Pro"/>
                <a:cs typeface="Arial"/>
              </a:rPr>
              <a:t>Analyze the specific content of log messages and cluster </a:t>
            </a:r>
            <a:r>
              <a:rPr lang="en-US" sz="1200">
                <a:solidFill>
                  <a:schemeClr val="tx1">
                    <a:lumMod val="75000"/>
                    <a:lumOff val="25000"/>
                  </a:schemeClr>
                </a:solidFill>
                <a:ea typeface="+mn-lt"/>
                <a:cs typeface="+mn-lt"/>
              </a:rPr>
              <a:t>logs based on their context, enabling proactive issue identification.</a:t>
            </a:r>
          </a:p>
        </p:txBody>
      </p:sp>
      <p:sp>
        <p:nvSpPr>
          <p:cNvPr id="129" name="TextBox 128">
            <a:extLst>
              <a:ext uri="{FF2B5EF4-FFF2-40B4-BE49-F238E27FC236}">
                <a16:creationId xmlns:a16="http://schemas.microsoft.com/office/drawing/2014/main" id="{9CCCA3C6-04C4-2DC0-D493-05C119F4B0E7}"/>
              </a:ext>
            </a:extLst>
          </p:cNvPr>
          <p:cNvSpPr txBox="1"/>
          <p:nvPr/>
        </p:nvSpPr>
        <p:spPr>
          <a:xfrm>
            <a:off x="5671146" y="4112466"/>
            <a:ext cx="2006184" cy="147732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Sans-Serif"/>
              <a:buChar char="•"/>
            </a:pPr>
            <a:r>
              <a:rPr lang="en-US" sz="1200">
                <a:solidFill>
                  <a:srgbClr val="7F7F7F"/>
                </a:solidFill>
                <a:cs typeface="Arial"/>
              </a:rPr>
              <a:t>Accelerates root cause identification by clustering related logs automatically</a:t>
            </a:r>
            <a:r>
              <a:rPr lang="en-US" sz="1200">
                <a:cs typeface="Arial"/>
              </a:rPr>
              <a:t>​</a:t>
            </a:r>
          </a:p>
          <a:p>
            <a:pPr marL="285750" indent="-285750">
              <a:buFont typeface="Arial,Sans-Serif"/>
              <a:buChar char="•"/>
            </a:pPr>
            <a:r>
              <a:rPr lang="en-US" sz="1200">
                <a:solidFill>
                  <a:srgbClr val="7F7F7F"/>
                </a:solidFill>
                <a:cs typeface="Arial"/>
              </a:rPr>
              <a:t>Reduces manual investigation efforts, improving response times</a:t>
            </a:r>
            <a:r>
              <a:rPr lang="en-US" sz="1200">
                <a:cs typeface="Arial"/>
              </a:rPr>
              <a:t>​</a:t>
            </a:r>
          </a:p>
        </p:txBody>
      </p:sp>
    </p:spTree>
    <p:extLst>
      <p:ext uri="{BB962C8B-B14F-4D97-AF65-F5344CB8AC3E}">
        <p14:creationId xmlns:p14="http://schemas.microsoft.com/office/powerpoint/2010/main" val="16181867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16A38B9-872B-E45F-5D50-1619F83F23CB}"/>
              </a:ext>
            </a:extLst>
          </p:cNvPr>
          <p:cNvSpPr txBox="1"/>
          <p:nvPr/>
        </p:nvSpPr>
        <p:spPr>
          <a:xfrm>
            <a:off x="487179" y="543118"/>
            <a:ext cx="9843542" cy="892552"/>
          </a:xfrm>
          <a:prstGeom prst="rect">
            <a:avLst/>
          </a:prstGeom>
          <a:noFill/>
        </p:spPr>
        <p:txBody>
          <a:bodyPr wrap="square" lIns="91440" tIns="45720" rIns="91440" bIns="45720" anchor="t">
            <a:spAutoFit/>
          </a:bodyPr>
          <a:lstStyle/>
          <a:p>
            <a:r>
              <a:rPr lang="en-US" sz="2600" b="1">
                <a:solidFill>
                  <a:schemeClr val="tx1">
                    <a:lumMod val="75000"/>
                    <a:lumOff val="25000"/>
                  </a:schemeClr>
                </a:solidFill>
                <a:latin typeface="Montserrat"/>
              </a:rPr>
              <a:t>Azure Monitor – Dashboard : Root Cause Detection</a:t>
            </a:r>
          </a:p>
          <a:p>
            <a:endParaRPr lang="en-US" sz="2600" b="1">
              <a:solidFill>
                <a:schemeClr val="tx1">
                  <a:lumMod val="75000"/>
                  <a:lumOff val="25000"/>
                </a:schemeClr>
              </a:solidFill>
              <a:latin typeface="Montserrat"/>
            </a:endParaRPr>
          </a:p>
        </p:txBody>
      </p:sp>
      <p:cxnSp>
        <p:nvCxnSpPr>
          <p:cNvPr id="10" name="Straight Connector 9">
            <a:extLst>
              <a:ext uri="{FF2B5EF4-FFF2-40B4-BE49-F238E27FC236}">
                <a16:creationId xmlns:a16="http://schemas.microsoft.com/office/drawing/2014/main" id="{01E76F1F-250A-088D-7ACC-9178E1B02C22}"/>
              </a:ext>
              <a:ext uri="{C183D7F6-B498-43B3-948B-1728B52AA6E4}">
                <adec:decorative xmlns:adec="http://schemas.microsoft.com/office/drawing/2017/decorative" val="1"/>
              </a:ext>
            </a:extLst>
          </p:cNvPr>
          <p:cNvCxnSpPr>
            <a:cxnSpLocks/>
          </p:cNvCxnSpPr>
          <p:nvPr/>
        </p:nvCxnSpPr>
        <p:spPr>
          <a:xfrm>
            <a:off x="488191" y="1088493"/>
            <a:ext cx="10761492"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pic>
        <p:nvPicPr>
          <p:cNvPr id="2" name="Picture 1" descr="A screenshot of a graph&#10;&#10;Description automatically generated">
            <a:extLst>
              <a:ext uri="{FF2B5EF4-FFF2-40B4-BE49-F238E27FC236}">
                <a16:creationId xmlns:a16="http://schemas.microsoft.com/office/drawing/2014/main" id="{4B5F2D00-5E91-0245-632D-E8103402DC0B}"/>
              </a:ext>
            </a:extLst>
          </p:cNvPr>
          <p:cNvPicPr>
            <a:picLocks noChangeAspect="1"/>
          </p:cNvPicPr>
          <p:nvPr/>
        </p:nvPicPr>
        <p:blipFill>
          <a:blip r:embed="rId2"/>
          <a:stretch>
            <a:fillRect/>
          </a:stretch>
        </p:blipFill>
        <p:spPr>
          <a:xfrm>
            <a:off x="946727" y="1429907"/>
            <a:ext cx="9848273" cy="2843643"/>
          </a:xfrm>
          <a:prstGeom prst="rect">
            <a:avLst/>
          </a:prstGeom>
        </p:spPr>
      </p:pic>
      <p:pic>
        <p:nvPicPr>
          <p:cNvPr id="4" name="Picture 3" descr="A screenshot of a computer&#10;&#10;Description automatically generated">
            <a:extLst>
              <a:ext uri="{FF2B5EF4-FFF2-40B4-BE49-F238E27FC236}">
                <a16:creationId xmlns:a16="http://schemas.microsoft.com/office/drawing/2014/main" id="{2565A39F-BCD8-42B2-922F-92283B98DF1A}"/>
              </a:ext>
            </a:extLst>
          </p:cNvPr>
          <p:cNvPicPr>
            <a:picLocks noChangeAspect="1"/>
          </p:cNvPicPr>
          <p:nvPr/>
        </p:nvPicPr>
        <p:blipFill>
          <a:blip r:embed="rId3"/>
          <a:stretch>
            <a:fillRect/>
          </a:stretch>
        </p:blipFill>
        <p:spPr>
          <a:xfrm>
            <a:off x="2871342" y="4267244"/>
            <a:ext cx="5902072" cy="2037998"/>
          </a:xfrm>
          <a:prstGeom prst="rect">
            <a:avLst/>
          </a:prstGeom>
        </p:spPr>
      </p:pic>
    </p:spTree>
    <p:extLst>
      <p:ext uri="{BB962C8B-B14F-4D97-AF65-F5344CB8AC3E}">
        <p14:creationId xmlns:p14="http://schemas.microsoft.com/office/powerpoint/2010/main" val="12547144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8CDD38D-9F1D-49FB-9B35-1062FBACB790}"/>
              </a:ext>
            </a:extLst>
          </p:cNvPr>
          <p:cNvGrpSpPr/>
          <p:nvPr/>
        </p:nvGrpSpPr>
        <p:grpSpPr>
          <a:xfrm>
            <a:off x="627392" y="1336865"/>
            <a:ext cx="11107881" cy="4999802"/>
            <a:chOff x="627392" y="1429541"/>
            <a:chExt cx="11107881" cy="4999802"/>
          </a:xfrm>
        </p:grpSpPr>
        <p:grpSp>
          <p:nvGrpSpPr>
            <p:cNvPr id="41" name="Group 40">
              <a:extLst>
                <a:ext uri="{FF2B5EF4-FFF2-40B4-BE49-F238E27FC236}">
                  <a16:creationId xmlns:a16="http://schemas.microsoft.com/office/drawing/2014/main" id="{9D11F4F6-6B66-3F63-53B3-84CF50B5A9FB}"/>
                </a:ext>
              </a:extLst>
            </p:cNvPr>
            <p:cNvGrpSpPr/>
            <p:nvPr/>
          </p:nvGrpSpPr>
          <p:grpSpPr>
            <a:xfrm>
              <a:off x="627392" y="1429541"/>
              <a:ext cx="11107881" cy="4999802"/>
              <a:chOff x="616226" y="1098550"/>
              <a:chExt cx="11107881" cy="4999802"/>
            </a:xfrm>
          </p:grpSpPr>
          <p:sp>
            <p:nvSpPr>
              <p:cNvPr id="8" name="Freeform: Shape 7">
                <a:extLst>
                  <a:ext uri="{FF2B5EF4-FFF2-40B4-BE49-F238E27FC236}">
                    <a16:creationId xmlns:a16="http://schemas.microsoft.com/office/drawing/2014/main" id="{EB29871E-3662-CBAE-51A1-AFB023016423}"/>
                  </a:ext>
                </a:extLst>
              </p:cNvPr>
              <p:cNvSpPr/>
              <p:nvPr/>
            </p:nvSpPr>
            <p:spPr>
              <a:xfrm>
                <a:off x="3608427" y="1098550"/>
                <a:ext cx="1551232" cy="1516327"/>
              </a:xfrm>
              <a:custGeom>
                <a:avLst/>
                <a:gdLst>
                  <a:gd name="connsiteX0" fmla="*/ 299823 w 1724424"/>
                  <a:gd name="connsiteY0" fmla="*/ 1674902 h 1685623"/>
                  <a:gd name="connsiteX1" fmla="*/ 79785 w 1724424"/>
                  <a:gd name="connsiteY1" fmla="*/ 1579521 h 1685623"/>
                  <a:gd name="connsiteX2" fmla="*/ 10945 w 1724424"/>
                  <a:gd name="connsiteY2" fmla="*/ 1404985 h 1685623"/>
                  <a:gd name="connsiteX3" fmla="*/ 13681 w 1724424"/>
                  <a:gd name="connsiteY3" fmla="*/ 1399083 h 1685623"/>
                  <a:gd name="connsiteX4" fmla="*/ 1450403 w 1724424"/>
                  <a:gd name="connsiteY4" fmla="*/ 11362 h 1685623"/>
                  <a:gd name="connsiteX5" fmla="*/ 1625648 w 1724424"/>
                  <a:gd name="connsiteY5" fmla="*/ 78984 h 1685623"/>
                  <a:gd name="connsiteX6" fmla="*/ 1627605 w 1724424"/>
                  <a:gd name="connsiteY6" fmla="*/ 83630 h 1685623"/>
                  <a:gd name="connsiteX7" fmla="*/ 1715127 w 1724424"/>
                  <a:gd name="connsiteY7" fmla="*/ 306904 h 1685623"/>
                  <a:gd name="connsiteX8" fmla="*/ 1647020 w 1724424"/>
                  <a:gd name="connsiteY8" fmla="*/ 475631 h 1685623"/>
                  <a:gd name="connsiteX9" fmla="*/ 470091 w 1724424"/>
                  <a:gd name="connsiteY9" fmla="*/ 1612342 h 1685623"/>
                  <a:gd name="connsiteX10" fmla="*/ 299823 w 1724424"/>
                  <a:gd name="connsiteY10" fmla="*/ 1674902 h 1685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424" h="1685623">
                    <a:moveTo>
                      <a:pt x="299823" y="1674902"/>
                    </a:moveTo>
                    <a:lnTo>
                      <a:pt x="79785" y="1579521"/>
                    </a:lnTo>
                    <a:cubicBezTo>
                      <a:pt x="12577" y="1550337"/>
                      <a:pt x="-18244" y="1472183"/>
                      <a:pt x="10945" y="1404985"/>
                    </a:cubicBezTo>
                    <a:cubicBezTo>
                      <a:pt x="11808" y="1402997"/>
                      <a:pt x="12721" y="1401025"/>
                      <a:pt x="13681" y="1399083"/>
                    </a:cubicBezTo>
                    <a:cubicBezTo>
                      <a:pt x="317582" y="784193"/>
                      <a:pt x="825343" y="293752"/>
                      <a:pt x="1450403" y="11362"/>
                    </a:cubicBezTo>
                    <a:cubicBezTo>
                      <a:pt x="1517462" y="-18359"/>
                      <a:pt x="1595924" y="11918"/>
                      <a:pt x="1625648" y="78984"/>
                    </a:cubicBezTo>
                    <a:cubicBezTo>
                      <a:pt x="1626326" y="80520"/>
                      <a:pt x="1626989" y="82069"/>
                      <a:pt x="1627605" y="83630"/>
                    </a:cubicBezTo>
                    <a:lnTo>
                      <a:pt x="1715127" y="306904"/>
                    </a:lnTo>
                    <a:cubicBezTo>
                      <a:pt x="1740891" y="372308"/>
                      <a:pt x="1710967" y="446439"/>
                      <a:pt x="1647020" y="475631"/>
                    </a:cubicBezTo>
                    <a:cubicBezTo>
                      <a:pt x="1136324" y="708890"/>
                      <a:pt x="720947" y="1110060"/>
                      <a:pt x="470091" y="1612342"/>
                    </a:cubicBezTo>
                    <a:cubicBezTo>
                      <a:pt x="438847" y="1674979"/>
                      <a:pt x="364191" y="1702407"/>
                      <a:pt x="299823" y="1674902"/>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12" name="Freeform: Shape 11">
                <a:extLst>
                  <a:ext uri="{FF2B5EF4-FFF2-40B4-BE49-F238E27FC236}">
                    <a16:creationId xmlns:a16="http://schemas.microsoft.com/office/drawing/2014/main" id="{AC73601A-EE45-1ABB-6FA2-65F4ED869633}"/>
                  </a:ext>
                </a:extLst>
              </p:cNvPr>
              <p:cNvSpPr/>
              <p:nvPr/>
            </p:nvSpPr>
            <p:spPr>
              <a:xfrm>
                <a:off x="7078981" y="1110090"/>
                <a:ext cx="1517070" cy="1552187"/>
              </a:xfrm>
              <a:custGeom>
                <a:avLst/>
                <a:gdLst>
                  <a:gd name="connsiteX0" fmla="*/ 11097 w 1686448"/>
                  <a:gd name="connsiteY0" fmla="*/ 299776 h 1725486"/>
                  <a:gd name="connsiteX1" fmla="*/ 106478 w 1686448"/>
                  <a:gd name="connsiteY1" fmla="*/ 79738 h 1725486"/>
                  <a:gd name="connsiteX2" fmla="*/ 281307 w 1686448"/>
                  <a:gd name="connsiteY2" fmla="*/ 11031 h 1725486"/>
                  <a:gd name="connsiteX3" fmla="*/ 286916 w 1686448"/>
                  <a:gd name="connsiteY3" fmla="*/ 13634 h 1725486"/>
                  <a:gd name="connsiteX4" fmla="*/ 1674638 w 1686448"/>
                  <a:gd name="connsiteY4" fmla="*/ 1450356 h 1725486"/>
                  <a:gd name="connsiteX5" fmla="*/ 1608180 w 1686448"/>
                  <a:gd name="connsiteY5" fmla="*/ 1625816 h 1725486"/>
                  <a:gd name="connsiteX6" fmla="*/ 1602216 w 1686448"/>
                  <a:gd name="connsiteY6" fmla="*/ 1628328 h 1725486"/>
                  <a:gd name="connsiteX7" fmla="*/ 1378942 w 1686448"/>
                  <a:gd name="connsiteY7" fmla="*/ 1716004 h 1725486"/>
                  <a:gd name="connsiteX8" fmla="*/ 1209445 w 1686448"/>
                  <a:gd name="connsiteY8" fmla="*/ 1647743 h 1725486"/>
                  <a:gd name="connsiteX9" fmla="*/ 73349 w 1686448"/>
                  <a:gd name="connsiteY9" fmla="*/ 471431 h 1725486"/>
                  <a:gd name="connsiteX10" fmla="*/ 11097 w 1686448"/>
                  <a:gd name="connsiteY10" fmla="*/ 299776 h 172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6448" h="1725486">
                    <a:moveTo>
                      <a:pt x="11097" y="299776"/>
                    </a:moveTo>
                    <a:lnTo>
                      <a:pt x="106478" y="79738"/>
                    </a:lnTo>
                    <a:cubicBezTo>
                      <a:pt x="135786" y="12489"/>
                      <a:pt x="214047" y="-18273"/>
                      <a:pt x="281307" y="11031"/>
                    </a:cubicBezTo>
                    <a:cubicBezTo>
                      <a:pt x="283187" y="11856"/>
                      <a:pt x="285067" y="12723"/>
                      <a:pt x="286916" y="13634"/>
                    </a:cubicBezTo>
                    <a:cubicBezTo>
                      <a:pt x="901745" y="317620"/>
                      <a:pt x="1392163" y="825357"/>
                      <a:pt x="1674638" y="1450356"/>
                    </a:cubicBezTo>
                    <a:cubicBezTo>
                      <a:pt x="1704732" y="1517153"/>
                      <a:pt x="1674977" y="1595723"/>
                      <a:pt x="1608180" y="1625816"/>
                    </a:cubicBezTo>
                    <a:cubicBezTo>
                      <a:pt x="1606207" y="1626694"/>
                      <a:pt x="1604220" y="1627542"/>
                      <a:pt x="1602216" y="1628328"/>
                    </a:cubicBezTo>
                    <a:lnTo>
                      <a:pt x="1378942" y="1716004"/>
                    </a:lnTo>
                    <a:cubicBezTo>
                      <a:pt x="1313285" y="1742153"/>
                      <a:pt x="1238660" y="1712106"/>
                      <a:pt x="1209445" y="1647743"/>
                    </a:cubicBezTo>
                    <a:cubicBezTo>
                      <a:pt x="976154" y="1137433"/>
                      <a:pt x="575247" y="722318"/>
                      <a:pt x="73349" y="471431"/>
                    </a:cubicBezTo>
                    <a:cubicBezTo>
                      <a:pt x="10142" y="439975"/>
                      <a:pt x="-17255" y="364440"/>
                      <a:pt x="11097" y="299776"/>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17" name="Freeform: Shape 16">
                <a:extLst>
                  <a:ext uri="{FF2B5EF4-FFF2-40B4-BE49-F238E27FC236}">
                    <a16:creationId xmlns:a16="http://schemas.microsoft.com/office/drawing/2014/main" id="{D5AA95E7-06BD-4054-3AC8-79C509F055CA}"/>
                  </a:ext>
                </a:extLst>
              </p:cNvPr>
              <p:cNvSpPr/>
              <p:nvPr/>
            </p:nvSpPr>
            <p:spPr>
              <a:xfrm>
                <a:off x="7032350" y="4581800"/>
                <a:ext cx="1551915" cy="1516552"/>
              </a:xfrm>
              <a:custGeom>
                <a:avLst/>
                <a:gdLst>
                  <a:gd name="connsiteX0" fmla="*/ 1425233 w 1725184"/>
                  <a:gd name="connsiteY0" fmla="*/ 10687 h 1685873"/>
                  <a:gd name="connsiteX1" fmla="*/ 1645271 w 1725184"/>
                  <a:gd name="connsiteY1" fmla="*/ 106068 h 1685873"/>
                  <a:gd name="connsiteX2" fmla="*/ 1714149 w 1725184"/>
                  <a:gd name="connsiteY2" fmla="*/ 280358 h 1685873"/>
                  <a:gd name="connsiteX3" fmla="*/ 1711375 w 1725184"/>
                  <a:gd name="connsiteY3" fmla="*/ 286352 h 1685873"/>
                  <a:gd name="connsiteX4" fmla="*/ 274653 w 1725184"/>
                  <a:gd name="connsiteY4" fmla="*/ 1674073 h 1685873"/>
                  <a:gd name="connsiteX5" fmla="*/ 99192 w 1725184"/>
                  <a:gd name="connsiteY5" fmla="*/ 1607614 h 1685873"/>
                  <a:gd name="connsiteX6" fmla="*/ 96680 w 1725184"/>
                  <a:gd name="connsiteY6" fmla="*/ 1601651 h 1685873"/>
                  <a:gd name="connsiteX7" fmla="*/ 9158 w 1725184"/>
                  <a:gd name="connsiteY7" fmla="*/ 1378377 h 1685873"/>
                  <a:gd name="connsiteX8" fmla="*/ 77265 w 1725184"/>
                  <a:gd name="connsiteY8" fmla="*/ 1209650 h 1685873"/>
                  <a:gd name="connsiteX9" fmla="*/ 1254965 w 1725184"/>
                  <a:gd name="connsiteY9" fmla="*/ 72785 h 1685873"/>
                  <a:gd name="connsiteX10" fmla="*/ 1425233 w 1725184"/>
                  <a:gd name="connsiteY10" fmla="*/ 10687 h 168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5184" h="1685873">
                    <a:moveTo>
                      <a:pt x="1425233" y="10687"/>
                    </a:moveTo>
                    <a:lnTo>
                      <a:pt x="1645271" y="106068"/>
                    </a:lnTo>
                    <a:cubicBezTo>
                      <a:pt x="1712423" y="135175"/>
                      <a:pt x="1743256" y="213206"/>
                      <a:pt x="1714149" y="280358"/>
                    </a:cubicBezTo>
                    <a:cubicBezTo>
                      <a:pt x="1713271" y="282376"/>
                      <a:pt x="1712346" y="284379"/>
                      <a:pt x="1711375" y="286352"/>
                    </a:cubicBezTo>
                    <a:cubicBezTo>
                      <a:pt x="1407512" y="901273"/>
                      <a:pt x="899744" y="1391721"/>
                      <a:pt x="274653" y="1674073"/>
                    </a:cubicBezTo>
                    <a:cubicBezTo>
                      <a:pt x="207856" y="1704167"/>
                      <a:pt x="129286" y="1674412"/>
                      <a:pt x="99192" y="1607614"/>
                    </a:cubicBezTo>
                    <a:cubicBezTo>
                      <a:pt x="98314" y="1605642"/>
                      <a:pt x="97466" y="1603654"/>
                      <a:pt x="96680" y="1601651"/>
                    </a:cubicBezTo>
                    <a:lnTo>
                      <a:pt x="9158" y="1378377"/>
                    </a:lnTo>
                    <a:cubicBezTo>
                      <a:pt x="-16606" y="1312967"/>
                      <a:pt x="13319" y="1238835"/>
                      <a:pt x="77265" y="1209650"/>
                    </a:cubicBezTo>
                    <a:cubicBezTo>
                      <a:pt x="588254" y="976483"/>
                      <a:pt x="1003924" y="575237"/>
                      <a:pt x="1254965" y="72785"/>
                    </a:cubicBezTo>
                    <a:cubicBezTo>
                      <a:pt x="1286368" y="10317"/>
                      <a:pt x="1360978" y="-16895"/>
                      <a:pt x="1425233" y="10687"/>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22" name="Freeform: Shape 21">
                <a:extLst>
                  <a:ext uri="{FF2B5EF4-FFF2-40B4-BE49-F238E27FC236}">
                    <a16:creationId xmlns:a16="http://schemas.microsoft.com/office/drawing/2014/main" id="{6B2B4B0E-7ED8-94DE-A08B-2AA84B585F31}"/>
                  </a:ext>
                </a:extLst>
              </p:cNvPr>
              <p:cNvSpPr/>
              <p:nvPr/>
            </p:nvSpPr>
            <p:spPr>
              <a:xfrm>
                <a:off x="3595949" y="4534436"/>
                <a:ext cx="1517201" cy="1552761"/>
              </a:xfrm>
              <a:custGeom>
                <a:avLst/>
                <a:gdLst>
                  <a:gd name="connsiteX0" fmla="*/ 1675222 w 1686594"/>
                  <a:gd name="connsiteY0" fmla="*/ 1426098 h 1726124"/>
                  <a:gd name="connsiteX1" fmla="*/ 1579841 w 1686594"/>
                  <a:gd name="connsiteY1" fmla="*/ 1646137 h 1726124"/>
                  <a:gd name="connsiteX2" fmla="*/ 1405089 w 1686594"/>
                  <a:gd name="connsiteY2" fmla="*/ 1715030 h 1726124"/>
                  <a:gd name="connsiteX3" fmla="*/ 1399403 w 1686594"/>
                  <a:gd name="connsiteY3" fmla="*/ 1712395 h 1726124"/>
                  <a:gd name="connsiteX4" fmla="*/ 11680 w 1686594"/>
                  <a:gd name="connsiteY4" fmla="*/ 275057 h 1726124"/>
                  <a:gd name="connsiteX5" fmla="*/ 78242 w 1686594"/>
                  <a:gd name="connsiteY5" fmla="*/ 99396 h 1726124"/>
                  <a:gd name="connsiteX6" fmla="*/ 84102 w 1686594"/>
                  <a:gd name="connsiteY6" fmla="*/ 96930 h 1726124"/>
                  <a:gd name="connsiteX7" fmla="*/ 307377 w 1686594"/>
                  <a:gd name="connsiteY7" fmla="*/ 9408 h 1726124"/>
                  <a:gd name="connsiteX8" fmla="*/ 476874 w 1686594"/>
                  <a:gd name="connsiteY8" fmla="*/ 77669 h 1726124"/>
                  <a:gd name="connsiteX9" fmla="*/ 1613740 w 1686594"/>
                  <a:gd name="connsiteY9" fmla="*/ 1254443 h 1726124"/>
                  <a:gd name="connsiteX10" fmla="*/ 1675222 w 1686594"/>
                  <a:gd name="connsiteY10" fmla="*/ 1426098 h 172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6594" h="1726124">
                    <a:moveTo>
                      <a:pt x="1675222" y="1426098"/>
                    </a:moveTo>
                    <a:lnTo>
                      <a:pt x="1579841" y="1646137"/>
                    </a:lnTo>
                    <a:cubicBezTo>
                      <a:pt x="1550610" y="1713412"/>
                      <a:pt x="1472364" y="1744260"/>
                      <a:pt x="1405089" y="1715030"/>
                    </a:cubicBezTo>
                    <a:cubicBezTo>
                      <a:pt x="1403178" y="1714198"/>
                      <a:pt x="1401283" y="1713320"/>
                      <a:pt x="1399403" y="1712395"/>
                    </a:cubicBezTo>
                    <a:cubicBezTo>
                      <a:pt x="784481" y="1408255"/>
                      <a:pt x="294040" y="900287"/>
                      <a:pt x="11680" y="275057"/>
                    </a:cubicBezTo>
                    <a:cubicBezTo>
                      <a:pt x="-18445" y="208167"/>
                      <a:pt x="11355" y="129536"/>
                      <a:pt x="78242" y="99396"/>
                    </a:cubicBezTo>
                    <a:cubicBezTo>
                      <a:pt x="80174" y="98533"/>
                      <a:pt x="82130" y="97701"/>
                      <a:pt x="84102" y="96930"/>
                    </a:cubicBezTo>
                    <a:lnTo>
                      <a:pt x="307377" y="9408"/>
                    </a:lnTo>
                    <a:cubicBezTo>
                      <a:pt x="373038" y="-16833"/>
                      <a:pt x="447720" y="13245"/>
                      <a:pt x="476874" y="77669"/>
                    </a:cubicBezTo>
                    <a:cubicBezTo>
                      <a:pt x="710195" y="588335"/>
                      <a:pt x="1111426" y="1003649"/>
                      <a:pt x="1613740" y="1254443"/>
                    </a:cubicBezTo>
                    <a:cubicBezTo>
                      <a:pt x="1676655" y="1286171"/>
                      <a:pt x="1703682" y="1361643"/>
                      <a:pt x="1675222" y="1426098"/>
                    </a:cubicBezTo>
                    <a:close/>
                  </a:path>
                </a:pathLst>
              </a:custGeom>
              <a:solidFill>
                <a:schemeClr val="bg1"/>
              </a:solidFill>
              <a:ln w="15409" cap="flat">
                <a:noFill/>
                <a:prstDash val="solid"/>
                <a:miter/>
              </a:ln>
              <a:effectLst>
                <a:outerShdw blurRad="63500" sx="102000" sy="102000" algn="ctr" rotWithShape="0">
                  <a:prstClr val="black">
                    <a:alpha val="10000"/>
                  </a:prstClr>
                </a:outerShdw>
              </a:effectLst>
            </p:spPr>
            <p:txBody>
              <a:bodyPr rtlCol="0" anchor="ctr"/>
              <a:lstStyle/>
              <a:p>
                <a:endParaRPr lang="en-IN"/>
              </a:p>
            </p:txBody>
          </p:sp>
          <p:sp>
            <p:nvSpPr>
              <p:cNvPr id="7" name="Freeform: Shape 6">
                <a:extLst>
                  <a:ext uri="{FF2B5EF4-FFF2-40B4-BE49-F238E27FC236}">
                    <a16:creationId xmlns:a16="http://schemas.microsoft.com/office/drawing/2014/main" id="{6A9F9DAB-59A5-F306-2D16-26F151E17422}"/>
                  </a:ext>
                </a:extLst>
              </p:cNvPr>
              <p:cNvSpPr/>
              <p:nvPr/>
            </p:nvSpPr>
            <p:spPr>
              <a:xfrm>
                <a:off x="3761488" y="1279139"/>
                <a:ext cx="2583957" cy="2231982"/>
              </a:xfrm>
              <a:custGeom>
                <a:avLst/>
                <a:gdLst>
                  <a:gd name="connsiteX0" fmla="*/ 1144809 w 2872452"/>
                  <a:gd name="connsiteY0" fmla="*/ 2474493 h 2481179"/>
                  <a:gd name="connsiteX1" fmla="*/ 2368427 w 2872452"/>
                  <a:gd name="connsiteY1" fmla="*/ 1141781 h 2481179"/>
                  <a:gd name="connsiteX2" fmla="*/ 2698639 w 2872452"/>
                  <a:gd name="connsiteY2" fmla="*/ 963963 h 2481179"/>
                  <a:gd name="connsiteX3" fmla="*/ 2729457 w 2872452"/>
                  <a:gd name="connsiteY3" fmla="*/ 928831 h 2481179"/>
                  <a:gd name="connsiteX4" fmla="*/ 2722369 w 2872452"/>
                  <a:gd name="connsiteY4" fmla="*/ 176570 h 2481179"/>
                  <a:gd name="connsiteX5" fmla="*/ 2722369 w 2872452"/>
                  <a:gd name="connsiteY5" fmla="*/ 176570 h 2481179"/>
                  <a:gd name="connsiteX6" fmla="*/ 2244694 w 2872452"/>
                  <a:gd name="connsiteY6" fmla="*/ 4608 h 2481179"/>
                  <a:gd name="connsiteX7" fmla="*/ -70 w 2872452"/>
                  <a:gd name="connsiteY7" fmla="*/ 2481119 h 2481179"/>
                  <a:gd name="connsiteX8" fmla="*/ -70 w 2872452"/>
                  <a:gd name="connsiteY8" fmla="*/ 2481119 h 2481179"/>
                  <a:gd name="connsiteX9" fmla="*/ 1140186 w 2872452"/>
                  <a:gd name="connsiteY9" fmla="*/ 2470178 h 248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2452" h="2481179">
                    <a:moveTo>
                      <a:pt x="1144809" y="2474493"/>
                    </a:moveTo>
                    <a:cubicBezTo>
                      <a:pt x="1194009" y="1800140"/>
                      <a:pt x="1700715" y="1248256"/>
                      <a:pt x="2368427" y="1141781"/>
                    </a:cubicBezTo>
                    <a:cubicBezTo>
                      <a:pt x="2495643" y="1122181"/>
                      <a:pt x="2612242" y="1059390"/>
                      <a:pt x="2698639" y="963963"/>
                    </a:cubicBezTo>
                    <a:lnTo>
                      <a:pt x="2729457" y="928831"/>
                    </a:lnTo>
                    <a:cubicBezTo>
                      <a:pt x="2922715" y="714247"/>
                      <a:pt x="2919633" y="387470"/>
                      <a:pt x="2722369" y="176570"/>
                    </a:cubicBezTo>
                    <a:lnTo>
                      <a:pt x="2722369" y="176570"/>
                    </a:lnTo>
                    <a:cubicBezTo>
                      <a:pt x="2600253" y="45475"/>
                      <a:pt x="2422343" y="-18572"/>
                      <a:pt x="2244694" y="4608"/>
                    </a:cubicBezTo>
                    <a:cubicBezTo>
                      <a:pt x="1006900" y="172102"/>
                      <a:pt x="46619" y="1214357"/>
                      <a:pt x="-70" y="2481119"/>
                    </a:cubicBezTo>
                    <a:lnTo>
                      <a:pt x="-70" y="2481119"/>
                    </a:lnTo>
                    <a:cubicBezTo>
                      <a:pt x="300557" y="2101599"/>
                      <a:pt x="837710" y="2115158"/>
                      <a:pt x="1140186" y="2470178"/>
                    </a:cubicBezTo>
                    <a:close/>
                  </a:path>
                </a:pathLst>
              </a:custGeom>
              <a:solidFill>
                <a:srgbClr val="FA854B"/>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9" name="Freeform: Shape 8">
                <a:extLst>
                  <a:ext uri="{FF2B5EF4-FFF2-40B4-BE49-F238E27FC236}">
                    <a16:creationId xmlns:a16="http://schemas.microsoft.com/office/drawing/2014/main" id="{A3D8E584-1B16-0ADA-9410-3BD6EAFF61FB}"/>
                  </a:ext>
                </a:extLst>
              </p:cNvPr>
              <p:cNvSpPr/>
              <p:nvPr/>
            </p:nvSpPr>
            <p:spPr>
              <a:xfrm>
                <a:off x="5413337" y="1377318"/>
                <a:ext cx="812270" cy="812269"/>
              </a:xfrm>
              <a:custGeom>
                <a:avLst/>
                <a:gdLst>
                  <a:gd name="connsiteX0" fmla="*/ 902960 w 902959"/>
                  <a:gd name="connsiteY0" fmla="*/ 451479 h 902958"/>
                  <a:gd name="connsiteX1" fmla="*/ 451480 w 902959"/>
                  <a:gd name="connsiteY1" fmla="*/ 902959 h 902958"/>
                  <a:gd name="connsiteX2" fmla="*/ 0 w 902959"/>
                  <a:gd name="connsiteY2" fmla="*/ 451479 h 902958"/>
                  <a:gd name="connsiteX3" fmla="*/ 451480 w 902959"/>
                  <a:gd name="connsiteY3" fmla="*/ 0 h 902958"/>
                  <a:gd name="connsiteX4" fmla="*/ 902960 w 902959"/>
                  <a:gd name="connsiteY4" fmla="*/ 451479 h 90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8">
                    <a:moveTo>
                      <a:pt x="902960" y="451479"/>
                    </a:moveTo>
                    <a:cubicBezTo>
                      <a:pt x="902960" y="700825"/>
                      <a:pt x="700825" y="902959"/>
                      <a:pt x="451480" y="902959"/>
                    </a:cubicBezTo>
                    <a:cubicBezTo>
                      <a:pt x="202134" y="902959"/>
                      <a:pt x="0" y="700825"/>
                      <a:pt x="0" y="451479"/>
                    </a:cubicBezTo>
                    <a:cubicBezTo>
                      <a:pt x="0" y="202134"/>
                      <a:pt x="202134" y="0"/>
                      <a:pt x="451480" y="0"/>
                    </a:cubicBezTo>
                    <a:cubicBezTo>
                      <a:pt x="700825" y="0"/>
                      <a:pt x="902960" y="202134"/>
                      <a:pt x="902960" y="451479"/>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1" name="Freeform: Shape 10">
                <a:extLst>
                  <a:ext uri="{FF2B5EF4-FFF2-40B4-BE49-F238E27FC236}">
                    <a16:creationId xmlns:a16="http://schemas.microsoft.com/office/drawing/2014/main" id="{2067C609-27B8-3708-38DD-7CF591A7016F}"/>
                  </a:ext>
                </a:extLst>
              </p:cNvPr>
              <p:cNvSpPr/>
              <p:nvPr/>
            </p:nvSpPr>
            <p:spPr>
              <a:xfrm>
                <a:off x="6183330" y="1263794"/>
                <a:ext cx="2231861" cy="2584636"/>
              </a:xfrm>
              <a:custGeom>
                <a:avLst/>
                <a:gdLst>
                  <a:gd name="connsiteX0" fmla="*/ 6402 w 2481044"/>
                  <a:gd name="connsiteY0" fmla="*/ 1144817 h 2873206"/>
                  <a:gd name="connsiteX1" fmla="*/ 1339115 w 2481044"/>
                  <a:gd name="connsiteY1" fmla="*/ 2368434 h 2873206"/>
                  <a:gd name="connsiteX2" fmla="*/ 1516933 w 2481044"/>
                  <a:gd name="connsiteY2" fmla="*/ 2698800 h 2873206"/>
                  <a:gd name="connsiteX3" fmla="*/ 1552065 w 2481044"/>
                  <a:gd name="connsiteY3" fmla="*/ 2730388 h 2873206"/>
                  <a:gd name="connsiteX4" fmla="*/ 2304480 w 2481044"/>
                  <a:gd name="connsiteY4" fmla="*/ 2723146 h 2873206"/>
                  <a:gd name="connsiteX5" fmla="*/ 2304480 w 2481044"/>
                  <a:gd name="connsiteY5" fmla="*/ 2723146 h 2873206"/>
                  <a:gd name="connsiteX6" fmla="*/ 2476289 w 2481044"/>
                  <a:gd name="connsiteY6" fmla="*/ 2245472 h 2873206"/>
                  <a:gd name="connsiteX7" fmla="*/ -70 w 2481044"/>
                  <a:gd name="connsiteY7" fmla="*/ -61 h 2873206"/>
                  <a:gd name="connsiteX8" fmla="*/ -70 w 2481044"/>
                  <a:gd name="connsiteY8" fmla="*/ -61 h 2873206"/>
                  <a:gd name="connsiteX9" fmla="*/ 10871 w 2481044"/>
                  <a:gd name="connsiteY9" fmla="*/ 1140195 h 287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1044" h="2873206">
                    <a:moveTo>
                      <a:pt x="6402" y="1144817"/>
                    </a:moveTo>
                    <a:cubicBezTo>
                      <a:pt x="680787" y="1193972"/>
                      <a:pt x="1232686" y="1700692"/>
                      <a:pt x="1339115" y="2368434"/>
                    </a:cubicBezTo>
                    <a:cubicBezTo>
                      <a:pt x="1358761" y="2495681"/>
                      <a:pt x="1421537" y="2612326"/>
                      <a:pt x="1516933" y="2698800"/>
                    </a:cubicBezTo>
                    <a:lnTo>
                      <a:pt x="1552065" y="2730388"/>
                    </a:lnTo>
                    <a:cubicBezTo>
                      <a:pt x="1766788" y="2923477"/>
                      <a:pt x="2093518" y="2920333"/>
                      <a:pt x="2304480" y="2723146"/>
                    </a:cubicBezTo>
                    <a:lnTo>
                      <a:pt x="2304480" y="2723146"/>
                    </a:lnTo>
                    <a:cubicBezTo>
                      <a:pt x="2435518" y="2601000"/>
                      <a:pt x="2499510" y="2423105"/>
                      <a:pt x="2476289" y="2245472"/>
                    </a:cubicBezTo>
                    <a:cubicBezTo>
                      <a:pt x="2308949" y="1007062"/>
                      <a:pt x="1266539" y="46628"/>
                      <a:pt x="-70" y="-61"/>
                    </a:cubicBezTo>
                    <a:lnTo>
                      <a:pt x="-70" y="-61"/>
                    </a:lnTo>
                    <a:cubicBezTo>
                      <a:pt x="323517" y="217050"/>
                      <a:pt x="429530" y="827395"/>
                      <a:pt x="10871" y="1140195"/>
                    </a:cubicBezTo>
                    <a:close/>
                  </a:path>
                </a:pathLst>
              </a:custGeom>
              <a:solidFill>
                <a:schemeClr val="accent6"/>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3" name="Freeform: Shape 12">
                <a:extLst>
                  <a:ext uri="{FF2B5EF4-FFF2-40B4-BE49-F238E27FC236}">
                    <a16:creationId xmlns:a16="http://schemas.microsoft.com/office/drawing/2014/main" id="{9F023184-E144-129C-4B79-9E46444BF337}"/>
                  </a:ext>
                </a:extLst>
              </p:cNvPr>
              <p:cNvSpPr/>
              <p:nvPr/>
            </p:nvSpPr>
            <p:spPr>
              <a:xfrm>
                <a:off x="7504726" y="2915641"/>
                <a:ext cx="812270" cy="812269"/>
              </a:xfrm>
              <a:custGeom>
                <a:avLst/>
                <a:gdLst>
                  <a:gd name="connsiteX0" fmla="*/ 902959 w 902959"/>
                  <a:gd name="connsiteY0" fmla="*/ 451479 h 902958"/>
                  <a:gd name="connsiteX1" fmla="*/ 451480 w 902959"/>
                  <a:gd name="connsiteY1" fmla="*/ 902959 h 902958"/>
                  <a:gd name="connsiteX2" fmla="*/ 0 w 902959"/>
                  <a:gd name="connsiteY2" fmla="*/ 451479 h 902958"/>
                  <a:gd name="connsiteX3" fmla="*/ 451480 w 902959"/>
                  <a:gd name="connsiteY3" fmla="*/ 0 h 902958"/>
                  <a:gd name="connsiteX4" fmla="*/ 902959 w 902959"/>
                  <a:gd name="connsiteY4" fmla="*/ 451479 h 90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8">
                    <a:moveTo>
                      <a:pt x="902959" y="451479"/>
                    </a:moveTo>
                    <a:cubicBezTo>
                      <a:pt x="902959" y="700825"/>
                      <a:pt x="700825" y="902959"/>
                      <a:pt x="451480" y="902959"/>
                    </a:cubicBezTo>
                    <a:cubicBezTo>
                      <a:pt x="202134" y="902959"/>
                      <a:pt x="0" y="700825"/>
                      <a:pt x="0" y="451479"/>
                    </a:cubicBezTo>
                    <a:cubicBezTo>
                      <a:pt x="0" y="202134"/>
                      <a:pt x="202134" y="0"/>
                      <a:pt x="451480" y="0"/>
                    </a:cubicBezTo>
                    <a:cubicBezTo>
                      <a:pt x="700825" y="0"/>
                      <a:pt x="902959" y="202134"/>
                      <a:pt x="902959" y="451479"/>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5" name="Freeform: Shape 14">
                <a:extLst>
                  <a:ext uri="{FF2B5EF4-FFF2-40B4-BE49-F238E27FC236}">
                    <a16:creationId xmlns:a16="http://schemas.microsoft.com/office/drawing/2014/main" id="{9E1228EF-BDF1-708E-3F21-045211BE91F2}"/>
                  </a:ext>
                </a:extLst>
              </p:cNvPr>
              <p:cNvSpPr/>
              <p:nvPr/>
            </p:nvSpPr>
            <p:spPr>
              <a:xfrm>
                <a:off x="5845893" y="3686327"/>
                <a:ext cx="2584489" cy="2231916"/>
              </a:xfrm>
              <a:custGeom>
                <a:avLst/>
                <a:gdLst>
                  <a:gd name="connsiteX0" fmla="*/ 1728249 w 2873043"/>
                  <a:gd name="connsiteY0" fmla="*/ 5795 h 2481106"/>
                  <a:gd name="connsiteX1" fmla="*/ 504631 w 2873043"/>
                  <a:gd name="connsiteY1" fmla="*/ 1338353 h 2481106"/>
                  <a:gd name="connsiteX2" fmla="*/ 174419 w 2873043"/>
                  <a:gd name="connsiteY2" fmla="*/ 1516325 h 2481106"/>
                  <a:gd name="connsiteX3" fmla="*/ 142677 w 2873043"/>
                  <a:gd name="connsiteY3" fmla="*/ 1552227 h 2481106"/>
                  <a:gd name="connsiteX4" fmla="*/ 149919 w 2873043"/>
                  <a:gd name="connsiteY4" fmla="*/ 2304488 h 2481106"/>
                  <a:gd name="connsiteX5" fmla="*/ 149919 w 2873043"/>
                  <a:gd name="connsiteY5" fmla="*/ 2304488 h 2481106"/>
                  <a:gd name="connsiteX6" fmla="*/ 627594 w 2873043"/>
                  <a:gd name="connsiteY6" fmla="*/ 2476296 h 2481106"/>
                  <a:gd name="connsiteX7" fmla="*/ 2872974 w 2873043"/>
                  <a:gd name="connsiteY7" fmla="*/ -61 h 2481106"/>
                  <a:gd name="connsiteX8" fmla="*/ 2872974 w 2873043"/>
                  <a:gd name="connsiteY8" fmla="*/ -61 h 2481106"/>
                  <a:gd name="connsiteX9" fmla="*/ 1732718 w 2873043"/>
                  <a:gd name="connsiteY9" fmla="*/ 10880 h 2481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3043" h="2481106">
                    <a:moveTo>
                      <a:pt x="1728249" y="5795"/>
                    </a:moveTo>
                    <a:cubicBezTo>
                      <a:pt x="1679095" y="680133"/>
                      <a:pt x="1172344" y="1232000"/>
                      <a:pt x="504631" y="1338353"/>
                    </a:cubicBezTo>
                    <a:cubicBezTo>
                      <a:pt x="377369" y="1357953"/>
                      <a:pt x="260755" y="1420805"/>
                      <a:pt x="174419" y="1516325"/>
                    </a:cubicBezTo>
                    <a:lnTo>
                      <a:pt x="142677" y="1552227"/>
                    </a:lnTo>
                    <a:cubicBezTo>
                      <a:pt x="-50396" y="1766904"/>
                      <a:pt x="-47253" y="2093571"/>
                      <a:pt x="149919" y="2304488"/>
                    </a:cubicBezTo>
                    <a:lnTo>
                      <a:pt x="149919" y="2304488"/>
                    </a:lnTo>
                    <a:cubicBezTo>
                      <a:pt x="271957" y="2435679"/>
                      <a:pt x="449945" y="2499703"/>
                      <a:pt x="627594" y="2476296"/>
                    </a:cubicBezTo>
                    <a:cubicBezTo>
                      <a:pt x="1866004" y="2308956"/>
                      <a:pt x="2826285" y="1266701"/>
                      <a:pt x="2872974" y="-61"/>
                    </a:cubicBezTo>
                    <a:lnTo>
                      <a:pt x="2872974" y="-61"/>
                    </a:lnTo>
                    <a:cubicBezTo>
                      <a:pt x="2600237" y="411048"/>
                      <a:pt x="2006225" y="383928"/>
                      <a:pt x="1732718" y="10880"/>
                    </a:cubicBezTo>
                    <a:close/>
                  </a:path>
                </a:pathLst>
              </a:custGeom>
              <a:solidFill>
                <a:srgbClr val="F7C84F"/>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18" name="Freeform: Shape 17">
                <a:extLst>
                  <a:ext uri="{FF2B5EF4-FFF2-40B4-BE49-F238E27FC236}">
                    <a16:creationId xmlns:a16="http://schemas.microsoft.com/office/drawing/2014/main" id="{9D885BBD-147B-F963-EB91-710A7E55B0BB}"/>
                  </a:ext>
                </a:extLst>
              </p:cNvPr>
              <p:cNvSpPr/>
              <p:nvPr/>
            </p:nvSpPr>
            <p:spPr>
              <a:xfrm>
                <a:off x="5966401" y="5007029"/>
                <a:ext cx="812270" cy="812269"/>
              </a:xfrm>
              <a:custGeom>
                <a:avLst/>
                <a:gdLst>
                  <a:gd name="connsiteX0" fmla="*/ 902959 w 902959"/>
                  <a:gd name="connsiteY0" fmla="*/ 451480 h 902958"/>
                  <a:gd name="connsiteX1" fmla="*/ 451480 w 902959"/>
                  <a:gd name="connsiteY1" fmla="*/ 902959 h 902958"/>
                  <a:gd name="connsiteX2" fmla="*/ 0 w 902959"/>
                  <a:gd name="connsiteY2" fmla="*/ 451480 h 902958"/>
                  <a:gd name="connsiteX3" fmla="*/ 451480 w 902959"/>
                  <a:gd name="connsiteY3" fmla="*/ 0 h 902958"/>
                  <a:gd name="connsiteX4" fmla="*/ 902959 w 902959"/>
                  <a:gd name="connsiteY4" fmla="*/ 451480 h 902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8">
                    <a:moveTo>
                      <a:pt x="902959" y="451480"/>
                    </a:moveTo>
                    <a:cubicBezTo>
                      <a:pt x="902959" y="700825"/>
                      <a:pt x="700825" y="902959"/>
                      <a:pt x="451480" y="902959"/>
                    </a:cubicBezTo>
                    <a:cubicBezTo>
                      <a:pt x="202134" y="902959"/>
                      <a:pt x="0" y="700825"/>
                      <a:pt x="0" y="451480"/>
                    </a:cubicBezTo>
                    <a:cubicBezTo>
                      <a:pt x="0" y="202134"/>
                      <a:pt x="202134" y="0"/>
                      <a:pt x="451480" y="0"/>
                    </a:cubicBezTo>
                    <a:cubicBezTo>
                      <a:pt x="700825" y="0"/>
                      <a:pt x="902959" y="202134"/>
                      <a:pt x="902959" y="451480"/>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20" name="Freeform: Shape 19">
                <a:extLst>
                  <a:ext uri="{FF2B5EF4-FFF2-40B4-BE49-F238E27FC236}">
                    <a16:creationId xmlns:a16="http://schemas.microsoft.com/office/drawing/2014/main" id="{97A26069-93A6-E07F-25FE-8893DAF1B0AF}"/>
                  </a:ext>
                </a:extLst>
              </p:cNvPr>
              <p:cNvSpPr/>
              <p:nvPr/>
            </p:nvSpPr>
            <p:spPr>
              <a:xfrm>
                <a:off x="3777177" y="3348273"/>
                <a:ext cx="2231501" cy="2584549"/>
              </a:xfrm>
              <a:custGeom>
                <a:avLst/>
                <a:gdLst>
                  <a:gd name="connsiteX0" fmla="*/ 2474103 w 2480644"/>
                  <a:gd name="connsiteY0" fmla="*/ 1727710 h 2873110"/>
                  <a:gd name="connsiteX1" fmla="*/ 1141390 w 2480644"/>
                  <a:gd name="connsiteY1" fmla="*/ 504247 h 2873110"/>
                  <a:gd name="connsiteX2" fmla="*/ 963572 w 2480644"/>
                  <a:gd name="connsiteY2" fmla="*/ 173881 h 2873110"/>
                  <a:gd name="connsiteX3" fmla="*/ 928902 w 2480644"/>
                  <a:gd name="connsiteY3" fmla="*/ 142755 h 2873110"/>
                  <a:gd name="connsiteX4" fmla="*/ 176487 w 2480644"/>
                  <a:gd name="connsiteY4" fmla="*/ 149998 h 2873110"/>
                  <a:gd name="connsiteX5" fmla="*/ 176487 w 2480644"/>
                  <a:gd name="connsiteY5" fmla="*/ 149998 h 2873110"/>
                  <a:gd name="connsiteX6" fmla="*/ 4678 w 2480644"/>
                  <a:gd name="connsiteY6" fmla="*/ 627672 h 2873110"/>
                  <a:gd name="connsiteX7" fmla="*/ 2480575 w 2480644"/>
                  <a:gd name="connsiteY7" fmla="*/ 2873050 h 2873110"/>
                  <a:gd name="connsiteX8" fmla="*/ 2480575 w 2480644"/>
                  <a:gd name="connsiteY8" fmla="*/ 2873050 h 2873110"/>
                  <a:gd name="connsiteX9" fmla="*/ 2469635 w 2480644"/>
                  <a:gd name="connsiteY9" fmla="*/ 1732795 h 287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0644" h="2873110">
                    <a:moveTo>
                      <a:pt x="2474103" y="1727710"/>
                    </a:moveTo>
                    <a:cubicBezTo>
                      <a:pt x="1799750" y="1678633"/>
                      <a:pt x="1247820" y="1171959"/>
                      <a:pt x="1141390" y="504247"/>
                    </a:cubicBezTo>
                    <a:cubicBezTo>
                      <a:pt x="1121790" y="376985"/>
                      <a:pt x="1058999" y="260340"/>
                      <a:pt x="963572" y="173881"/>
                    </a:cubicBezTo>
                    <a:lnTo>
                      <a:pt x="928902" y="142755"/>
                    </a:lnTo>
                    <a:cubicBezTo>
                      <a:pt x="714210" y="-50410"/>
                      <a:pt x="387419" y="-47267"/>
                      <a:pt x="176487" y="149998"/>
                    </a:cubicBezTo>
                    <a:lnTo>
                      <a:pt x="176487" y="149998"/>
                    </a:lnTo>
                    <a:cubicBezTo>
                      <a:pt x="45295" y="272036"/>
                      <a:pt x="-18723" y="450023"/>
                      <a:pt x="4678" y="627672"/>
                    </a:cubicBezTo>
                    <a:cubicBezTo>
                      <a:pt x="171556" y="1866390"/>
                      <a:pt x="1213966" y="2826361"/>
                      <a:pt x="2480575" y="2873050"/>
                    </a:cubicBezTo>
                    <a:lnTo>
                      <a:pt x="2480575" y="2873050"/>
                    </a:lnTo>
                    <a:cubicBezTo>
                      <a:pt x="2095353" y="2700009"/>
                      <a:pt x="2013840" y="2006148"/>
                      <a:pt x="2469635" y="1732795"/>
                    </a:cubicBezTo>
                    <a:close/>
                  </a:path>
                </a:pathLst>
              </a:custGeom>
              <a:solidFill>
                <a:schemeClr val="accent2"/>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23" name="Freeform: Shape 22">
                <a:extLst>
                  <a:ext uri="{FF2B5EF4-FFF2-40B4-BE49-F238E27FC236}">
                    <a16:creationId xmlns:a16="http://schemas.microsoft.com/office/drawing/2014/main" id="{3CDD3D54-C492-F7CB-ACD4-266AF934EB71}"/>
                  </a:ext>
                </a:extLst>
              </p:cNvPr>
              <p:cNvSpPr/>
              <p:nvPr/>
            </p:nvSpPr>
            <p:spPr>
              <a:xfrm rot="20224201">
                <a:off x="3874982" y="3468791"/>
                <a:ext cx="812270" cy="812270"/>
              </a:xfrm>
              <a:custGeom>
                <a:avLst/>
                <a:gdLst>
                  <a:gd name="connsiteX0" fmla="*/ 902890 w 902959"/>
                  <a:gd name="connsiteY0" fmla="*/ 451419 h 902959"/>
                  <a:gd name="connsiteX1" fmla="*/ 451410 w 902959"/>
                  <a:gd name="connsiteY1" fmla="*/ 902898 h 902959"/>
                  <a:gd name="connsiteX2" fmla="*/ -70 w 902959"/>
                  <a:gd name="connsiteY2" fmla="*/ 451419 h 902959"/>
                  <a:gd name="connsiteX3" fmla="*/ 451410 w 902959"/>
                  <a:gd name="connsiteY3" fmla="*/ -61 h 902959"/>
                  <a:gd name="connsiteX4" fmla="*/ 902890 w 902959"/>
                  <a:gd name="connsiteY4" fmla="*/ 451419 h 902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59" h="902959">
                    <a:moveTo>
                      <a:pt x="902890" y="451419"/>
                    </a:moveTo>
                    <a:cubicBezTo>
                      <a:pt x="902890" y="700764"/>
                      <a:pt x="700756" y="902898"/>
                      <a:pt x="451410" y="902898"/>
                    </a:cubicBezTo>
                    <a:cubicBezTo>
                      <a:pt x="202065" y="902898"/>
                      <a:pt x="-70" y="700764"/>
                      <a:pt x="-70" y="451419"/>
                    </a:cubicBezTo>
                    <a:cubicBezTo>
                      <a:pt x="-70" y="202074"/>
                      <a:pt x="202065" y="-61"/>
                      <a:pt x="451410" y="-61"/>
                    </a:cubicBezTo>
                    <a:cubicBezTo>
                      <a:pt x="700756" y="-61"/>
                      <a:pt x="902890" y="202074"/>
                      <a:pt x="902890" y="451419"/>
                    </a:cubicBezTo>
                    <a:close/>
                  </a:path>
                </a:pathLst>
              </a:custGeom>
              <a:solidFill>
                <a:schemeClr val="bg1"/>
              </a:solidFill>
              <a:ln w="15409" cap="flat">
                <a:noFill/>
                <a:prstDash val="solid"/>
                <a:miter/>
              </a:ln>
              <a:effectLst>
                <a:outerShdw blurRad="63500" sx="102000" sy="102000" algn="ctr" rotWithShape="0">
                  <a:prstClr val="black">
                    <a:alpha val="15000"/>
                  </a:prstClr>
                </a:outerShdw>
              </a:effectLst>
            </p:spPr>
            <p:txBody>
              <a:bodyPr rtlCol="0" anchor="ctr"/>
              <a:lstStyle/>
              <a:p>
                <a:endParaRPr lang="en-IN"/>
              </a:p>
            </p:txBody>
          </p:sp>
          <p:sp>
            <p:nvSpPr>
              <p:cNvPr id="26" name="Rectangle 25">
                <a:extLst>
                  <a:ext uri="{FF2B5EF4-FFF2-40B4-BE49-F238E27FC236}">
                    <a16:creationId xmlns:a16="http://schemas.microsoft.com/office/drawing/2014/main" id="{8C0C1B83-C34E-2D7A-8CDE-4207B3A275AB}"/>
                  </a:ext>
                </a:extLst>
              </p:cNvPr>
              <p:cNvSpPr/>
              <p:nvPr/>
            </p:nvSpPr>
            <p:spPr>
              <a:xfrm>
                <a:off x="8732577" y="1858458"/>
                <a:ext cx="2418023" cy="1461939"/>
              </a:xfrm>
              <a:prstGeom prst="rect">
                <a:avLst/>
              </a:prstGeom>
            </p:spPr>
            <p:txBody>
              <a:bodyPr wrap="square" lIns="91440" tIns="45720" rIns="91440" bIns="45720" anchor="t">
                <a:spAutoFit/>
              </a:bodyPr>
              <a:lstStyle/>
              <a:p>
                <a:pPr marL="285750" indent="-285750">
                  <a:spcBef>
                    <a:spcPts val="600"/>
                  </a:spcBef>
                  <a:buFont typeface="Arial"/>
                  <a:buChar char="•"/>
                </a:pPr>
                <a:r>
                  <a:rPr lang="en-US" sz="1200">
                    <a:solidFill>
                      <a:schemeClr val="tx1">
                        <a:lumMod val="75000"/>
                        <a:lumOff val="25000"/>
                      </a:schemeClr>
                    </a:solidFill>
                    <a:latin typeface="Verdana Pro"/>
                    <a:ea typeface="+mn-lt"/>
                    <a:cs typeface="+mn-lt"/>
                  </a:rPr>
                  <a:t>Log  Analysis to recognize </a:t>
                </a:r>
                <a:r>
                  <a:rPr lang="en-US" sz="1200" b="1">
                    <a:solidFill>
                      <a:schemeClr val="tx1">
                        <a:lumMod val="75000"/>
                        <a:lumOff val="25000"/>
                      </a:schemeClr>
                    </a:solidFill>
                    <a:latin typeface="Verdana Pro"/>
                    <a:ea typeface="+mn-lt"/>
                    <a:cs typeface="+mn-lt"/>
                  </a:rPr>
                  <a:t>entities </a:t>
                </a:r>
                <a:r>
                  <a:rPr lang="en-US" sz="1200">
                    <a:solidFill>
                      <a:schemeClr val="tx1">
                        <a:lumMod val="75000"/>
                        <a:lumOff val="25000"/>
                      </a:schemeClr>
                    </a:solidFill>
                    <a:latin typeface="Verdana Pro"/>
                    <a:ea typeface="+mn-lt"/>
                    <a:cs typeface="+mn-lt"/>
                  </a:rPr>
                  <a:t>especially </a:t>
                </a:r>
                <a:r>
                  <a:rPr lang="en-US" sz="1200" b="1">
                    <a:solidFill>
                      <a:schemeClr val="tx1">
                        <a:lumMod val="75000"/>
                        <a:lumOff val="25000"/>
                      </a:schemeClr>
                    </a:solidFill>
                    <a:latin typeface="Verdana Pro"/>
                    <a:ea typeface="+mn-lt"/>
                    <a:cs typeface="+mn-lt"/>
                  </a:rPr>
                  <a:t>user info</a:t>
                </a:r>
              </a:p>
              <a:p>
                <a:pPr marL="285750" indent="-285750">
                  <a:spcBef>
                    <a:spcPts val="600"/>
                  </a:spcBef>
                  <a:buFont typeface="Arial"/>
                  <a:buChar char="•"/>
                </a:pPr>
                <a:r>
                  <a:rPr lang="en-US" sz="1200">
                    <a:solidFill>
                      <a:schemeClr val="tx1">
                        <a:lumMod val="75000"/>
                        <a:lumOff val="25000"/>
                      </a:schemeClr>
                    </a:solidFill>
                    <a:ea typeface="+mn-lt"/>
                    <a:cs typeface="+mn-lt"/>
                  </a:rPr>
                  <a:t>Use </a:t>
                </a:r>
                <a:r>
                  <a:rPr lang="en-US" sz="1200" b="1">
                    <a:solidFill>
                      <a:schemeClr val="tx1">
                        <a:lumMod val="75000"/>
                        <a:lumOff val="25000"/>
                      </a:schemeClr>
                    </a:solidFill>
                    <a:ea typeface="+mn-lt"/>
                    <a:cs typeface="+mn-lt"/>
                  </a:rPr>
                  <a:t>Automatic Grouping</a:t>
                </a:r>
                <a:r>
                  <a:rPr lang="en-US" sz="1200">
                    <a:solidFill>
                      <a:schemeClr val="tx1">
                        <a:lumMod val="75000"/>
                        <a:lumOff val="25000"/>
                      </a:schemeClr>
                    </a:solidFill>
                    <a:ea typeface="+mn-lt"/>
                    <a:cs typeface="+mn-lt"/>
                  </a:rPr>
                  <a:t> by user email to track logs even when user info is limited.</a:t>
                </a:r>
              </a:p>
            </p:txBody>
          </p:sp>
          <p:pic>
            <p:nvPicPr>
              <p:cNvPr id="27" name="Picture 26">
                <a:extLst>
                  <a:ext uri="{FF2B5EF4-FFF2-40B4-BE49-F238E27FC236}">
                    <a16:creationId xmlns:a16="http://schemas.microsoft.com/office/drawing/2014/main" id="{D6AA7B1A-4E4B-3FE0-A43B-733A49B87E7B}"/>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576478" y="1540459"/>
                <a:ext cx="485988" cy="485986"/>
              </a:xfrm>
              <a:prstGeom prst="rect">
                <a:avLst/>
              </a:prstGeom>
            </p:spPr>
          </p:pic>
          <p:sp>
            <p:nvSpPr>
              <p:cNvPr id="28" name="Rectangle 27">
                <a:extLst>
                  <a:ext uri="{FF2B5EF4-FFF2-40B4-BE49-F238E27FC236}">
                    <a16:creationId xmlns:a16="http://schemas.microsoft.com/office/drawing/2014/main" id="{CB9586E9-8D65-F885-A1ED-2F81FC49FBBC}"/>
                  </a:ext>
                </a:extLst>
              </p:cNvPr>
              <p:cNvSpPr/>
              <p:nvPr/>
            </p:nvSpPr>
            <p:spPr>
              <a:xfrm>
                <a:off x="4172200" y="1972563"/>
                <a:ext cx="1379050" cy="830997"/>
              </a:xfrm>
              <a:prstGeom prst="rect">
                <a:avLst/>
              </a:prstGeom>
            </p:spPr>
            <p:txBody>
              <a:bodyPr wrap="square" lIns="91440" tIns="45720" rIns="91440" bIns="45720" anchor="t">
                <a:spAutoFit/>
              </a:bodyPr>
              <a:lstStyle/>
              <a:p>
                <a:pPr algn="ctr"/>
                <a:r>
                  <a:rPr lang="en-US" sz="1600" b="1">
                    <a:solidFill>
                      <a:schemeClr val="bg1"/>
                    </a:solidFill>
                    <a:latin typeface="Lora"/>
                  </a:rPr>
                  <a:t>Data Dog</a:t>
                </a:r>
                <a:endParaRPr lang="en-US" sz="1600">
                  <a:solidFill>
                    <a:schemeClr val="bg1"/>
                  </a:solidFill>
                  <a:cs typeface="Arial"/>
                </a:endParaRPr>
              </a:p>
              <a:p>
                <a:pPr algn="ctr"/>
                <a:r>
                  <a:rPr lang="en-US" sz="1600" b="1">
                    <a:solidFill>
                      <a:schemeClr val="bg1"/>
                    </a:solidFill>
                    <a:latin typeface="Lora"/>
                  </a:rPr>
                  <a:t>Limitation </a:t>
                </a:r>
                <a:endParaRPr lang="en-US" sz="1600">
                  <a:solidFill>
                    <a:schemeClr val="bg1"/>
                  </a:solidFill>
                  <a:cs typeface="Arial"/>
                </a:endParaRPr>
              </a:p>
              <a:p>
                <a:pPr algn="ctr"/>
                <a:endParaRPr lang="en-US" sz="1600" b="1">
                  <a:solidFill>
                    <a:schemeClr val="bg1"/>
                  </a:solidFill>
                  <a:latin typeface="Lora" pitchFamily="2" charset="0"/>
                </a:endParaRPr>
              </a:p>
            </p:txBody>
          </p:sp>
          <p:pic>
            <p:nvPicPr>
              <p:cNvPr id="29" name="Picture 28">
                <a:extLst>
                  <a:ext uri="{FF2B5EF4-FFF2-40B4-BE49-F238E27FC236}">
                    <a16:creationId xmlns:a16="http://schemas.microsoft.com/office/drawing/2014/main" id="{C33B1C3A-4E84-EF2A-F618-EA3F8244E183}"/>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128505" y="5169132"/>
                <a:ext cx="488062" cy="488062"/>
              </a:xfrm>
              <a:prstGeom prst="rect">
                <a:avLst/>
              </a:prstGeom>
            </p:spPr>
          </p:pic>
          <p:sp>
            <p:nvSpPr>
              <p:cNvPr id="30" name="Rectangle 29">
                <a:extLst>
                  <a:ext uri="{FF2B5EF4-FFF2-40B4-BE49-F238E27FC236}">
                    <a16:creationId xmlns:a16="http://schemas.microsoft.com/office/drawing/2014/main" id="{60A2BDFC-F9FF-969D-7066-07D1C6DC9A8C}"/>
                  </a:ext>
                </a:extLst>
              </p:cNvPr>
              <p:cNvSpPr/>
              <p:nvPr/>
            </p:nvSpPr>
            <p:spPr>
              <a:xfrm>
                <a:off x="8718071" y="4464264"/>
                <a:ext cx="3006036" cy="907941"/>
              </a:xfrm>
              <a:prstGeom prst="rect">
                <a:avLst/>
              </a:prstGeom>
            </p:spPr>
            <p:txBody>
              <a:bodyPr wrap="square" lIns="91440" tIns="45720" rIns="91440" bIns="45720" anchor="t">
                <a:spAutoFit/>
              </a:bodyPr>
              <a:lstStyle/>
              <a:p>
                <a:pPr marL="285750" indent="-285750">
                  <a:spcBef>
                    <a:spcPts val="600"/>
                  </a:spcBef>
                  <a:buFont typeface="Arial"/>
                  <a:buChar char="•"/>
                </a:pPr>
                <a:r>
                  <a:rPr lang="en-US" sz="1200">
                    <a:solidFill>
                      <a:schemeClr val="tx1">
                        <a:lumMod val="75000"/>
                        <a:lumOff val="25000"/>
                      </a:schemeClr>
                    </a:solidFill>
                    <a:ea typeface="+mn-lt"/>
                    <a:cs typeface="+mn-lt"/>
                  </a:rPr>
                  <a:t>Provides insights into users’ common actions and reports</a:t>
                </a:r>
                <a:endParaRPr lang="en-US">
                  <a:solidFill>
                    <a:schemeClr val="tx1">
                      <a:lumMod val="75000"/>
                      <a:lumOff val="25000"/>
                    </a:schemeClr>
                  </a:solidFill>
                </a:endParaRPr>
              </a:p>
              <a:p>
                <a:pPr marL="285750" indent="-285750">
                  <a:spcBef>
                    <a:spcPts val="600"/>
                  </a:spcBef>
                  <a:buFont typeface="Arial"/>
                  <a:buChar char="•"/>
                </a:pPr>
                <a:r>
                  <a:rPr lang="en-US" sz="1200">
                    <a:solidFill>
                      <a:schemeClr val="tx1">
                        <a:lumMod val="75000"/>
                        <a:lumOff val="25000"/>
                      </a:schemeClr>
                    </a:solidFill>
                    <a:ea typeface="+mn-lt"/>
                    <a:cs typeface="+mn-lt"/>
                  </a:rPr>
                  <a:t>Enables log tracking across services </a:t>
                </a:r>
                <a:r>
                  <a:rPr lang="en-US" sz="1200" b="0" i="0">
                    <a:solidFill>
                      <a:schemeClr val="tx1">
                        <a:lumMod val="75000"/>
                        <a:lumOff val="25000"/>
                      </a:schemeClr>
                    </a:solidFill>
                    <a:effectLst/>
                    <a:ea typeface="+mn-lt"/>
                    <a:cs typeface="+mn-lt"/>
                  </a:rPr>
                  <a:t>for</a:t>
                </a:r>
                <a:r>
                  <a:rPr lang="en-US" sz="1200">
                    <a:solidFill>
                      <a:schemeClr val="tx1">
                        <a:lumMod val="75000"/>
                        <a:lumOff val="25000"/>
                      </a:schemeClr>
                    </a:solidFill>
                    <a:ea typeface="+mn-lt"/>
                    <a:cs typeface="+mn-lt"/>
                  </a:rPr>
                  <a:t> individual users</a:t>
                </a:r>
                <a:endParaRPr lang="en-US" sz="1200">
                  <a:solidFill>
                    <a:schemeClr val="tx1">
                      <a:lumMod val="75000"/>
                      <a:lumOff val="25000"/>
                    </a:schemeClr>
                  </a:solidFill>
                  <a:latin typeface="Verdana Pro"/>
                  <a:cs typeface="Arial"/>
                </a:endParaRPr>
              </a:p>
            </p:txBody>
          </p:sp>
          <p:sp>
            <p:nvSpPr>
              <p:cNvPr id="31" name="Rectangle 30">
                <a:extLst>
                  <a:ext uri="{FF2B5EF4-FFF2-40B4-BE49-F238E27FC236}">
                    <a16:creationId xmlns:a16="http://schemas.microsoft.com/office/drawing/2014/main" id="{C955208D-028A-8B31-86E0-AB9FE62D2F05}"/>
                  </a:ext>
                </a:extLst>
              </p:cNvPr>
              <p:cNvSpPr/>
              <p:nvPr/>
            </p:nvSpPr>
            <p:spPr>
              <a:xfrm>
                <a:off x="616226" y="4077898"/>
                <a:ext cx="2948237" cy="907941"/>
              </a:xfrm>
              <a:prstGeom prst="rect">
                <a:avLst/>
              </a:prstGeom>
            </p:spPr>
            <p:txBody>
              <a:bodyPr wrap="square" lIns="91440" tIns="45720" rIns="91440" bIns="45720" anchor="t">
                <a:spAutoFit/>
              </a:bodyPr>
              <a:lstStyle/>
              <a:p>
                <a:pPr>
                  <a:spcBef>
                    <a:spcPts val="600"/>
                  </a:spcBef>
                </a:pPr>
                <a:r>
                  <a:rPr lang="en-US" sz="1200" b="1">
                    <a:solidFill>
                      <a:schemeClr val="tx1">
                        <a:lumMod val="75000"/>
                        <a:lumOff val="25000"/>
                      </a:schemeClr>
                    </a:solidFill>
                    <a:latin typeface="Verdana Pro"/>
                    <a:ea typeface="+mn-lt"/>
                    <a:cs typeface="+mn-lt"/>
                  </a:rPr>
                  <a:t>Azure Cognitive Services</a:t>
                </a:r>
              </a:p>
              <a:p>
                <a:pPr marL="285750" indent="-285750">
                  <a:spcBef>
                    <a:spcPts val="600"/>
                  </a:spcBef>
                  <a:buFont typeface="Arial"/>
                  <a:buChar char="•"/>
                </a:pPr>
                <a:r>
                  <a:rPr lang="en-US" sz="1200">
                    <a:solidFill>
                      <a:schemeClr val="tx1">
                        <a:lumMod val="75000"/>
                        <a:lumOff val="25000"/>
                      </a:schemeClr>
                    </a:solidFill>
                    <a:ea typeface="+mn-lt"/>
                    <a:cs typeface="+mn-lt"/>
                  </a:rPr>
                  <a:t>Azure Cognitive Services groups logs based on user email, enabling better tracking across services.</a:t>
                </a:r>
              </a:p>
            </p:txBody>
          </p:sp>
          <p:pic>
            <p:nvPicPr>
              <p:cNvPr id="32" name="Picture 31">
                <a:extLst>
                  <a:ext uri="{FF2B5EF4-FFF2-40B4-BE49-F238E27FC236}">
                    <a16:creationId xmlns:a16="http://schemas.microsoft.com/office/drawing/2014/main" id="{1892FBDD-8899-DAEC-9D04-10A8306A119B}"/>
                  </a:ext>
                </a:extLst>
              </p:cNvPr>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660191" y="3071106"/>
                <a:ext cx="501340" cy="501338"/>
              </a:xfrm>
              <a:prstGeom prst="rect">
                <a:avLst/>
              </a:prstGeom>
            </p:spPr>
          </p:pic>
          <p:pic>
            <p:nvPicPr>
              <p:cNvPr id="33" name="Picture 32">
                <a:extLst>
                  <a:ext uri="{FF2B5EF4-FFF2-40B4-BE49-F238E27FC236}">
                    <a16:creationId xmlns:a16="http://schemas.microsoft.com/office/drawing/2014/main" id="{C8B122D2-D20F-FF87-2340-766988ECF62F}"/>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079672" y="3673482"/>
                <a:ext cx="402890" cy="402888"/>
              </a:xfrm>
              <a:prstGeom prst="rect">
                <a:avLst/>
              </a:prstGeom>
            </p:spPr>
          </p:pic>
          <p:sp>
            <p:nvSpPr>
              <p:cNvPr id="35" name="TextBox 34">
                <a:extLst>
                  <a:ext uri="{FF2B5EF4-FFF2-40B4-BE49-F238E27FC236}">
                    <a16:creationId xmlns:a16="http://schemas.microsoft.com/office/drawing/2014/main" id="{8A58E8A2-5C40-1001-EFC1-3B96CA6E39E7}"/>
                  </a:ext>
                </a:extLst>
              </p:cNvPr>
              <p:cNvSpPr txBox="1"/>
              <p:nvPr/>
            </p:nvSpPr>
            <p:spPr>
              <a:xfrm>
                <a:off x="620615" y="1878511"/>
                <a:ext cx="2908896" cy="907941"/>
              </a:xfrm>
              <a:prstGeom prst="rect">
                <a:avLst/>
              </a:prstGeom>
              <a:noFill/>
            </p:spPr>
            <p:txBody>
              <a:bodyPr wrap="square" lIns="91440" tIns="45720" rIns="91440" bIns="45720" anchor="t">
                <a:spAutoFit/>
              </a:bodyPr>
              <a:lstStyle/>
              <a:p>
                <a:pPr marL="171450" indent="-171450">
                  <a:spcBef>
                    <a:spcPts val="600"/>
                  </a:spcBef>
                  <a:buFont typeface="Arial"/>
                  <a:buChar char="•"/>
                </a:pPr>
                <a:r>
                  <a:rPr lang="en-US" sz="1200">
                    <a:solidFill>
                      <a:schemeClr val="tx1">
                        <a:lumMod val="75000"/>
                        <a:lumOff val="25000"/>
                      </a:schemeClr>
                    </a:solidFill>
                    <a:ea typeface="+mn-lt"/>
                    <a:cs typeface="+mn-lt"/>
                  </a:rPr>
                  <a:t>Grouping logs by user email across services is not possible in Datadog</a:t>
                </a:r>
                <a:endParaRPr lang="en-US" sz="1200">
                  <a:solidFill>
                    <a:schemeClr val="tx1">
                      <a:lumMod val="75000"/>
                      <a:lumOff val="25000"/>
                    </a:schemeClr>
                  </a:solidFill>
                  <a:cs typeface="Arial"/>
                </a:endParaRPr>
              </a:p>
              <a:p>
                <a:pPr marL="171450" indent="-171450">
                  <a:spcBef>
                    <a:spcPts val="600"/>
                  </a:spcBef>
                  <a:buFont typeface="Arial"/>
                  <a:buChar char="•"/>
                </a:pPr>
                <a:r>
                  <a:rPr lang="en-US" sz="1200">
                    <a:solidFill>
                      <a:schemeClr val="tx1">
                        <a:lumMod val="75000"/>
                        <a:lumOff val="25000"/>
                      </a:schemeClr>
                    </a:solidFill>
                    <a:ea typeface="+mn-lt"/>
                    <a:cs typeface="+mn-lt"/>
                  </a:rPr>
                  <a:t>It relies on transaction IDs, and few logs contain user email information.</a:t>
                </a:r>
                <a:endParaRPr lang="en-US" sz="1200">
                  <a:solidFill>
                    <a:schemeClr val="tx1">
                      <a:lumMod val="75000"/>
                      <a:lumOff val="25000"/>
                    </a:schemeClr>
                  </a:solidFill>
                </a:endParaRPr>
              </a:p>
            </p:txBody>
          </p:sp>
          <p:sp>
            <p:nvSpPr>
              <p:cNvPr id="36" name="Rectangle 35">
                <a:extLst>
                  <a:ext uri="{FF2B5EF4-FFF2-40B4-BE49-F238E27FC236}">
                    <a16:creationId xmlns:a16="http://schemas.microsoft.com/office/drawing/2014/main" id="{B5D674C2-2687-08CC-E2AC-51F9698EDB02}"/>
                  </a:ext>
                </a:extLst>
              </p:cNvPr>
              <p:cNvSpPr/>
              <p:nvPr/>
            </p:nvSpPr>
            <p:spPr>
              <a:xfrm>
                <a:off x="6842171" y="2265640"/>
                <a:ext cx="1203204" cy="369332"/>
              </a:xfrm>
              <a:prstGeom prst="rect">
                <a:avLst/>
              </a:prstGeom>
            </p:spPr>
            <p:txBody>
              <a:bodyPr wrap="square" lIns="91440" tIns="45720" rIns="91440" bIns="45720" anchor="t">
                <a:spAutoFit/>
              </a:bodyPr>
              <a:lstStyle/>
              <a:p>
                <a:pPr algn="ctr"/>
                <a:r>
                  <a:rPr lang="en-US">
                    <a:solidFill>
                      <a:schemeClr val="bg1"/>
                    </a:solidFill>
                    <a:ea typeface="+mn-lt"/>
                    <a:cs typeface="+mn-lt"/>
                  </a:rPr>
                  <a:t>Approach</a:t>
                </a:r>
                <a:endParaRPr lang="en-US"/>
              </a:p>
            </p:txBody>
          </p:sp>
          <p:sp>
            <p:nvSpPr>
              <p:cNvPr id="37" name="Rectangle 36">
                <a:extLst>
                  <a:ext uri="{FF2B5EF4-FFF2-40B4-BE49-F238E27FC236}">
                    <a16:creationId xmlns:a16="http://schemas.microsoft.com/office/drawing/2014/main" id="{8BCBB331-C2B0-C85D-0001-B82F47BD578D}"/>
                  </a:ext>
                </a:extLst>
              </p:cNvPr>
              <p:cNvSpPr/>
              <p:nvPr/>
            </p:nvSpPr>
            <p:spPr>
              <a:xfrm>
                <a:off x="4163625" y="4665610"/>
                <a:ext cx="1203204" cy="369332"/>
              </a:xfrm>
              <a:prstGeom prst="rect">
                <a:avLst/>
              </a:prstGeom>
            </p:spPr>
            <p:txBody>
              <a:bodyPr wrap="square" lIns="91440" tIns="45720" rIns="91440" bIns="45720" anchor="t">
                <a:spAutoFit/>
              </a:bodyPr>
              <a:lstStyle/>
              <a:p>
                <a:pPr algn="ctr"/>
                <a:r>
                  <a:rPr lang="en-US">
                    <a:solidFill>
                      <a:schemeClr val="bg1"/>
                    </a:solidFill>
                    <a:ea typeface="+mn-lt"/>
                    <a:cs typeface="+mn-lt"/>
                  </a:rPr>
                  <a:t>Solution</a:t>
                </a:r>
                <a:endParaRPr lang="en-US"/>
              </a:p>
            </p:txBody>
          </p:sp>
          <p:sp>
            <p:nvSpPr>
              <p:cNvPr id="38" name="Rectangle 37">
                <a:extLst>
                  <a:ext uri="{FF2B5EF4-FFF2-40B4-BE49-F238E27FC236}">
                    <a16:creationId xmlns:a16="http://schemas.microsoft.com/office/drawing/2014/main" id="{96C6F4A1-274E-D656-91C0-BD3BEC50B8A9}"/>
                  </a:ext>
                </a:extLst>
              </p:cNvPr>
              <p:cNvSpPr/>
              <p:nvPr/>
            </p:nvSpPr>
            <p:spPr>
              <a:xfrm>
                <a:off x="6842171" y="4665610"/>
                <a:ext cx="1203204" cy="369332"/>
              </a:xfrm>
              <a:prstGeom prst="rect">
                <a:avLst/>
              </a:prstGeom>
            </p:spPr>
            <p:txBody>
              <a:bodyPr wrap="square" lIns="91440" tIns="45720" rIns="91440" bIns="45720" anchor="t">
                <a:spAutoFit/>
              </a:bodyPr>
              <a:lstStyle/>
              <a:p>
                <a:pPr algn="ctr"/>
                <a:r>
                  <a:rPr lang="en-US">
                    <a:solidFill>
                      <a:schemeClr val="bg1"/>
                    </a:solidFill>
                    <a:ea typeface="+mn-lt"/>
                    <a:cs typeface="+mn-lt"/>
                  </a:rPr>
                  <a:t>Benefits</a:t>
                </a:r>
                <a:endParaRPr lang="en-US"/>
              </a:p>
            </p:txBody>
          </p:sp>
        </p:grpSp>
        <p:pic>
          <p:nvPicPr>
            <p:cNvPr id="3" name="Picture 2">
              <a:extLst>
                <a:ext uri="{FF2B5EF4-FFF2-40B4-BE49-F238E27FC236}">
                  <a16:creationId xmlns:a16="http://schemas.microsoft.com/office/drawing/2014/main" id="{AEFF7D8C-92D6-D295-B6BC-4B439C8BE656}"/>
                </a:ext>
              </a:extLst>
            </p:cNvPr>
            <p:cNvPicPr>
              <a:picLocks noChangeAspect="1"/>
            </p:cNvPicPr>
            <p:nvPr/>
          </p:nvPicPr>
          <p:blipFill>
            <a:blip r:embed="rId10"/>
            <a:stretch>
              <a:fillRect/>
            </a:stretch>
          </p:blipFill>
          <p:spPr>
            <a:xfrm>
              <a:off x="5303623" y="3097247"/>
              <a:ext cx="1620486" cy="1620486"/>
            </a:xfrm>
            <a:prstGeom prst="rect">
              <a:avLst/>
            </a:prstGeom>
          </p:spPr>
        </p:pic>
      </p:grpSp>
      <p:sp>
        <p:nvSpPr>
          <p:cNvPr id="5" name="TextBox 4">
            <a:extLst>
              <a:ext uri="{FF2B5EF4-FFF2-40B4-BE49-F238E27FC236}">
                <a16:creationId xmlns:a16="http://schemas.microsoft.com/office/drawing/2014/main" id="{216A38B9-872B-E45F-5D50-1619F83F23CB}"/>
              </a:ext>
            </a:extLst>
          </p:cNvPr>
          <p:cNvSpPr txBox="1"/>
          <p:nvPr/>
        </p:nvSpPr>
        <p:spPr>
          <a:xfrm>
            <a:off x="487179" y="543118"/>
            <a:ext cx="9843542" cy="1292662"/>
          </a:xfrm>
          <a:prstGeom prst="rect">
            <a:avLst/>
          </a:prstGeom>
          <a:noFill/>
        </p:spPr>
        <p:txBody>
          <a:bodyPr wrap="square" lIns="91440" tIns="45720" rIns="91440" bIns="45720" anchor="t">
            <a:spAutoFit/>
          </a:bodyPr>
          <a:lstStyle/>
          <a:p>
            <a:r>
              <a:rPr lang="en-US" sz="2600" b="1">
                <a:solidFill>
                  <a:schemeClr val="tx1">
                    <a:lumMod val="75000"/>
                    <a:lumOff val="25000"/>
                  </a:schemeClr>
                </a:solidFill>
                <a:latin typeface="Montserrat"/>
              </a:rPr>
              <a:t>User Behavior Analytics</a:t>
            </a:r>
            <a:r>
              <a:rPr lang="en-US" sz="2600" b="1">
                <a:solidFill>
                  <a:schemeClr val="tx1">
                    <a:lumMod val="75000"/>
                    <a:lumOff val="25000"/>
                  </a:schemeClr>
                </a:solidFill>
                <a:highlight>
                  <a:srgbClr val="FFFF00"/>
                </a:highlight>
                <a:latin typeface="Montserrat"/>
              </a:rPr>
              <a:t> – Make the diagram in center small and bring the relevant dashboard in slide9 here . So that you explain and show the graph</a:t>
            </a:r>
            <a:endParaRPr lang="en-US" sz="2600">
              <a:solidFill>
                <a:schemeClr val="tx1">
                  <a:lumMod val="75000"/>
                  <a:lumOff val="25000"/>
                </a:schemeClr>
              </a:solidFill>
              <a:latin typeface="Montserrat"/>
            </a:endParaRPr>
          </a:p>
        </p:txBody>
      </p:sp>
      <p:cxnSp>
        <p:nvCxnSpPr>
          <p:cNvPr id="10" name="Straight Connector 9">
            <a:extLst>
              <a:ext uri="{FF2B5EF4-FFF2-40B4-BE49-F238E27FC236}">
                <a16:creationId xmlns:a16="http://schemas.microsoft.com/office/drawing/2014/main" id="{01E76F1F-250A-088D-7ACC-9178E1B02C22}"/>
              </a:ext>
              <a:ext uri="{C183D7F6-B498-43B3-948B-1728B52AA6E4}">
                <adec:decorative xmlns:adec="http://schemas.microsoft.com/office/drawing/2017/decorative" val="1"/>
              </a:ext>
            </a:extLst>
          </p:cNvPr>
          <p:cNvCxnSpPr>
            <a:cxnSpLocks/>
          </p:cNvCxnSpPr>
          <p:nvPr/>
        </p:nvCxnSpPr>
        <p:spPr>
          <a:xfrm>
            <a:off x="488191" y="1088493"/>
            <a:ext cx="10761492"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35697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16A38B9-872B-E45F-5D50-1619F83F23CB}"/>
              </a:ext>
            </a:extLst>
          </p:cNvPr>
          <p:cNvSpPr txBox="1"/>
          <p:nvPr/>
        </p:nvSpPr>
        <p:spPr>
          <a:xfrm>
            <a:off x="487179" y="543118"/>
            <a:ext cx="9843542" cy="892552"/>
          </a:xfrm>
          <a:prstGeom prst="rect">
            <a:avLst/>
          </a:prstGeom>
          <a:noFill/>
        </p:spPr>
        <p:txBody>
          <a:bodyPr wrap="square" lIns="91440" tIns="45720" rIns="91440" bIns="45720" anchor="t">
            <a:spAutoFit/>
          </a:bodyPr>
          <a:lstStyle/>
          <a:p>
            <a:r>
              <a:rPr lang="en-US" sz="2600" b="1">
                <a:solidFill>
                  <a:schemeClr val="tx1">
                    <a:lumMod val="75000"/>
                    <a:lumOff val="25000"/>
                  </a:schemeClr>
                </a:solidFill>
                <a:latin typeface="Montserrat"/>
              </a:rPr>
              <a:t>Azure Monitor – Dashboard : User Behavior Analytics</a:t>
            </a:r>
          </a:p>
          <a:p>
            <a:endParaRPr lang="en-US" sz="2600" b="1">
              <a:solidFill>
                <a:schemeClr val="tx1">
                  <a:lumMod val="75000"/>
                  <a:lumOff val="25000"/>
                </a:schemeClr>
              </a:solidFill>
              <a:latin typeface="Montserrat"/>
            </a:endParaRPr>
          </a:p>
        </p:txBody>
      </p:sp>
      <p:cxnSp>
        <p:nvCxnSpPr>
          <p:cNvPr id="10" name="Straight Connector 9">
            <a:extLst>
              <a:ext uri="{FF2B5EF4-FFF2-40B4-BE49-F238E27FC236}">
                <a16:creationId xmlns:a16="http://schemas.microsoft.com/office/drawing/2014/main" id="{01E76F1F-250A-088D-7ACC-9178E1B02C22}"/>
              </a:ext>
              <a:ext uri="{C183D7F6-B498-43B3-948B-1728B52AA6E4}">
                <adec:decorative xmlns:adec="http://schemas.microsoft.com/office/drawing/2017/decorative" val="1"/>
              </a:ext>
            </a:extLst>
          </p:cNvPr>
          <p:cNvCxnSpPr>
            <a:cxnSpLocks/>
          </p:cNvCxnSpPr>
          <p:nvPr/>
        </p:nvCxnSpPr>
        <p:spPr>
          <a:xfrm>
            <a:off x="488191" y="1088493"/>
            <a:ext cx="10761492"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pic>
        <p:nvPicPr>
          <p:cNvPr id="3" name="Picture 2" descr="A screenshot of a computer&#10;&#10;Description automatically generated">
            <a:extLst>
              <a:ext uri="{FF2B5EF4-FFF2-40B4-BE49-F238E27FC236}">
                <a16:creationId xmlns:a16="http://schemas.microsoft.com/office/drawing/2014/main" id="{CB5628C0-E4B4-3A0E-D9BB-5B969B3317A9}"/>
              </a:ext>
            </a:extLst>
          </p:cNvPr>
          <p:cNvPicPr>
            <a:picLocks noChangeAspect="1"/>
          </p:cNvPicPr>
          <p:nvPr/>
        </p:nvPicPr>
        <p:blipFill>
          <a:blip r:embed="rId2"/>
          <a:stretch>
            <a:fillRect/>
          </a:stretch>
        </p:blipFill>
        <p:spPr>
          <a:xfrm>
            <a:off x="736175" y="1272153"/>
            <a:ext cx="9848273" cy="2555750"/>
          </a:xfrm>
          <a:prstGeom prst="rect">
            <a:avLst/>
          </a:prstGeom>
        </p:spPr>
      </p:pic>
      <p:pic>
        <p:nvPicPr>
          <p:cNvPr id="6" name="Picture 5" descr="A screenshot of a computer&#10;&#10;Description automatically generated">
            <a:extLst>
              <a:ext uri="{FF2B5EF4-FFF2-40B4-BE49-F238E27FC236}">
                <a16:creationId xmlns:a16="http://schemas.microsoft.com/office/drawing/2014/main" id="{E7EBFE9B-7D50-691A-B465-73B66376A1DE}"/>
              </a:ext>
            </a:extLst>
          </p:cNvPr>
          <p:cNvPicPr>
            <a:picLocks noChangeAspect="1"/>
          </p:cNvPicPr>
          <p:nvPr/>
        </p:nvPicPr>
        <p:blipFill>
          <a:blip r:embed="rId3"/>
          <a:stretch>
            <a:fillRect/>
          </a:stretch>
        </p:blipFill>
        <p:spPr>
          <a:xfrm>
            <a:off x="1050636" y="3827850"/>
            <a:ext cx="9744364" cy="2492754"/>
          </a:xfrm>
          <a:prstGeom prst="rect">
            <a:avLst/>
          </a:prstGeom>
        </p:spPr>
      </p:pic>
    </p:spTree>
    <p:extLst>
      <p:ext uri="{BB962C8B-B14F-4D97-AF65-F5344CB8AC3E}">
        <p14:creationId xmlns:p14="http://schemas.microsoft.com/office/powerpoint/2010/main" val="29261817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7B1A019-C14B-DBFC-1DBE-1935FF84F3C8}"/>
              </a:ext>
            </a:extLst>
          </p:cNvPr>
          <p:cNvSpPr txBox="1"/>
          <p:nvPr/>
        </p:nvSpPr>
        <p:spPr>
          <a:xfrm>
            <a:off x="497477" y="543119"/>
            <a:ext cx="9853839" cy="892552"/>
          </a:xfrm>
          <a:prstGeom prst="rect">
            <a:avLst/>
          </a:prstGeom>
          <a:noFill/>
        </p:spPr>
        <p:txBody>
          <a:bodyPr wrap="square" lIns="91440" tIns="45720" rIns="91440" bIns="45720" anchor="t">
            <a:spAutoFit/>
          </a:bodyPr>
          <a:lstStyle/>
          <a:p>
            <a:r>
              <a:rPr lang="en-US" sz="2600" b="1">
                <a:solidFill>
                  <a:schemeClr val="tx1">
                    <a:lumMod val="75000"/>
                    <a:lumOff val="25000"/>
                  </a:schemeClr>
                </a:solidFill>
                <a:latin typeface="Montserrat"/>
              </a:rPr>
              <a:t>Process Flow Diagram </a:t>
            </a:r>
            <a:r>
              <a:rPr lang="en-US" sz="2600" b="1">
                <a:solidFill>
                  <a:schemeClr val="tx1">
                    <a:lumMod val="75000"/>
                    <a:lumOff val="25000"/>
                  </a:schemeClr>
                </a:solidFill>
                <a:highlight>
                  <a:srgbClr val="FFFF00"/>
                </a:highlight>
                <a:latin typeface="Montserrat"/>
              </a:rPr>
              <a:t>– the bullet point 3, 4, 5 in left is not in sync with diagram </a:t>
            </a:r>
            <a:r>
              <a:rPr lang="en-US" sz="2600" b="1" err="1">
                <a:solidFill>
                  <a:schemeClr val="tx1">
                    <a:lumMod val="75000"/>
                    <a:lumOff val="25000"/>
                  </a:schemeClr>
                </a:solidFill>
                <a:highlight>
                  <a:srgbClr val="FFFF00"/>
                </a:highlight>
                <a:latin typeface="Montserrat"/>
              </a:rPr>
              <a:t>e.g</a:t>
            </a:r>
            <a:r>
              <a:rPr lang="en-US" sz="2600" b="1">
                <a:solidFill>
                  <a:schemeClr val="tx1">
                    <a:lumMod val="75000"/>
                    <a:lumOff val="25000"/>
                  </a:schemeClr>
                </a:solidFill>
                <a:highlight>
                  <a:srgbClr val="FFFF00"/>
                </a:highlight>
                <a:latin typeface="Montserrat"/>
              </a:rPr>
              <a:t> the arrow direction</a:t>
            </a:r>
            <a:endParaRPr lang="en-US">
              <a:solidFill>
                <a:schemeClr val="tx1">
                  <a:lumMod val="75000"/>
                  <a:lumOff val="25000"/>
                </a:schemeClr>
              </a:solidFill>
              <a:highlight>
                <a:srgbClr val="FFFF00"/>
              </a:highlight>
            </a:endParaRPr>
          </a:p>
        </p:txBody>
      </p:sp>
      <p:cxnSp>
        <p:nvCxnSpPr>
          <p:cNvPr id="6" name="Straight Connector 5">
            <a:extLst>
              <a:ext uri="{FF2B5EF4-FFF2-40B4-BE49-F238E27FC236}">
                <a16:creationId xmlns:a16="http://schemas.microsoft.com/office/drawing/2014/main" id="{37712A53-FD77-1BE9-8C02-A4E66ACA38A6}"/>
              </a:ext>
              <a:ext uri="{C183D7F6-B498-43B3-948B-1728B52AA6E4}">
                <adec:decorative xmlns:adec="http://schemas.microsoft.com/office/drawing/2017/decorative" val="1"/>
              </a:ext>
            </a:extLst>
          </p:cNvPr>
          <p:cNvCxnSpPr>
            <a:cxnSpLocks/>
          </p:cNvCxnSpPr>
          <p:nvPr/>
        </p:nvCxnSpPr>
        <p:spPr>
          <a:xfrm>
            <a:off x="488191" y="1088493"/>
            <a:ext cx="10761492"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732B23F2-4363-CF25-46A9-D1F2E1B56443}"/>
              </a:ext>
            </a:extLst>
          </p:cNvPr>
          <p:cNvSpPr/>
          <p:nvPr/>
        </p:nvSpPr>
        <p:spPr>
          <a:xfrm>
            <a:off x="496374" y="1555958"/>
            <a:ext cx="3574810" cy="4377952"/>
          </a:xfrm>
          <a:prstGeom prst="roundRect">
            <a:avLst/>
          </a:prstGeom>
          <a:solidFill>
            <a:schemeClr val="bg2">
              <a:lumMod val="95000"/>
            </a:schemeClr>
          </a:solidFill>
          <a:ln>
            <a:solidFill>
              <a:schemeClr val="accent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1300" b="1">
                <a:solidFill>
                  <a:srgbClr val="555555"/>
                </a:solidFill>
                <a:ea typeface="+mn-lt"/>
                <a:cs typeface="+mn-lt"/>
              </a:rPr>
              <a:t>Data Collection:</a:t>
            </a:r>
            <a:endParaRPr lang="en-US" sz="1300">
              <a:cs typeface="Arial"/>
            </a:endParaRPr>
          </a:p>
          <a:p>
            <a:r>
              <a:rPr lang="en-US" sz="1300">
                <a:solidFill>
                  <a:srgbClr val="555555"/>
                </a:solidFill>
                <a:ea typeface="+mn-lt"/>
                <a:cs typeface="+mn-lt"/>
              </a:rPr>
              <a:t>Logs collections </a:t>
            </a:r>
            <a:r>
              <a:rPr lang="en-US" sz="1300" b="1">
                <a:solidFill>
                  <a:srgbClr val="555555"/>
                </a:solidFill>
                <a:ea typeface="+mn-lt"/>
                <a:cs typeface="+mn-lt"/>
              </a:rPr>
              <a:t>&gt;</a:t>
            </a:r>
            <a:r>
              <a:rPr lang="en-US" sz="1300">
                <a:solidFill>
                  <a:srgbClr val="555555"/>
                </a:solidFill>
                <a:ea typeface="+mn-lt"/>
                <a:cs typeface="+mn-lt"/>
              </a:rPr>
              <a:t> Ingestion into</a:t>
            </a:r>
            <a:r>
              <a:rPr lang="en-US" sz="1300" b="1">
                <a:solidFill>
                  <a:srgbClr val="555555"/>
                </a:solidFill>
                <a:ea typeface="+mn-lt"/>
                <a:cs typeface="+mn-lt"/>
              </a:rPr>
              <a:t> ADX/Log Analytics</a:t>
            </a:r>
            <a:br>
              <a:rPr lang="en-US" sz="1300" b="1">
                <a:highlight>
                  <a:srgbClr val="FFFF00"/>
                </a:highlight>
                <a:ea typeface="+mn-lt"/>
                <a:cs typeface="+mn-lt"/>
              </a:rPr>
            </a:br>
            <a:endParaRPr lang="en-US" sz="1300" b="1">
              <a:solidFill>
                <a:srgbClr val="555555"/>
              </a:solidFill>
              <a:highlight>
                <a:srgbClr val="FFFF00"/>
              </a:highlight>
              <a:cs typeface="Arial"/>
            </a:endParaRPr>
          </a:p>
          <a:p>
            <a:r>
              <a:rPr lang="en-US" sz="1300" b="1">
                <a:solidFill>
                  <a:srgbClr val="555555"/>
                </a:solidFill>
                <a:ea typeface="+mn-lt"/>
                <a:cs typeface="+mn-lt"/>
              </a:rPr>
              <a:t>Data Processing and Enrichment:</a:t>
            </a:r>
            <a:endParaRPr lang="en-US" sz="1300">
              <a:cs typeface="Arial"/>
            </a:endParaRPr>
          </a:p>
          <a:p>
            <a:r>
              <a:rPr lang="en-US" sz="1300" b="1">
                <a:solidFill>
                  <a:srgbClr val="555555"/>
                </a:solidFill>
                <a:ea typeface="+mn-lt"/>
                <a:cs typeface="+mn-lt"/>
              </a:rPr>
              <a:t>Azure AI Service &gt; Text Analytics</a:t>
            </a:r>
            <a:r>
              <a:rPr lang="en-US" sz="1300">
                <a:solidFill>
                  <a:srgbClr val="555555"/>
                </a:solidFill>
                <a:ea typeface="+mn-lt"/>
                <a:cs typeface="+mn-lt"/>
              </a:rPr>
              <a:t> &gt; Extract Insights from Logs </a:t>
            </a:r>
            <a:r>
              <a:rPr lang="en-US" sz="1300" b="1">
                <a:solidFill>
                  <a:srgbClr val="555555"/>
                </a:solidFill>
                <a:ea typeface="+mn-lt"/>
                <a:cs typeface="+mn-lt"/>
              </a:rPr>
              <a:t>&gt;</a:t>
            </a:r>
            <a:r>
              <a:rPr lang="en-US" sz="1300">
                <a:solidFill>
                  <a:srgbClr val="555555"/>
                </a:solidFill>
                <a:ea typeface="+mn-lt"/>
                <a:cs typeface="+mn-lt"/>
              </a:rPr>
              <a:t> </a:t>
            </a:r>
            <a:r>
              <a:rPr lang="en-US" sz="1300" b="1">
                <a:solidFill>
                  <a:srgbClr val="555555"/>
                </a:solidFill>
                <a:ea typeface="+mn-lt"/>
                <a:cs typeface="+mn-lt"/>
              </a:rPr>
              <a:t>Store in Custom Table in ADX</a:t>
            </a:r>
            <a:endParaRPr lang="en-US" sz="1300" b="1">
              <a:solidFill>
                <a:srgbClr val="555555"/>
              </a:solidFill>
              <a:cs typeface="Arial"/>
            </a:endParaRPr>
          </a:p>
          <a:p>
            <a:endParaRPr lang="en-US" sz="1300" b="1">
              <a:solidFill>
                <a:srgbClr val="555555"/>
              </a:solidFill>
              <a:ea typeface="+mn-lt"/>
              <a:cs typeface="+mn-lt"/>
            </a:endParaRPr>
          </a:p>
          <a:p>
            <a:r>
              <a:rPr lang="en-US" sz="1300" b="1">
                <a:solidFill>
                  <a:srgbClr val="555555"/>
                </a:solidFill>
                <a:ea typeface="+mn-lt"/>
                <a:cs typeface="+mn-lt"/>
              </a:rPr>
              <a:t>Advanced Analytics and Clustering:</a:t>
            </a:r>
            <a:endParaRPr lang="en-US" sz="1300">
              <a:cs typeface="Arial"/>
            </a:endParaRPr>
          </a:p>
          <a:p>
            <a:r>
              <a:rPr lang="en-US" sz="1300" b="1">
                <a:solidFill>
                  <a:srgbClr val="555555"/>
                </a:solidFill>
                <a:ea typeface="+mn-lt"/>
                <a:cs typeface="+mn-lt"/>
              </a:rPr>
              <a:t>Azure ML &gt; K-Means Clustering &gt;</a:t>
            </a:r>
            <a:r>
              <a:rPr lang="en-US" sz="1300">
                <a:solidFill>
                  <a:srgbClr val="555555"/>
                </a:solidFill>
                <a:ea typeface="+mn-lt"/>
                <a:cs typeface="+mn-lt"/>
              </a:rPr>
              <a:t> Group Logs Based on Patterns </a:t>
            </a:r>
            <a:r>
              <a:rPr lang="en-US" sz="1300" b="1">
                <a:solidFill>
                  <a:srgbClr val="555555"/>
                </a:solidFill>
                <a:ea typeface="+mn-lt"/>
                <a:cs typeface="+mn-lt"/>
              </a:rPr>
              <a:t>&gt;</a:t>
            </a:r>
            <a:r>
              <a:rPr lang="en-US" sz="1300">
                <a:solidFill>
                  <a:srgbClr val="555555"/>
                </a:solidFill>
                <a:ea typeface="+mn-lt"/>
                <a:cs typeface="+mn-lt"/>
              </a:rPr>
              <a:t> </a:t>
            </a:r>
            <a:r>
              <a:rPr lang="en-US" sz="1300" b="1">
                <a:solidFill>
                  <a:srgbClr val="555555"/>
                </a:solidFill>
                <a:ea typeface="+mn-lt"/>
                <a:cs typeface="+mn-lt"/>
              </a:rPr>
              <a:t>Store in Custom Table in ADX</a:t>
            </a:r>
            <a:endParaRPr lang="en-US" sz="1300" b="1">
              <a:solidFill>
                <a:srgbClr val="555555"/>
              </a:solidFill>
              <a:cs typeface="Arial"/>
            </a:endParaRPr>
          </a:p>
          <a:p>
            <a:endParaRPr lang="en-US" sz="1300" b="1">
              <a:solidFill>
                <a:srgbClr val="555555"/>
              </a:solidFill>
              <a:ea typeface="+mn-lt"/>
              <a:cs typeface="+mn-lt"/>
            </a:endParaRPr>
          </a:p>
          <a:p>
            <a:r>
              <a:rPr lang="en-US" sz="1300" b="1">
                <a:solidFill>
                  <a:srgbClr val="555555"/>
                </a:solidFill>
                <a:ea typeface="+mn-lt"/>
                <a:cs typeface="+mn-lt"/>
              </a:rPr>
              <a:t>Visualization :</a:t>
            </a:r>
            <a:endParaRPr lang="en-US" sz="1300">
              <a:cs typeface="Arial"/>
            </a:endParaRPr>
          </a:p>
          <a:p>
            <a:r>
              <a:rPr lang="en-US" sz="1300" b="1">
                <a:solidFill>
                  <a:srgbClr val="555555"/>
                </a:solidFill>
                <a:ea typeface="+mn-lt"/>
                <a:cs typeface="+mn-lt"/>
              </a:rPr>
              <a:t>Azure Dashboard</a:t>
            </a:r>
            <a:r>
              <a:rPr lang="en-US" sz="1300">
                <a:solidFill>
                  <a:srgbClr val="555555"/>
                </a:solidFill>
                <a:ea typeface="+mn-lt"/>
                <a:cs typeface="+mn-lt"/>
              </a:rPr>
              <a:t> </a:t>
            </a:r>
            <a:r>
              <a:rPr lang="en-US" sz="1300" b="1">
                <a:solidFill>
                  <a:srgbClr val="555555"/>
                </a:solidFill>
                <a:ea typeface="+mn-lt"/>
                <a:cs typeface="+mn-lt"/>
              </a:rPr>
              <a:t>&gt;</a:t>
            </a:r>
            <a:r>
              <a:rPr lang="en-US" sz="1300">
                <a:solidFill>
                  <a:srgbClr val="555555"/>
                </a:solidFill>
                <a:ea typeface="+mn-lt"/>
                <a:cs typeface="+mn-lt"/>
              </a:rPr>
              <a:t> Real-Time Monitoring, Clustering, and Predictive Analytics.</a:t>
            </a:r>
            <a:endParaRPr lang="en-US" sz="1300">
              <a:cs typeface="Arial"/>
            </a:endParaRPr>
          </a:p>
        </p:txBody>
      </p:sp>
      <p:pic>
        <p:nvPicPr>
          <p:cNvPr id="3" name="Picture 2" descr="A screenshot of a computer screen&#10;&#10;Description automatically generated">
            <a:extLst>
              <a:ext uri="{FF2B5EF4-FFF2-40B4-BE49-F238E27FC236}">
                <a16:creationId xmlns:a16="http://schemas.microsoft.com/office/drawing/2014/main" id="{03D7E31F-1B3F-E396-CFEE-D037F83BF7B3}"/>
              </a:ext>
            </a:extLst>
          </p:cNvPr>
          <p:cNvPicPr>
            <a:picLocks noChangeAspect="1"/>
          </p:cNvPicPr>
          <p:nvPr/>
        </p:nvPicPr>
        <p:blipFill>
          <a:blip r:embed="rId2"/>
          <a:srcRect l="-2222" t="-173" r="-185" b="-7549"/>
          <a:stretch/>
        </p:blipFill>
        <p:spPr>
          <a:xfrm>
            <a:off x="4553025" y="1557360"/>
            <a:ext cx="6690375" cy="4382044"/>
          </a:xfrm>
          <a:prstGeom prst="rect">
            <a:avLst/>
          </a:prstGeom>
        </p:spPr>
      </p:pic>
    </p:spTree>
    <p:extLst>
      <p:ext uri="{BB962C8B-B14F-4D97-AF65-F5344CB8AC3E}">
        <p14:creationId xmlns:p14="http://schemas.microsoft.com/office/powerpoint/2010/main" val="6386788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7B1A019-C14B-DBFC-1DBE-1935FF84F3C8}"/>
              </a:ext>
            </a:extLst>
          </p:cNvPr>
          <p:cNvSpPr txBox="1"/>
          <p:nvPr/>
        </p:nvSpPr>
        <p:spPr>
          <a:xfrm>
            <a:off x="487180" y="316578"/>
            <a:ext cx="9853839" cy="492443"/>
          </a:xfrm>
          <a:prstGeom prst="rect">
            <a:avLst/>
          </a:prstGeom>
          <a:noFill/>
        </p:spPr>
        <p:txBody>
          <a:bodyPr wrap="square" lIns="91440" tIns="45720" rIns="91440" bIns="45720" anchor="t">
            <a:spAutoFit/>
          </a:bodyPr>
          <a:lstStyle/>
          <a:p>
            <a:r>
              <a:rPr lang="en-US" sz="2600" b="1">
                <a:solidFill>
                  <a:schemeClr val="tx1">
                    <a:lumMod val="75000"/>
                    <a:lumOff val="25000"/>
                  </a:schemeClr>
                </a:solidFill>
                <a:latin typeface="Montserrat"/>
                <a:ea typeface="+mn-lt"/>
                <a:cs typeface="+mn-lt"/>
              </a:rPr>
              <a:t>POC Code</a:t>
            </a:r>
          </a:p>
        </p:txBody>
      </p:sp>
      <p:cxnSp>
        <p:nvCxnSpPr>
          <p:cNvPr id="6" name="Straight Connector 5">
            <a:extLst>
              <a:ext uri="{FF2B5EF4-FFF2-40B4-BE49-F238E27FC236}">
                <a16:creationId xmlns:a16="http://schemas.microsoft.com/office/drawing/2014/main" id="{37712A53-FD77-1BE9-8C02-A4E66ACA38A6}"/>
              </a:ext>
              <a:ext uri="{C183D7F6-B498-43B3-948B-1728B52AA6E4}">
                <adec:decorative xmlns:adec="http://schemas.microsoft.com/office/drawing/2017/decorative" val="1"/>
              </a:ext>
            </a:extLst>
          </p:cNvPr>
          <p:cNvCxnSpPr>
            <a:cxnSpLocks/>
          </p:cNvCxnSpPr>
          <p:nvPr/>
        </p:nvCxnSpPr>
        <p:spPr>
          <a:xfrm>
            <a:off x="488191" y="923736"/>
            <a:ext cx="10855834"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pic>
        <p:nvPicPr>
          <p:cNvPr id="12" name="Picture 11" descr="A green and black text&#10;&#10;Description automatically generated">
            <a:extLst>
              <a:ext uri="{FF2B5EF4-FFF2-40B4-BE49-F238E27FC236}">
                <a16:creationId xmlns:a16="http://schemas.microsoft.com/office/drawing/2014/main" id="{CC7FBF0B-7989-48DE-350D-129FC29F1F94}"/>
              </a:ext>
            </a:extLst>
          </p:cNvPr>
          <p:cNvPicPr>
            <a:picLocks noChangeAspect="1"/>
          </p:cNvPicPr>
          <p:nvPr/>
        </p:nvPicPr>
        <p:blipFill>
          <a:blip r:embed="rId2"/>
          <a:srcRect t="23853" r="105" b="21101"/>
          <a:stretch/>
        </p:blipFill>
        <p:spPr>
          <a:xfrm>
            <a:off x="657476" y="1191628"/>
            <a:ext cx="10135107" cy="527533"/>
          </a:xfrm>
          <a:prstGeom prst="rect">
            <a:avLst/>
          </a:prstGeom>
        </p:spPr>
      </p:pic>
      <p:pic>
        <p:nvPicPr>
          <p:cNvPr id="14" name="Picture 13" descr="A screenshot of a computer program&#10;&#10;Description automatically generated">
            <a:extLst>
              <a:ext uri="{FF2B5EF4-FFF2-40B4-BE49-F238E27FC236}">
                <a16:creationId xmlns:a16="http://schemas.microsoft.com/office/drawing/2014/main" id="{FCBD5EC6-42B2-07FA-C552-1378952821FB}"/>
              </a:ext>
            </a:extLst>
          </p:cNvPr>
          <p:cNvPicPr>
            <a:picLocks noChangeAspect="1"/>
          </p:cNvPicPr>
          <p:nvPr/>
        </p:nvPicPr>
        <p:blipFill>
          <a:blip r:embed="rId3"/>
          <a:stretch>
            <a:fillRect/>
          </a:stretch>
        </p:blipFill>
        <p:spPr>
          <a:xfrm>
            <a:off x="656150" y="2045368"/>
            <a:ext cx="3590568" cy="2426370"/>
          </a:xfrm>
          <a:prstGeom prst="rect">
            <a:avLst/>
          </a:prstGeom>
        </p:spPr>
      </p:pic>
      <p:pic>
        <p:nvPicPr>
          <p:cNvPr id="18" name="Picture 17" descr="A screenshot of a computer code&#10;&#10;Description automatically generated">
            <a:extLst>
              <a:ext uri="{FF2B5EF4-FFF2-40B4-BE49-F238E27FC236}">
                <a16:creationId xmlns:a16="http://schemas.microsoft.com/office/drawing/2014/main" id="{D9332323-91C5-4FF9-7A86-18467708E8EC}"/>
              </a:ext>
            </a:extLst>
          </p:cNvPr>
          <p:cNvPicPr>
            <a:picLocks noChangeAspect="1"/>
          </p:cNvPicPr>
          <p:nvPr/>
        </p:nvPicPr>
        <p:blipFill>
          <a:blip r:embed="rId4"/>
          <a:stretch>
            <a:fillRect/>
          </a:stretch>
        </p:blipFill>
        <p:spPr>
          <a:xfrm>
            <a:off x="7048499" y="4244851"/>
            <a:ext cx="4531895" cy="2057986"/>
          </a:xfrm>
          <a:prstGeom prst="rect">
            <a:avLst/>
          </a:prstGeom>
        </p:spPr>
      </p:pic>
      <p:pic>
        <p:nvPicPr>
          <p:cNvPr id="20" name="Picture 19" descr="A screenshot of a computer code&#10;&#10;Description automatically generated">
            <a:extLst>
              <a:ext uri="{FF2B5EF4-FFF2-40B4-BE49-F238E27FC236}">
                <a16:creationId xmlns:a16="http://schemas.microsoft.com/office/drawing/2014/main" id="{CB8EACCD-40D8-ACA3-1085-30C99270CBEF}"/>
              </a:ext>
            </a:extLst>
          </p:cNvPr>
          <p:cNvPicPr>
            <a:picLocks noChangeAspect="1"/>
          </p:cNvPicPr>
          <p:nvPr/>
        </p:nvPicPr>
        <p:blipFill>
          <a:blip r:embed="rId5"/>
          <a:stretch>
            <a:fillRect/>
          </a:stretch>
        </p:blipFill>
        <p:spPr>
          <a:xfrm>
            <a:off x="661737" y="4594424"/>
            <a:ext cx="4321342" cy="1709755"/>
          </a:xfrm>
          <a:prstGeom prst="rect">
            <a:avLst/>
          </a:prstGeom>
        </p:spPr>
      </p:pic>
      <p:pic>
        <p:nvPicPr>
          <p:cNvPr id="22" name="Picture 21" descr="A screenshot of a computer code&#10;&#10;Description automatically generated">
            <a:extLst>
              <a:ext uri="{FF2B5EF4-FFF2-40B4-BE49-F238E27FC236}">
                <a16:creationId xmlns:a16="http://schemas.microsoft.com/office/drawing/2014/main" id="{F9C42375-C991-96AE-FD86-0E992EA8D74B}"/>
              </a:ext>
            </a:extLst>
          </p:cNvPr>
          <p:cNvPicPr>
            <a:picLocks noChangeAspect="1"/>
          </p:cNvPicPr>
          <p:nvPr/>
        </p:nvPicPr>
        <p:blipFill>
          <a:blip r:embed="rId6"/>
          <a:stretch>
            <a:fillRect/>
          </a:stretch>
        </p:blipFill>
        <p:spPr>
          <a:xfrm>
            <a:off x="7040980" y="2041108"/>
            <a:ext cx="4536908" cy="1853365"/>
          </a:xfrm>
          <a:prstGeom prst="rect">
            <a:avLst/>
          </a:prstGeom>
        </p:spPr>
      </p:pic>
      <p:pic>
        <p:nvPicPr>
          <p:cNvPr id="16" name="Picture 15" descr="A screenshot of a computer code&#10;&#10;Description automatically generated">
            <a:extLst>
              <a:ext uri="{FF2B5EF4-FFF2-40B4-BE49-F238E27FC236}">
                <a16:creationId xmlns:a16="http://schemas.microsoft.com/office/drawing/2014/main" id="{413A694F-DB91-82F9-92C5-566CC999D9C7}"/>
              </a:ext>
            </a:extLst>
          </p:cNvPr>
          <p:cNvPicPr>
            <a:picLocks noChangeAspect="1"/>
          </p:cNvPicPr>
          <p:nvPr/>
        </p:nvPicPr>
        <p:blipFill>
          <a:blip r:embed="rId7"/>
          <a:stretch>
            <a:fillRect/>
          </a:stretch>
        </p:blipFill>
        <p:spPr>
          <a:xfrm>
            <a:off x="4095500" y="3825794"/>
            <a:ext cx="2948239" cy="650207"/>
          </a:xfrm>
          <a:prstGeom prst="rect">
            <a:avLst/>
          </a:prstGeom>
        </p:spPr>
      </p:pic>
      <p:sp>
        <p:nvSpPr>
          <p:cNvPr id="2" name="TextBox 1">
            <a:extLst>
              <a:ext uri="{FF2B5EF4-FFF2-40B4-BE49-F238E27FC236}">
                <a16:creationId xmlns:a16="http://schemas.microsoft.com/office/drawing/2014/main" id="{8D4C2D94-E872-9AC8-1D7D-F8908D76E76C}"/>
              </a:ext>
            </a:extLst>
          </p:cNvPr>
          <p:cNvSpPr txBox="1"/>
          <p:nvPr/>
        </p:nvSpPr>
        <p:spPr>
          <a:xfrm>
            <a:off x="1210733" y="1804151"/>
            <a:ext cx="2658533" cy="246221"/>
          </a:xfrm>
          <a:prstGeom prst="rect">
            <a:avLst/>
          </a:prstGeom>
          <a:noFill/>
        </p:spPr>
        <p:txBody>
          <a:bodyPr wrap="square" lIns="0" tIns="0" rIns="0" bIns="0" rtlCol="0">
            <a:spAutoFit/>
          </a:bodyPr>
          <a:lstStyle/>
          <a:p>
            <a:pPr algn="l"/>
            <a:r>
              <a:rPr lang="en-US" sz="1600" b="1">
                <a:solidFill>
                  <a:srgbClr val="C13018"/>
                </a:solidFill>
              </a:rPr>
              <a:t>Log Categorization</a:t>
            </a:r>
          </a:p>
        </p:txBody>
      </p:sp>
      <p:sp>
        <p:nvSpPr>
          <p:cNvPr id="3" name="TextBox 2">
            <a:extLst>
              <a:ext uri="{FF2B5EF4-FFF2-40B4-BE49-F238E27FC236}">
                <a16:creationId xmlns:a16="http://schemas.microsoft.com/office/drawing/2014/main" id="{3F41F3A0-9B38-0C38-F2C3-7FA0D9884B55}"/>
              </a:ext>
            </a:extLst>
          </p:cNvPr>
          <p:cNvSpPr txBox="1"/>
          <p:nvPr/>
        </p:nvSpPr>
        <p:spPr>
          <a:xfrm>
            <a:off x="4507052" y="3272008"/>
            <a:ext cx="2125133" cy="492443"/>
          </a:xfrm>
          <a:prstGeom prst="rect">
            <a:avLst/>
          </a:prstGeom>
          <a:noFill/>
        </p:spPr>
        <p:txBody>
          <a:bodyPr wrap="square" lIns="0" tIns="0" rIns="0" bIns="0" rtlCol="0">
            <a:spAutoFit/>
          </a:bodyPr>
          <a:lstStyle/>
          <a:p>
            <a:pPr algn="l"/>
            <a:r>
              <a:rPr lang="en-US" sz="1600" b="1">
                <a:solidFill>
                  <a:srgbClr val="2C6DF6"/>
                </a:solidFill>
              </a:rPr>
              <a:t>Text Analytics for Root Cause analysis</a:t>
            </a:r>
          </a:p>
        </p:txBody>
      </p:sp>
      <p:sp>
        <p:nvSpPr>
          <p:cNvPr id="4" name="TextBox 3">
            <a:extLst>
              <a:ext uri="{FF2B5EF4-FFF2-40B4-BE49-F238E27FC236}">
                <a16:creationId xmlns:a16="http://schemas.microsoft.com/office/drawing/2014/main" id="{7238E09E-7877-7833-2580-656E590440EC}"/>
              </a:ext>
            </a:extLst>
          </p:cNvPr>
          <p:cNvSpPr txBox="1"/>
          <p:nvPr/>
        </p:nvSpPr>
        <p:spPr>
          <a:xfrm>
            <a:off x="1388867" y="4409971"/>
            <a:ext cx="2125133" cy="246221"/>
          </a:xfrm>
          <a:prstGeom prst="rect">
            <a:avLst/>
          </a:prstGeom>
          <a:noFill/>
        </p:spPr>
        <p:txBody>
          <a:bodyPr wrap="square" lIns="0" tIns="0" rIns="0" bIns="0" rtlCol="0">
            <a:spAutoFit/>
          </a:bodyPr>
          <a:lstStyle/>
          <a:p>
            <a:pPr algn="l"/>
            <a:r>
              <a:rPr lang="en-US" sz="1600" b="1">
                <a:solidFill>
                  <a:srgbClr val="2C6DF6"/>
                </a:solidFill>
              </a:rPr>
              <a:t>K means Clustering</a:t>
            </a:r>
          </a:p>
        </p:txBody>
      </p:sp>
      <p:sp>
        <p:nvSpPr>
          <p:cNvPr id="7" name="TextBox 6">
            <a:extLst>
              <a:ext uri="{FF2B5EF4-FFF2-40B4-BE49-F238E27FC236}">
                <a16:creationId xmlns:a16="http://schemas.microsoft.com/office/drawing/2014/main" id="{22596116-4D67-BD61-080F-98F37362CFC0}"/>
              </a:ext>
            </a:extLst>
          </p:cNvPr>
          <p:cNvSpPr txBox="1"/>
          <p:nvPr/>
        </p:nvSpPr>
        <p:spPr>
          <a:xfrm>
            <a:off x="7622785" y="1866433"/>
            <a:ext cx="2658533" cy="246221"/>
          </a:xfrm>
          <a:prstGeom prst="rect">
            <a:avLst/>
          </a:prstGeom>
          <a:noFill/>
        </p:spPr>
        <p:txBody>
          <a:bodyPr wrap="square" lIns="0" tIns="0" rIns="0" bIns="0" rtlCol="0">
            <a:spAutoFit/>
          </a:bodyPr>
          <a:lstStyle/>
          <a:p>
            <a:pPr algn="l"/>
            <a:r>
              <a:rPr lang="en-US" sz="1600" b="1">
                <a:solidFill>
                  <a:srgbClr val="F06E2D"/>
                </a:solidFill>
              </a:rPr>
              <a:t>Grouping Based on user ID</a:t>
            </a:r>
          </a:p>
        </p:txBody>
      </p:sp>
      <p:sp>
        <p:nvSpPr>
          <p:cNvPr id="8" name="TextBox 7">
            <a:extLst>
              <a:ext uri="{FF2B5EF4-FFF2-40B4-BE49-F238E27FC236}">
                <a16:creationId xmlns:a16="http://schemas.microsoft.com/office/drawing/2014/main" id="{72C4C254-F011-B48A-7B0E-4DEED60E6ADE}"/>
              </a:ext>
            </a:extLst>
          </p:cNvPr>
          <p:cNvSpPr txBox="1"/>
          <p:nvPr/>
        </p:nvSpPr>
        <p:spPr>
          <a:xfrm>
            <a:off x="7309796" y="3838720"/>
            <a:ext cx="4676887" cy="246221"/>
          </a:xfrm>
          <a:prstGeom prst="rect">
            <a:avLst/>
          </a:prstGeom>
          <a:noFill/>
        </p:spPr>
        <p:txBody>
          <a:bodyPr wrap="square" lIns="0" tIns="0" rIns="0" bIns="0" rtlCol="0">
            <a:spAutoFit/>
          </a:bodyPr>
          <a:lstStyle/>
          <a:p>
            <a:pPr algn="l"/>
            <a:r>
              <a:rPr lang="en-US" sz="1600" b="1">
                <a:solidFill>
                  <a:srgbClr val="2C6DF6"/>
                </a:solidFill>
              </a:rPr>
              <a:t>Number of Clusters for K means Algorithm</a:t>
            </a:r>
          </a:p>
        </p:txBody>
      </p:sp>
    </p:spTree>
    <p:extLst>
      <p:ext uri="{BB962C8B-B14F-4D97-AF65-F5344CB8AC3E}">
        <p14:creationId xmlns:p14="http://schemas.microsoft.com/office/powerpoint/2010/main" val="37915360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7B1A019-C14B-DBFC-1DBE-1935FF84F3C8}"/>
              </a:ext>
            </a:extLst>
          </p:cNvPr>
          <p:cNvSpPr txBox="1"/>
          <p:nvPr/>
        </p:nvSpPr>
        <p:spPr>
          <a:xfrm>
            <a:off x="487180" y="316578"/>
            <a:ext cx="9853839" cy="492443"/>
          </a:xfrm>
          <a:prstGeom prst="rect">
            <a:avLst/>
          </a:prstGeom>
          <a:noFill/>
        </p:spPr>
        <p:txBody>
          <a:bodyPr wrap="square" lIns="91440" tIns="45720" rIns="91440" bIns="45720" anchor="t">
            <a:spAutoFit/>
          </a:bodyPr>
          <a:lstStyle/>
          <a:p>
            <a:r>
              <a:rPr lang="en-US" sz="2600" b="1" dirty="0">
                <a:solidFill>
                  <a:schemeClr val="tx1">
                    <a:lumMod val="75000"/>
                    <a:lumOff val="25000"/>
                  </a:schemeClr>
                </a:solidFill>
                <a:latin typeface="Montserrat"/>
              </a:rPr>
              <a:t>Automated Root Cause Detection </a:t>
            </a:r>
            <a:endParaRPr lang="en-US" sz="2600" b="1" dirty="0">
              <a:solidFill>
                <a:schemeClr val="tx1">
                  <a:lumMod val="75000"/>
                  <a:lumOff val="25000"/>
                </a:schemeClr>
              </a:solidFill>
              <a:highlight>
                <a:srgbClr val="FFFF00"/>
              </a:highlight>
              <a:latin typeface="Montserrat"/>
            </a:endParaRPr>
          </a:p>
        </p:txBody>
      </p:sp>
      <p:cxnSp>
        <p:nvCxnSpPr>
          <p:cNvPr id="6" name="Straight Connector 5">
            <a:extLst>
              <a:ext uri="{FF2B5EF4-FFF2-40B4-BE49-F238E27FC236}">
                <a16:creationId xmlns:a16="http://schemas.microsoft.com/office/drawing/2014/main" id="{37712A53-FD77-1BE9-8C02-A4E66ACA38A6}"/>
              </a:ext>
              <a:ext uri="{C183D7F6-B498-43B3-948B-1728B52AA6E4}">
                <adec:decorative xmlns:adec="http://schemas.microsoft.com/office/drawing/2017/decorative" val="1"/>
              </a:ext>
            </a:extLst>
          </p:cNvPr>
          <p:cNvCxnSpPr>
            <a:cxnSpLocks/>
          </p:cNvCxnSpPr>
          <p:nvPr/>
        </p:nvCxnSpPr>
        <p:spPr>
          <a:xfrm>
            <a:off x="488191" y="923736"/>
            <a:ext cx="10855834"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pic>
        <p:nvPicPr>
          <p:cNvPr id="9" name="Picture 8" descr="A blue circle with a white arrow in center&#10;&#10;Description automatically generated">
            <a:extLst>
              <a:ext uri="{FF2B5EF4-FFF2-40B4-BE49-F238E27FC236}">
                <a16:creationId xmlns:a16="http://schemas.microsoft.com/office/drawing/2014/main" id="{6EB36700-0043-3E11-77C2-AB0CFF0F5992}"/>
              </a:ext>
            </a:extLst>
          </p:cNvPr>
          <p:cNvPicPr>
            <a:picLocks noChangeAspect="1"/>
          </p:cNvPicPr>
          <p:nvPr/>
        </p:nvPicPr>
        <p:blipFill>
          <a:blip r:embed="rId2"/>
          <a:stretch>
            <a:fillRect/>
          </a:stretch>
        </p:blipFill>
        <p:spPr>
          <a:xfrm>
            <a:off x="4618364" y="4865535"/>
            <a:ext cx="427623" cy="428124"/>
          </a:xfrm>
          <a:prstGeom prst="rect">
            <a:avLst/>
          </a:prstGeom>
        </p:spPr>
      </p:pic>
      <p:pic>
        <p:nvPicPr>
          <p:cNvPr id="10" name="Picture 9" descr="A red circle with white gears&#10;&#10;Description automatically generated">
            <a:extLst>
              <a:ext uri="{FF2B5EF4-FFF2-40B4-BE49-F238E27FC236}">
                <a16:creationId xmlns:a16="http://schemas.microsoft.com/office/drawing/2014/main" id="{364BAF2E-1B68-C870-2E4B-CB7163AC33D4}"/>
              </a:ext>
            </a:extLst>
          </p:cNvPr>
          <p:cNvPicPr>
            <a:picLocks noChangeAspect="1"/>
          </p:cNvPicPr>
          <p:nvPr/>
        </p:nvPicPr>
        <p:blipFill>
          <a:blip r:embed="rId3"/>
          <a:stretch>
            <a:fillRect/>
          </a:stretch>
        </p:blipFill>
        <p:spPr>
          <a:xfrm>
            <a:off x="1834436" y="1801049"/>
            <a:ext cx="427623" cy="427623"/>
          </a:xfrm>
          <a:prstGeom prst="rect">
            <a:avLst/>
          </a:prstGeom>
        </p:spPr>
      </p:pic>
      <p:pic>
        <p:nvPicPr>
          <p:cNvPr id="11" name="Picture 10" descr="A white and orange clock&#10;&#10;Description automatically generated">
            <a:extLst>
              <a:ext uri="{FF2B5EF4-FFF2-40B4-BE49-F238E27FC236}">
                <a16:creationId xmlns:a16="http://schemas.microsoft.com/office/drawing/2014/main" id="{B36A23DD-C932-9356-E694-96B72D4CB041}"/>
              </a:ext>
            </a:extLst>
          </p:cNvPr>
          <p:cNvPicPr>
            <a:picLocks noChangeAspect="1"/>
          </p:cNvPicPr>
          <p:nvPr/>
        </p:nvPicPr>
        <p:blipFill>
          <a:blip r:embed="rId4"/>
          <a:stretch>
            <a:fillRect/>
          </a:stretch>
        </p:blipFill>
        <p:spPr>
          <a:xfrm>
            <a:off x="4575242" y="2831128"/>
            <a:ext cx="427623" cy="427623"/>
          </a:xfrm>
          <a:prstGeom prst="rect">
            <a:avLst/>
          </a:prstGeom>
        </p:spPr>
      </p:pic>
      <p:sp>
        <p:nvSpPr>
          <p:cNvPr id="13" name="TextBox 12">
            <a:extLst>
              <a:ext uri="{FF2B5EF4-FFF2-40B4-BE49-F238E27FC236}">
                <a16:creationId xmlns:a16="http://schemas.microsoft.com/office/drawing/2014/main" id="{8D197CD2-340C-2DFD-E63F-AC1DFD81B3DB}"/>
              </a:ext>
            </a:extLst>
          </p:cNvPr>
          <p:cNvSpPr txBox="1"/>
          <p:nvPr/>
        </p:nvSpPr>
        <p:spPr>
          <a:xfrm>
            <a:off x="2362050" y="1765185"/>
            <a:ext cx="1585135"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C13018"/>
                </a:solidFill>
                <a:latin typeface="Roboto"/>
                <a:ea typeface="Roboto"/>
                <a:cs typeface="Arial"/>
              </a:rPr>
              <a:t>Datadog Limitation</a:t>
            </a:r>
            <a:endParaRPr lang="en-US" sz="1600" b="1">
              <a:solidFill>
                <a:srgbClr val="C13018"/>
              </a:solidFill>
              <a:latin typeface="Roboto"/>
              <a:ea typeface="Roboto"/>
              <a:cs typeface="Roboto"/>
            </a:endParaRPr>
          </a:p>
        </p:txBody>
      </p:sp>
      <p:sp>
        <p:nvSpPr>
          <p:cNvPr id="15" name="TextBox 14">
            <a:extLst>
              <a:ext uri="{FF2B5EF4-FFF2-40B4-BE49-F238E27FC236}">
                <a16:creationId xmlns:a16="http://schemas.microsoft.com/office/drawing/2014/main" id="{FDA1D9DF-EDDA-AF05-ED50-9CE8F59CEB30}"/>
              </a:ext>
            </a:extLst>
          </p:cNvPr>
          <p:cNvSpPr txBox="1"/>
          <p:nvPr/>
        </p:nvSpPr>
        <p:spPr>
          <a:xfrm>
            <a:off x="3719677" y="2921830"/>
            <a:ext cx="1585135"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ED8D1E"/>
                </a:solidFill>
                <a:latin typeface="Roboto"/>
                <a:ea typeface="Roboto"/>
                <a:cs typeface="Arial"/>
              </a:rPr>
              <a:t>Solution</a:t>
            </a:r>
            <a:endParaRPr lang="en-US">
              <a:solidFill>
                <a:srgbClr val="ED8D1E"/>
              </a:solidFill>
            </a:endParaRPr>
          </a:p>
        </p:txBody>
      </p:sp>
      <p:sp>
        <p:nvSpPr>
          <p:cNvPr id="17" name="TextBox 16">
            <a:extLst>
              <a:ext uri="{FF2B5EF4-FFF2-40B4-BE49-F238E27FC236}">
                <a16:creationId xmlns:a16="http://schemas.microsoft.com/office/drawing/2014/main" id="{D4F19265-7952-41CA-7AB9-781BBFEDDA21}"/>
              </a:ext>
            </a:extLst>
          </p:cNvPr>
          <p:cNvSpPr txBox="1"/>
          <p:nvPr/>
        </p:nvSpPr>
        <p:spPr>
          <a:xfrm>
            <a:off x="3827824" y="4961272"/>
            <a:ext cx="1585135"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4CC1EF"/>
                </a:solidFill>
                <a:latin typeface="Roboto"/>
                <a:ea typeface="Roboto"/>
                <a:cs typeface="Arial"/>
              </a:rPr>
              <a:t>Benefits</a:t>
            </a:r>
            <a:endParaRPr lang="en-US">
              <a:solidFill>
                <a:srgbClr val="4CC1EF"/>
              </a:solidFill>
            </a:endParaRPr>
          </a:p>
        </p:txBody>
      </p:sp>
      <p:sp>
        <p:nvSpPr>
          <p:cNvPr id="19" name="Freeform: Shape 18">
            <a:extLst>
              <a:ext uri="{FF2B5EF4-FFF2-40B4-BE49-F238E27FC236}">
                <a16:creationId xmlns:a16="http://schemas.microsoft.com/office/drawing/2014/main" id="{1CE75C9F-A817-E906-7CF0-DBA2E5E5C30D}"/>
              </a:ext>
            </a:extLst>
          </p:cNvPr>
          <p:cNvSpPr/>
          <p:nvPr/>
        </p:nvSpPr>
        <p:spPr>
          <a:xfrm>
            <a:off x="1739481" y="1218322"/>
            <a:ext cx="3389060" cy="4625490"/>
          </a:xfrm>
          <a:custGeom>
            <a:avLst/>
            <a:gdLst>
              <a:gd name="connsiteX0" fmla="*/ 1864361 w 3731264"/>
              <a:gd name="connsiteY0" fmla="*/ 0 h 5097787"/>
              <a:gd name="connsiteX1" fmla="*/ 1864362 w 3731264"/>
              <a:gd name="connsiteY1" fmla="*/ 0 h 5097787"/>
              <a:gd name="connsiteX2" fmla="*/ 1864362 w 3731264"/>
              <a:gd name="connsiteY2" fmla="*/ 0 h 5097787"/>
              <a:gd name="connsiteX3" fmla="*/ 1864363 w 3731264"/>
              <a:gd name="connsiteY3" fmla="*/ 0 h 5097787"/>
              <a:gd name="connsiteX4" fmla="*/ 1888353 w 3731264"/>
              <a:gd name="connsiteY4" fmla="*/ 4882 h 5097787"/>
              <a:gd name="connsiteX5" fmla="*/ 1907156 w 3731264"/>
              <a:gd name="connsiteY5" fmla="*/ 17726 h 5097787"/>
              <a:gd name="connsiteX6" fmla="*/ 1907469 w 3731264"/>
              <a:gd name="connsiteY6" fmla="*/ 17856 h 5097787"/>
              <a:gd name="connsiteX7" fmla="*/ 1907574 w 3731264"/>
              <a:gd name="connsiteY7" fmla="*/ 18011 h 5097787"/>
              <a:gd name="connsiteX8" fmla="*/ 1907701 w 3731264"/>
              <a:gd name="connsiteY8" fmla="*/ 18098 h 5097787"/>
              <a:gd name="connsiteX9" fmla="*/ 1913011 w 3731264"/>
              <a:gd name="connsiteY9" fmla="*/ 26076 h 5097787"/>
              <a:gd name="connsiteX10" fmla="*/ 1920534 w 3731264"/>
              <a:gd name="connsiteY10" fmla="*/ 37233 h 5097787"/>
              <a:gd name="connsiteX11" fmla="*/ 1920575 w 3731264"/>
              <a:gd name="connsiteY11" fmla="*/ 37440 h 5097787"/>
              <a:gd name="connsiteX12" fmla="*/ 1920619 w 3731264"/>
              <a:gd name="connsiteY12" fmla="*/ 37506 h 5097787"/>
              <a:gd name="connsiteX13" fmla="*/ 1925034 w 3731264"/>
              <a:gd name="connsiteY13" fmla="*/ 59523 h 5097787"/>
              <a:gd name="connsiteX14" fmla="*/ 1925324 w 3731264"/>
              <a:gd name="connsiteY14" fmla="*/ 60962 h 5097787"/>
              <a:gd name="connsiteX15" fmla="*/ 1920534 w 3731264"/>
              <a:gd name="connsiteY15" fmla="*/ 84691 h 5097787"/>
              <a:gd name="connsiteX16" fmla="*/ 1920477 w 3731264"/>
              <a:gd name="connsiteY16" fmla="*/ 84775 h 5097787"/>
              <a:gd name="connsiteX17" fmla="*/ 1920441 w 3731264"/>
              <a:gd name="connsiteY17" fmla="*/ 84953 h 5097787"/>
              <a:gd name="connsiteX18" fmla="*/ 1913985 w 3731264"/>
              <a:gd name="connsiteY18" fmla="*/ 94403 h 5097787"/>
              <a:gd name="connsiteX19" fmla="*/ 1907469 w 3731264"/>
              <a:gd name="connsiteY19" fmla="*/ 104069 h 5097787"/>
              <a:gd name="connsiteX20" fmla="*/ 1907349 w 3731264"/>
              <a:gd name="connsiteY20" fmla="*/ 104118 h 5097787"/>
              <a:gd name="connsiteX21" fmla="*/ 1907224 w 3731264"/>
              <a:gd name="connsiteY21" fmla="*/ 104301 h 5097787"/>
              <a:gd name="connsiteX22" fmla="*/ 1878415 w 3731264"/>
              <a:gd name="connsiteY22" fmla="*/ 116145 h 5097787"/>
              <a:gd name="connsiteX23" fmla="*/ 1878415 w 3731264"/>
              <a:gd name="connsiteY23" fmla="*/ 433151 h 5097787"/>
              <a:gd name="connsiteX24" fmla="*/ 1725882 w 3731264"/>
              <a:gd name="connsiteY24" fmla="*/ 585424 h 5097787"/>
              <a:gd name="connsiteX25" fmla="*/ 314912 w 3731264"/>
              <a:gd name="connsiteY25" fmla="*/ 585424 h 5097787"/>
              <a:gd name="connsiteX26" fmla="*/ 25393 w 3731264"/>
              <a:gd name="connsiteY26" fmla="*/ 874974 h 5097787"/>
              <a:gd name="connsiteX27" fmla="*/ 314912 w 3731264"/>
              <a:gd name="connsiteY27" fmla="*/ 1164524 h 5097787"/>
              <a:gd name="connsiteX28" fmla="*/ 1725882 w 3731264"/>
              <a:gd name="connsiteY28" fmla="*/ 1164524 h 5097787"/>
              <a:gd name="connsiteX29" fmla="*/ 1878415 w 3731264"/>
              <a:gd name="connsiteY29" fmla="*/ 1317028 h 5097787"/>
              <a:gd name="connsiteX30" fmla="*/ 1878415 w 3731264"/>
              <a:gd name="connsiteY30" fmla="*/ 1558358 h 5097787"/>
              <a:gd name="connsiteX31" fmla="*/ 1915210 w 3731264"/>
              <a:gd name="connsiteY31" fmla="*/ 1648568 h 5097787"/>
              <a:gd name="connsiteX32" fmla="*/ 2005382 w 3731264"/>
              <a:gd name="connsiteY32" fmla="*/ 1685252 h 5097787"/>
              <a:gd name="connsiteX33" fmla="*/ 3416352 w 3731264"/>
              <a:gd name="connsiteY33" fmla="*/ 1685252 h 5097787"/>
              <a:gd name="connsiteX34" fmla="*/ 3731264 w 3731264"/>
              <a:gd name="connsiteY34" fmla="*/ 2000181 h 5097787"/>
              <a:gd name="connsiteX35" fmla="*/ 3416352 w 3731264"/>
              <a:gd name="connsiteY35" fmla="*/ 2315109 h 5097787"/>
              <a:gd name="connsiteX36" fmla="*/ 2005382 w 3731264"/>
              <a:gd name="connsiteY36" fmla="*/ 2315109 h 5097787"/>
              <a:gd name="connsiteX37" fmla="*/ 1915210 w 3731264"/>
              <a:gd name="connsiteY37" fmla="*/ 2352024 h 5097787"/>
              <a:gd name="connsiteX38" fmla="*/ 1878415 w 3731264"/>
              <a:gd name="connsiteY38" fmla="*/ 2442235 h 5097787"/>
              <a:gd name="connsiteX39" fmla="*/ 1878415 w 3731264"/>
              <a:gd name="connsiteY39" fmla="*/ 2712635 h 5097787"/>
              <a:gd name="connsiteX40" fmla="*/ 1725882 w 3731264"/>
              <a:gd name="connsiteY40" fmla="*/ 2865139 h 5097787"/>
              <a:gd name="connsiteX41" fmla="*/ 314912 w 3731264"/>
              <a:gd name="connsiteY41" fmla="*/ 2865139 h 5097787"/>
              <a:gd name="connsiteX42" fmla="*/ 25393 w 3731264"/>
              <a:gd name="connsiteY42" fmla="*/ 3154689 h 5097787"/>
              <a:gd name="connsiteX43" fmla="*/ 314912 w 3731264"/>
              <a:gd name="connsiteY43" fmla="*/ 3444238 h 5097787"/>
              <a:gd name="connsiteX44" fmla="*/ 1725882 w 3731264"/>
              <a:gd name="connsiteY44" fmla="*/ 3444238 h 5097787"/>
              <a:gd name="connsiteX45" fmla="*/ 1878415 w 3731264"/>
              <a:gd name="connsiteY45" fmla="*/ 3596742 h 5097787"/>
              <a:gd name="connsiteX46" fmla="*/ 1878415 w 3731264"/>
              <a:gd name="connsiteY46" fmla="*/ 3837842 h 5097787"/>
              <a:gd name="connsiteX47" fmla="*/ 1915210 w 3731264"/>
              <a:gd name="connsiteY47" fmla="*/ 3928052 h 5097787"/>
              <a:gd name="connsiteX48" fmla="*/ 2005382 w 3731264"/>
              <a:gd name="connsiteY48" fmla="*/ 3964967 h 5097787"/>
              <a:gd name="connsiteX49" fmla="*/ 3416352 w 3731264"/>
              <a:gd name="connsiteY49" fmla="*/ 3964967 h 5097787"/>
              <a:gd name="connsiteX50" fmla="*/ 3731264 w 3731264"/>
              <a:gd name="connsiteY50" fmla="*/ 4277358 h 5097787"/>
              <a:gd name="connsiteX51" fmla="*/ 3416352 w 3731264"/>
              <a:gd name="connsiteY51" fmla="*/ 4592286 h 5097787"/>
              <a:gd name="connsiteX52" fmla="*/ 2005382 w 3731264"/>
              <a:gd name="connsiteY52" fmla="*/ 4592286 h 5097787"/>
              <a:gd name="connsiteX53" fmla="*/ 1878415 w 3731264"/>
              <a:gd name="connsiteY53" fmla="*/ 4719411 h 5097787"/>
              <a:gd name="connsiteX54" fmla="*/ 1878415 w 3731264"/>
              <a:gd name="connsiteY54" fmla="*/ 4977122 h 5097787"/>
              <a:gd name="connsiteX55" fmla="*/ 1926611 w 3731264"/>
              <a:gd name="connsiteY55" fmla="*/ 5036878 h 5097787"/>
              <a:gd name="connsiteX56" fmla="*/ 1865632 w 3731264"/>
              <a:gd name="connsiteY56" fmla="*/ 5097787 h 5097787"/>
              <a:gd name="connsiteX57" fmla="*/ 1804654 w 3731264"/>
              <a:gd name="connsiteY57" fmla="*/ 5036878 h 5097787"/>
              <a:gd name="connsiteX58" fmla="*/ 1852849 w 3731264"/>
              <a:gd name="connsiteY58" fmla="*/ 4977122 h 5097787"/>
              <a:gd name="connsiteX59" fmla="*/ 1852849 w 3731264"/>
              <a:gd name="connsiteY59" fmla="*/ 4719411 h 5097787"/>
              <a:gd name="connsiteX60" fmla="*/ 2005382 w 3731264"/>
              <a:gd name="connsiteY60" fmla="*/ 4566907 h 5097787"/>
              <a:gd name="connsiteX61" fmla="*/ 3416352 w 3731264"/>
              <a:gd name="connsiteY61" fmla="*/ 4566907 h 5097787"/>
              <a:gd name="connsiteX62" fmla="*/ 3705871 w 3731264"/>
              <a:gd name="connsiteY62" fmla="*/ 4277358 h 5097787"/>
              <a:gd name="connsiteX63" fmla="*/ 3416352 w 3731264"/>
              <a:gd name="connsiteY63" fmla="*/ 3987808 h 5097787"/>
              <a:gd name="connsiteX64" fmla="*/ 2005382 w 3731264"/>
              <a:gd name="connsiteY64" fmla="*/ 3987808 h 5097787"/>
              <a:gd name="connsiteX65" fmla="*/ 1897417 w 3731264"/>
              <a:gd name="connsiteY65" fmla="*/ 3943279 h 5097787"/>
              <a:gd name="connsiteX66" fmla="*/ 1852849 w 3731264"/>
              <a:gd name="connsiteY66" fmla="*/ 3835304 h 5097787"/>
              <a:gd name="connsiteX67" fmla="*/ 1852849 w 3731264"/>
              <a:gd name="connsiteY67" fmla="*/ 3594204 h 5097787"/>
              <a:gd name="connsiteX68" fmla="*/ 1725882 w 3731264"/>
              <a:gd name="connsiteY68" fmla="*/ 3467079 h 5097787"/>
              <a:gd name="connsiteX69" fmla="*/ 314912 w 3731264"/>
              <a:gd name="connsiteY69" fmla="*/ 3467079 h 5097787"/>
              <a:gd name="connsiteX70" fmla="*/ 0 w 3731264"/>
              <a:gd name="connsiteY70" fmla="*/ 3152151 h 5097787"/>
              <a:gd name="connsiteX71" fmla="*/ 314912 w 3731264"/>
              <a:gd name="connsiteY71" fmla="*/ 2837222 h 5097787"/>
              <a:gd name="connsiteX72" fmla="*/ 1725882 w 3731264"/>
              <a:gd name="connsiteY72" fmla="*/ 2837222 h 5097787"/>
              <a:gd name="connsiteX73" fmla="*/ 1852849 w 3731264"/>
              <a:gd name="connsiteY73" fmla="*/ 2710097 h 5097787"/>
              <a:gd name="connsiteX74" fmla="*/ 1852849 w 3731264"/>
              <a:gd name="connsiteY74" fmla="*/ 2439697 h 5097787"/>
              <a:gd name="connsiteX75" fmla="*/ 1897417 w 3731264"/>
              <a:gd name="connsiteY75" fmla="*/ 2331721 h 5097787"/>
              <a:gd name="connsiteX76" fmla="*/ 2005382 w 3731264"/>
              <a:gd name="connsiteY76" fmla="*/ 2287193 h 5097787"/>
              <a:gd name="connsiteX77" fmla="*/ 3416352 w 3731264"/>
              <a:gd name="connsiteY77" fmla="*/ 2287193 h 5097787"/>
              <a:gd name="connsiteX78" fmla="*/ 3705871 w 3731264"/>
              <a:gd name="connsiteY78" fmla="*/ 1997643 h 5097787"/>
              <a:gd name="connsiteX79" fmla="*/ 3416352 w 3731264"/>
              <a:gd name="connsiteY79" fmla="*/ 1708093 h 5097787"/>
              <a:gd name="connsiteX80" fmla="*/ 2005382 w 3731264"/>
              <a:gd name="connsiteY80" fmla="*/ 1708093 h 5097787"/>
              <a:gd name="connsiteX81" fmla="*/ 1897417 w 3731264"/>
              <a:gd name="connsiteY81" fmla="*/ 1663795 h 5097787"/>
              <a:gd name="connsiteX82" fmla="*/ 1852849 w 3731264"/>
              <a:gd name="connsiteY82" fmla="*/ 1555820 h 5097787"/>
              <a:gd name="connsiteX83" fmla="*/ 1852849 w 3731264"/>
              <a:gd name="connsiteY83" fmla="*/ 1314490 h 5097787"/>
              <a:gd name="connsiteX84" fmla="*/ 1725882 w 3731264"/>
              <a:gd name="connsiteY84" fmla="*/ 1187365 h 5097787"/>
              <a:gd name="connsiteX85" fmla="*/ 314912 w 3731264"/>
              <a:gd name="connsiteY85" fmla="*/ 1187365 h 5097787"/>
              <a:gd name="connsiteX86" fmla="*/ 0 w 3731264"/>
              <a:gd name="connsiteY86" fmla="*/ 872436 h 5097787"/>
              <a:gd name="connsiteX87" fmla="*/ 314912 w 3731264"/>
              <a:gd name="connsiteY87" fmla="*/ 557508 h 5097787"/>
              <a:gd name="connsiteX88" fmla="*/ 1725882 w 3731264"/>
              <a:gd name="connsiteY88" fmla="*/ 557508 h 5097787"/>
              <a:gd name="connsiteX89" fmla="*/ 1852849 w 3731264"/>
              <a:gd name="connsiteY89" fmla="*/ 430613 h 5097787"/>
              <a:gd name="connsiteX90" fmla="*/ 1852849 w 3731264"/>
              <a:gd name="connsiteY90" fmla="*/ 117155 h 5097787"/>
              <a:gd name="connsiteX91" fmla="*/ 1821256 w 3731264"/>
              <a:gd name="connsiteY91" fmla="*/ 104069 h 5097787"/>
              <a:gd name="connsiteX92" fmla="*/ 1808191 w 3731264"/>
              <a:gd name="connsiteY92" fmla="*/ 84691 h 5097787"/>
              <a:gd name="connsiteX93" fmla="*/ 1803409 w 3731264"/>
              <a:gd name="connsiteY93" fmla="*/ 61004 h 5097787"/>
              <a:gd name="connsiteX94" fmla="*/ 1803399 w 3731264"/>
              <a:gd name="connsiteY94" fmla="*/ 60962 h 5097787"/>
              <a:gd name="connsiteX95" fmla="*/ 1803528 w 3731264"/>
              <a:gd name="connsiteY95" fmla="*/ 60329 h 5097787"/>
              <a:gd name="connsiteX96" fmla="*/ 1808191 w 3731264"/>
              <a:gd name="connsiteY96" fmla="*/ 37233 h 5097787"/>
              <a:gd name="connsiteX97" fmla="*/ 1808243 w 3731264"/>
              <a:gd name="connsiteY97" fmla="*/ 37155 h 5097787"/>
              <a:gd name="connsiteX98" fmla="*/ 1808281 w 3731264"/>
              <a:gd name="connsiteY98" fmla="*/ 36970 h 5097787"/>
              <a:gd name="connsiteX99" fmla="*/ 1815009 w 3731264"/>
              <a:gd name="connsiteY99" fmla="*/ 27121 h 5097787"/>
              <a:gd name="connsiteX100" fmla="*/ 1821256 w 3731264"/>
              <a:gd name="connsiteY100" fmla="*/ 17856 h 5097787"/>
              <a:gd name="connsiteX101" fmla="*/ 1821370 w 3731264"/>
              <a:gd name="connsiteY101" fmla="*/ 17808 h 5097787"/>
              <a:gd name="connsiteX102" fmla="*/ 1821497 w 3731264"/>
              <a:gd name="connsiteY102" fmla="*/ 17622 h 5097787"/>
              <a:gd name="connsiteX103" fmla="*/ 1864361 w 3731264"/>
              <a:gd name="connsiteY103" fmla="*/ 0 h 509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731264" h="5097787">
                <a:moveTo>
                  <a:pt x="1864361" y="0"/>
                </a:moveTo>
                <a:lnTo>
                  <a:pt x="1864362" y="0"/>
                </a:lnTo>
                <a:lnTo>
                  <a:pt x="1864362" y="0"/>
                </a:lnTo>
                <a:lnTo>
                  <a:pt x="1864363" y="0"/>
                </a:lnTo>
                <a:lnTo>
                  <a:pt x="1888353" y="4882"/>
                </a:lnTo>
                <a:lnTo>
                  <a:pt x="1907156" y="17726"/>
                </a:lnTo>
                <a:lnTo>
                  <a:pt x="1907469" y="17856"/>
                </a:lnTo>
                <a:lnTo>
                  <a:pt x="1907574" y="18011"/>
                </a:lnTo>
                <a:lnTo>
                  <a:pt x="1907701" y="18098"/>
                </a:lnTo>
                <a:lnTo>
                  <a:pt x="1913011" y="26076"/>
                </a:lnTo>
                <a:lnTo>
                  <a:pt x="1920534" y="37233"/>
                </a:lnTo>
                <a:lnTo>
                  <a:pt x="1920575" y="37440"/>
                </a:lnTo>
                <a:lnTo>
                  <a:pt x="1920619" y="37506"/>
                </a:lnTo>
                <a:lnTo>
                  <a:pt x="1925034" y="59523"/>
                </a:lnTo>
                <a:lnTo>
                  <a:pt x="1925324" y="60962"/>
                </a:lnTo>
                <a:cubicBezTo>
                  <a:pt x="1925324" y="69379"/>
                  <a:pt x="1923618" y="77398"/>
                  <a:pt x="1920534" y="84691"/>
                </a:cubicBezTo>
                <a:lnTo>
                  <a:pt x="1920477" y="84775"/>
                </a:lnTo>
                <a:lnTo>
                  <a:pt x="1920441" y="84953"/>
                </a:lnTo>
                <a:lnTo>
                  <a:pt x="1913985" y="94403"/>
                </a:lnTo>
                <a:lnTo>
                  <a:pt x="1907469" y="104069"/>
                </a:lnTo>
                <a:lnTo>
                  <a:pt x="1907349" y="104118"/>
                </a:lnTo>
                <a:lnTo>
                  <a:pt x="1907224" y="104301"/>
                </a:lnTo>
                <a:lnTo>
                  <a:pt x="1878415" y="116145"/>
                </a:lnTo>
                <a:lnTo>
                  <a:pt x="1878415" y="433151"/>
                </a:lnTo>
                <a:cubicBezTo>
                  <a:pt x="1878415" y="516901"/>
                  <a:pt x="1809836" y="585424"/>
                  <a:pt x="1725882" y="585424"/>
                </a:cubicBezTo>
                <a:lnTo>
                  <a:pt x="314912" y="585424"/>
                </a:lnTo>
                <a:cubicBezTo>
                  <a:pt x="154951" y="585424"/>
                  <a:pt x="25393" y="715087"/>
                  <a:pt x="25393" y="874974"/>
                </a:cubicBezTo>
                <a:cubicBezTo>
                  <a:pt x="25393" y="1035092"/>
                  <a:pt x="154951" y="1164524"/>
                  <a:pt x="314912" y="1164524"/>
                </a:cubicBezTo>
                <a:lnTo>
                  <a:pt x="1725882" y="1164524"/>
                </a:lnTo>
                <a:cubicBezTo>
                  <a:pt x="1809836" y="1164524"/>
                  <a:pt x="1878415" y="1233278"/>
                  <a:pt x="1878415" y="1317028"/>
                </a:cubicBezTo>
                <a:lnTo>
                  <a:pt x="1878415" y="1558358"/>
                </a:lnTo>
                <a:cubicBezTo>
                  <a:pt x="1878415" y="1592504"/>
                  <a:pt x="1891026" y="1624343"/>
                  <a:pt x="1915210" y="1648568"/>
                </a:cubicBezTo>
                <a:cubicBezTo>
                  <a:pt x="1939221" y="1672563"/>
                  <a:pt x="1971006" y="1685252"/>
                  <a:pt x="2005382" y="1685252"/>
                </a:cubicBezTo>
                <a:lnTo>
                  <a:pt x="3416352" y="1685252"/>
                </a:lnTo>
                <a:cubicBezTo>
                  <a:pt x="3590305" y="1685252"/>
                  <a:pt x="3731264" y="1826220"/>
                  <a:pt x="3731264" y="2000181"/>
                </a:cubicBezTo>
                <a:cubicBezTo>
                  <a:pt x="3731264" y="2174141"/>
                  <a:pt x="3590305" y="2315109"/>
                  <a:pt x="3416352" y="2315109"/>
                </a:cubicBezTo>
                <a:lnTo>
                  <a:pt x="2005382" y="2315109"/>
                </a:lnTo>
                <a:cubicBezTo>
                  <a:pt x="1971006" y="2315109"/>
                  <a:pt x="1939221" y="2327799"/>
                  <a:pt x="1915210" y="2352024"/>
                </a:cubicBezTo>
                <a:cubicBezTo>
                  <a:pt x="1891026" y="2376250"/>
                  <a:pt x="1878415" y="2407858"/>
                  <a:pt x="1878415" y="2442235"/>
                </a:cubicBezTo>
                <a:lnTo>
                  <a:pt x="1878415" y="2712635"/>
                </a:lnTo>
                <a:cubicBezTo>
                  <a:pt x="1878415" y="2796616"/>
                  <a:pt x="1809836" y="2865139"/>
                  <a:pt x="1725882" y="2865139"/>
                </a:cubicBezTo>
                <a:lnTo>
                  <a:pt x="314912" y="2865139"/>
                </a:lnTo>
                <a:cubicBezTo>
                  <a:pt x="154951" y="2865139"/>
                  <a:pt x="25393" y="2994571"/>
                  <a:pt x="25393" y="3154689"/>
                </a:cubicBezTo>
                <a:cubicBezTo>
                  <a:pt x="25393" y="3314806"/>
                  <a:pt x="154951" y="3444238"/>
                  <a:pt x="314912" y="3444238"/>
                </a:cubicBezTo>
                <a:lnTo>
                  <a:pt x="1725882" y="3444238"/>
                </a:lnTo>
                <a:cubicBezTo>
                  <a:pt x="1809836" y="3444238"/>
                  <a:pt x="1878415" y="3512761"/>
                  <a:pt x="1878415" y="3596742"/>
                </a:cubicBezTo>
                <a:lnTo>
                  <a:pt x="1878415" y="3837842"/>
                </a:lnTo>
                <a:cubicBezTo>
                  <a:pt x="1878415" y="3872218"/>
                  <a:pt x="1891026" y="3904057"/>
                  <a:pt x="1915210" y="3928052"/>
                </a:cubicBezTo>
                <a:cubicBezTo>
                  <a:pt x="1939221" y="3952277"/>
                  <a:pt x="1971006" y="3964967"/>
                  <a:pt x="2005382" y="3964967"/>
                </a:cubicBezTo>
                <a:lnTo>
                  <a:pt x="3416352" y="3964967"/>
                </a:lnTo>
                <a:cubicBezTo>
                  <a:pt x="3590305" y="3964967"/>
                  <a:pt x="3731264" y="4103397"/>
                  <a:pt x="3731264" y="4277358"/>
                </a:cubicBezTo>
                <a:cubicBezTo>
                  <a:pt x="3731264" y="4451318"/>
                  <a:pt x="3590305" y="4592286"/>
                  <a:pt x="3416352" y="4592286"/>
                </a:cubicBezTo>
                <a:lnTo>
                  <a:pt x="2005382" y="4592286"/>
                </a:lnTo>
                <a:cubicBezTo>
                  <a:pt x="1935421" y="4592286"/>
                  <a:pt x="1878415" y="4649504"/>
                  <a:pt x="1878415" y="4719411"/>
                </a:cubicBezTo>
                <a:lnTo>
                  <a:pt x="1878415" y="4977122"/>
                </a:lnTo>
                <a:cubicBezTo>
                  <a:pt x="1906227" y="4983582"/>
                  <a:pt x="1926611" y="5007577"/>
                  <a:pt x="1926611" y="5036878"/>
                </a:cubicBezTo>
                <a:cubicBezTo>
                  <a:pt x="1926611" y="5071024"/>
                  <a:pt x="1898626" y="5097787"/>
                  <a:pt x="1865632" y="5097787"/>
                </a:cubicBezTo>
                <a:cubicBezTo>
                  <a:pt x="1831429" y="5097787"/>
                  <a:pt x="1804654" y="5069870"/>
                  <a:pt x="1804654" y="5036878"/>
                </a:cubicBezTo>
                <a:cubicBezTo>
                  <a:pt x="1804654" y="5007577"/>
                  <a:pt x="1826247" y="4983582"/>
                  <a:pt x="1852849" y="4977122"/>
                </a:cubicBezTo>
                <a:lnTo>
                  <a:pt x="1852849" y="4719411"/>
                </a:lnTo>
                <a:cubicBezTo>
                  <a:pt x="1852849" y="4635430"/>
                  <a:pt x="1921428" y="4566907"/>
                  <a:pt x="2005382" y="4566907"/>
                </a:cubicBezTo>
                <a:lnTo>
                  <a:pt x="3416352" y="4566907"/>
                </a:lnTo>
                <a:cubicBezTo>
                  <a:pt x="3576313" y="4566907"/>
                  <a:pt x="3705871" y="4437475"/>
                  <a:pt x="3705871" y="4277358"/>
                </a:cubicBezTo>
                <a:cubicBezTo>
                  <a:pt x="3705871" y="4117240"/>
                  <a:pt x="3576313" y="3987808"/>
                  <a:pt x="3416352" y="3987808"/>
                </a:cubicBezTo>
                <a:lnTo>
                  <a:pt x="2005382" y="3987808"/>
                </a:lnTo>
                <a:cubicBezTo>
                  <a:pt x="1964614" y="3987808"/>
                  <a:pt x="1926611" y="3972580"/>
                  <a:pt x="1897417" y="3943279"/>
                </a:cubicBezTo>
                <a:cubicBezTo>
                  <a:pt x="1868223" y="3914209"/>
                  <a:pt x="1852849" y="3876141"/>
                  <a:pt x="1852849" y="3835304"/>
                </a:cubicBezTo>
                <a:lnTo>
                  <a:pt x="1852849" y="3594204"/>
                </a:lnTo>
                <a:cubicBezTo>
                  <a:pt x="1852849" y="3524297"/>
                  <a:pt x="1795843" y="3467079"/>
                  <a:pt x="1725882" y="3467079"/>
                </a:cubicBezTo>
                <a:lnTo>
                  <a:pt x="314912" y="3467079"/>
                </a:lnTo>
                <a:cubicBezTo>
                  <a:pt x="140959" y="3467079"/>
                  <a:pt x="0" y="3326111"/>
                  <a:pt x="0" y="3152151"/>
                </a:cubicBezTo>
                <a:cubicBezTo>
                  <a:pt x="0" y="2978190"/>
                  <a:pt x="140959" y="2837222"/>
                  <a:pt x="314912" y="2837222"/>
                </a:cubicBezTo>
                <a:lnTo>
                  <a:pt x="1725882" y="2837222"/>
                </a:lnTo>
                <a:cubicBezTo>
                  <a:pt x="1795843" y="2837222"/>
                  <a:pt x="1852849" y="2780004"/>
                  <a:pt x="1852849" y="2710097"/>
                </a:cubicBezTo>
                <a:lnTo>
                  <a:pt x="1852849" y="2439697"/>
                </a:lnTo>
                <a:cubicBezTo>
                  <a:pt x="1852849" y="2399090"/>
                  <a:pt x="1868223" y="2361022"/>
                  <a:pt x="1897417" y="2331721"/>
                </a:cubicBezTo>
                <a:cubicBezTo>
                  <a:pt x="1926611" y="2302420"/>
                  <a:pt x="1964614" y="2287193"/>
                  <a:pt x="2005382" y="2287193"/>
                </a:cubicBezTo>
                <a:lnTo>
                  <a:pt x="3416352" y="2287193"/>
                </a:lnTo>
                <a:cubicBezTo>
                  <a:pt x="3576313" y="2287193"/>
                  <a:pt x="3705871" y="2157761"/>
                  <a:pt x="3705871" y="1997643"/>
                </a:cubicBezTo>
                <a:cubicBezTo>
                  <a:pt x="3705871" y="1837756"/>
                  <a:pt x="3576313" y="1708093"/>
                  <a:pt x="3416352" y="1708093"/>
                </a:cubicBezTo>
                <a:lnTo>
                  <a:pt x="2005382" y="1708093"/>
                </a:lnTo>
                <a:cubicBezTo>
                  <a:pt x="1964614" y="1708093"/>
                  <a:pt x="1926611" y="1692866"/>
                  <a:pt x="1897417" y="1663795"/>
                </a:cubicBezTo>
                <a:cubicBezTo>
                  <a:pt x="1868223" y="1634494"/>
                  <a:pt x="1852849" y="1596426"/>
                  <a:pt x="1852849" y="1555820"/>
                </a:cubicBezTo>
                <a:lnTo>
                  <a:pt x="1852849" y="1314490"/>
                </a:lnTo>
                <a:cubicBezTo>
                  <a:pt x="1852849" y="1244583"/>
                  <a:pt x="1795843" y="1187365"/>
                  <a:pt x="1725882" y="1187365"/>
                </a:cubicBezTo>
                <a:lnTo>
                  <a:pt x="314912" y="1187365"/>
                </a:lnTo>
                <a:cubicBezTo>
                  <a:pt x="140959" y="1187365"/>
                  <a:pt x="0" y="1046397"/>
                  <a:pt x="0" y="872436"/>
                </a:cubicBezTo>
                <a:cubicBezTo>
                  <a:pt x="0" y="698476"/>
                  <a:pt x="140959" y="557508"/>
                  <a:pt x="314912" y="557508"/>
                </a:cubicBezTo>
                <a:lnTo>
                  <a:pt x="1725882" y="557508"/>
                </a:lnTo>
                <a:cubicBezTo>
                  <a:pt x="1795843" y="557508"/>
                  <a:pt x="1852849" y="500290"/>
                  <a:pt x="1852849" y="430613"/>
                </a:cubicBezTo>
                <a:lnTo>
                  <a:pt x="1852849" y="117155"/>
                </a:lnTo>
                <a:lnTo>
                  <a:pt x="1821256" y="104069"/>
                </a:lnTo>
                <a:cubicBezTo>
                  <a:pt x="1815740" y="98553"/>
                  <a:pt x="1811276" y="91984"/>
                  <a:pt x="1808191" y="84691"/>
                </a:cubicBezTo>
                <a:lnTo>
                  <a:pt x="1803409" y="61004"/>
                </a:lnTo>
                <a:lnTo>
                  <a:pt x="1803399" y="60962"/>
                </a:lnTo>
                <a:lnTo>
                  <a:pt x="1803528" y="60329"/>
                </a:lnTo>
                <a:lnTo>
                  <a:pt x="1808191" y="37233"/>
                </a:lnTo>
                <a:lnTo>
                  <a:pt x="1808243" y="37155"/>
                </a:lnTo>
                <a:lnTo>
                  <a:pt x="1808281" y="36970"/>
                </a:lnTo>
                <a:lnTo>
                  <a:pt x="1815009" y="27121"/>
                </a:lnTo>
                <a:lnTo>
                  <a:pt x="1821256" y="17856"/>
                </a:lnTo>
                <a:lnTo>
                  <a:pt x="1821370" y="17808"/>
                </a:lnTo>
                <a:lnTo>
                  <a:pt x="1821497" y="17622"/>
                </a:lnTo>
                <a:cubicBezTo>
                  <a:pt x="1832610" y="6668"/>
                  <a:pt x="1847851" y="0"/>
                  <a:pt x="1864361" y="0"/>
                </a:cubicBezTo>
                <a:close/>
              </a:path>
            </a:pathLst>
          </a:custGeom>
          <a:solidFill>
            <a:schemeClr val="bg2">
              <a:lumMod val="75000"/>
            </a:schemeClr>
          </a:solidFill>
          <a:ln w="12700">
            <a:miter lim="400000"/>
          </a:ln>
        </p:spPr>
        <p:txBody>
          <a:bodyPr wrap="square" lIns="28575" tIns="28575" rIns="28575" bIns="28575" anchor="ctr">
            <a:noAutofit/>
          </a:bodyPr>
          <a:lstStyle/>
          <a:p>
            <a:pPr>
              <a:defRPr sz="3000">
                <a:solidFill>
                  <a:srgbClr val="FFFFFF"/>
                </a:solidFill>
              </a:defRPr>
            </a:pPr>
            <a:endParaRPr sz="2400"/>
          </a:p>
        </p:txBody>
      </p:sp>
      <p:grpSp>
        <p:nvGrpSpPr>
          <p:cNvPr id="21" name="Group 20">
            <a:extLst>
              <a:ext uri="{FF2B5EF4-FFF2-40B4-BE49-F238E27FC236}">
                <a16:creationId xmlns:a16="http://schemas.microsoft.com/office/drawing/2014/main" id="{08CB4278-EEE5-0293-CAAF-989046B737CC}"/>
              </a:ext>
            </a:extLst>
          </p:cNvPr>
          <p:cNvGrpSpPr/>
          <p:nvPr/>
        </p:nvGrpSpPr>
        <p:grpSpPr>
          <a:xfrm>
            <a:off x="1856015" y="3884286"/>
            <a:ext cx="406044" cy="406044"/>
            <a:chOff x="4331336" y="3808094"/>
            <a:chExt cx="447043" cy="447043"/>
          </a:xfrm>
        </p:grpSpPr>
        <p:sp>
          <p:nvSpPr>
            <p:cNvPr id="23" name="Circle">
              <a:extLst>
                <a:ext uri="{FF2B5EF4-FFF2-40B4-BE49-F238E27FC236}">
                  <a16:creationId xmlns:a16="http://schemas.microsoft.com/office/drawing/2014/main" id="{B5FBF3DF-6BEF-EE85-3DE9-354789ED94E1}"/>
                </a:ext>
              </a:extLst>
            </p:cNvPr>
            <p:cNvSpPr/>
            <p:nvPr/>
          </p:nvSpPr>
          <p:spPr>
            <a:xfrm>
              <a:off x="4331336" y="3808094"/>
              <a:ext cx="447043" cy="447043"/>
            </a:xfrm>
            <a:prstGeom prst="ellipse">
              <a:avLst/>
            </a:prstGeom>
            <a:solidFill>
              <a:schemeClr val="accent6"/>
            </a:solidFill>
            <a:ln w="12700">
              <a:miter lim="400000"/>
            </a:ln>
          </p:spPr>
          <p:txBody>
            <a:bodyPr lIns="28575" tIns="28575" rIns="28575" bIns="28575" anchor="ctr"/>
            <a:lstStyle/>
            <a:p>
              <a:pPr>
                <a:defRPr sz="3000">
                  <a:solidFill>
                    <a:srgbClr val="FFFFFF"/>
                  </a:solidFill>
                </a:defRPr>
              </a:pPr>
              <a:endParaRPr sz="2400"/>
            </a:p>
          </p:txBody>
        </p:sp>
        <p:pic>
          <p:nvPicPr>
            <p:cNvPr id="24" name="Graphic 23" descr="Hourglass Finished with solid fill">
              <a:extLst>
                <a:ext uri="{FF2B5EF4-FFF2-40B4-BE49-F238E27FC236}">
                  <a16:creationId xmlns:a16="http://schemas.microsoft.com/office/drawing/2014/main" id="{D9DC76B5-D9D7-9315-CD7A-5B5AA56EE002}"/>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79775" y="3856533"/>
              <a:ext cx="350164" cy="350164"/>
            </a:xfrm>
            <a:prstGeom prst="rect">
              <a:avLst/>
            </a:prstGeom>
          </p:spPr>
        </p:pic>
      </p:grpSp>
      <p:sp>
        <p:nvSpPr>
          <p:cNvPr id="25" name="TextBox 24">
            <a:extLst>
              <a:ext uri="{FF2B5EF4-FFF2-40B4-BE49-F238E27FC236}">
                <a16:creationId xmlns:a16="http://schemas.microsoft.com/office/drawing/2014/main" id="{098A21A9-75B1-CB92-4A67-9D4241327411}"/>
              </a:ext>
            </a:extLst>
          </p:cNvPr>
          <p:cNvSpPr txBox="1"/>
          <p:nvPr/>
        </p:nvSpPr>
        <p:spPr>
          <a:xfrm>
            <a:off x="2306056" y="3829134"/>
            <a:ext cx="1585135"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FFB500"/>
                </a:solidFill>
                <a:latin typeface="Roboto"/>
                <a:ea typeface="Roboto"/>
                <a:cs typeface="Arial"/>
              </a:rPr>
              <a:t>K- Means Clustering</a:t>
            </a:r>
            <a:endParaRPr lang="en-US">
              <a:solidFill>
                <a:srgbClr val="FFB500"/>
              </a:solidFill>
            </a:endParaRPr>
          </a:p>
        </p:txBody>
      </p:sp>
      <p:sp>
        <p:nvSpPr>
          <p:cNvPr id="26" name="TextBox 25">
            <a:extLst>
              <a:ext uri="{FF2B5EF4-FFF2-40B4-BE49-F238E27FC236}">
                <a16:creationId xmlns:a16="http://schemas.microsoft.com/office/drawing/2014/main" id="{EA85C699-0BC0-2E11-626F-071ABDB5F862}"/>
              </a:ext>
            </a:extLst>
          </p:cNvPr>
          <p:cNvSpPr txBox="1"/>
          <p:nvPr/>
        </p:nvSpPr>
        <p:spPr>
          <a:xfrm>
            <a:off x="3562684" y="1672853"/>
            <a:ext cx="2743200" cy="50783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dirty="0">
                <a:solidFill>
                  <a:srgbClr val="444444"/>
                </a:solidFill>
                <a:latin typeface="Calibri"/>
                <a:cs typeface="Arial"/>
              </a:rPr>
              <a:t>Root cause </a:t>
            </a:r>
            <a:r>
              <a:rPr lang="en-US" sz="1100" b="1" dirty="0">
                <a:solidFill>
                  <a:srgbClr val="444444"/>
                </a:solidFill>
                <a:latin typeface="Calibri"/>
                <a:cs typeface="Arial"/>
              </a:rPr>
              <a:t>analysis is manual</a:t>
            </a:r>
          </a:p>
          <a:p>
            <a:pPr marL="228600" lvl="1" indent="-228600">
              <a:buFont typeface=""/>
              <a:buChar char="•"/>
            </a:pPr>
            <a:r>
              <a:rPr lang="en-US" sz="1100" dirty="0">
                <a:solidFill>
                  <a:srgbClr val="444444"/>
                </a:solidFill>
                <a:latin typeface="Calibri"/>
                <a:cs typeface="Arial"/>
              </a:rPr>
              <a:t>slows down identifying the cause of system issues.</a:t>
            </a:r>
          </a:p>
        </p:txBody>
      </p:sp>
      <p:sp>
        <p:nvSpPr>
          <p:cNvPr id="27" name="TextBox 26">
            <a:extLst>
              <a:ext uri="{FF2B5EF4-FFF2-40B4-BE49-F238E27FC236}">
                <a16:creationId xmlns:a16="http://schemas.microsoft.com/office/drawing/2014/main" id="{EA1E356F-9E25-AC22-1176-85A74A258E80}"/>
              </a:ext>
            </a:extLst>
          </p:cNvPr>
          <p:cNvSpPr txBox="1"/>
          <p:nvPr/>
        </p:nvSpPr>
        <p:spPr>
          <a:xfrm>
            <a:off x="3562684" y="3687632"/>
            <a:ext cx="2743200" cy="101566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dirty="0">
                <a:solidFill>
                  <a:srgbClr val="444444"/>
                </a:solidFill>
                <a:latin typeface="Calibri"/>
                <a:cs typeface="Arial"/>
              </a:rPr>
              <a:t> Automatic Clustering by  </a:t>
            </a:r>
            <a:r>
              <a:rPr lang="en-US" sz="1100" b="1" dirty="0">
                <a:solidFill>
                  <a:srgbClr val="444444"/>
                </a:solidFill>
                <a:latin typeface="Calibri"/>
                <a:cs typeface="Arial"/>
              </a:rPr>
              <a:t>K means Clustering</a:t>
            </a:r>
            <a:r>
              <a:rPr lang="en-US" sz="1100" dirty="0">
                <a:solidFill>
                  <a:srgbClr val="444444"/>
                </a:solidFill>
                <a:latin typeface="Calibri"/>
                <a:cs typeface="Arial"/>
              </a:rPr>
              <a:t> to group logs based on their context.</a:t>
            </a:r>
          </a:p>
          <a:p>
            <a:pPr marL="228600" lvl="1" indent="-228600">
              <a:buFont typeface=""/>
              <a:buChar char="•"/>
            </a:pPr>
            <a:r>
              <a:rPr lang="en-US" sz="1100" dirty="0">
                <a:solidFill>
                  <a:srgbClr val="444444"/>
                </a:solidFill>
                <a:latin typeface="Calibri"/>
                <a:cs typeface="Arial"/>
              </a:rPr>
              <a:t>The number of clusters are determined by </a:t>
            </a:r>
            <a:r>
              <a:rPr lang="en-US" sz="1100" b="1" dirty="0">
                <a:solidFill>
                  <a:srgbClr val="444444"/>
                </a:solidFill>
                <a:latin typeface="Calibri"/>
                <a:cs typeface="Arial"/>
              </a:rPr>
              <a:t>silhouette score</a:t>
            </a:r>
          </a:p>
          <a:p>
            <a:pPr marL="228600" lvl="1" indent="-228600">
              <a:buFont typeface=""/>
              <a:buChar char="•"/>
            </a:pPr>
            <a:endParaRPr lang="en-US" sz="1100" dirty="0">
              <a:solidFill>
                <a:srgbClr val="444444"/>
              </a:solidFill>
              <a:latin typeface="Calibri"/>
              <a:cs typeface="Arial"/>
            </a:endParaRPr>
          </a:p>
        </p:txBody>
      </p:sp>
      <p:sp>
        <p:nvSpPr>
          <p:cNvPr id="28" name="TextBox 27">
            <a:extLst>
              <a:ext uri="{FF2B5EF4-FFF2-40B4-BE49-F238E27FC236}">
                <a16:creationId xmlns:a16="http://schemas.microsoft.com/office/drawing/2014/main" id="{27A3FD74-F127-F19E-8FC6-A505137F018F}"/>
              </a:ext>
            </a:extLst>
          </p:cNvPr>
          <p:cNvSpPr txBox="1"/>
          <p:nvPr/>
        </p:nvSpPr>
        <p:spPr>
          <a:xfrm>
            <a:off x="699128" y="2484341"/>
            <a:ext cx="2743200" cy="101566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b="1" dirty="0">
                <a:solidFill>
                  <a:srgbClr val="444444"/>
                </a:solidFill>
                <a:latin typeface="Calibri"/>
                <a:cs typeface="Arial"/>
              </a:rPr>
              <a:t>Azure Cognitive Services, Azure ML </a:t>
            </a:r>
            <a:r>
              <a:rPr lang="en-US" sz="1100" dirty="0">
                <a:solidFill>
                  <a:srgbClr val="444444"/>
                </a:solidFill>
                <a:latin typeface="Calibri"/>
                <a:cs typeface="Arial"/>
              </a:rPr>
              <a:t>&amp; Clustering Algorithms</a:t>
            </a:r>
          </a:p>
          <a:p>
            <a:pPr marL="228600" lvl="1" indent="-228600">
              <a:buFont typeface=""/>
              <a:buChar char="•"/>
            </a:pPr>
            <a:r>
              <a:rPr lang="en-US" sz="1100" dirty="0">
                <a:solidFill>
                  <a:srgbClr val="444444"/>
                </a:solidFill>
                <a:latin typeface="Calibri"/>
                <a:cs typeface="Arial"/>
              </a:rPr>
              <a:t>Implement </a:t>
            </a:r>
            <a:r>
              <a:rPr lang="en-US" sz="1100" b="1" dirty="0">
                <a:solidFill>
                  <a:srgbClr val="444444"/>
                </a:solidFill>
                <a:latin typeface="Calibri"/>
                <a:cs typeface="Arial"/>
              </a:rPr>
              <a:t>Clustering Algorithm</a:t>
            </a:r>
            <a:r>
              <a:rPr lang="en-US" sz="1100" dirty="0">
                <a:solidFill>
                  <a:srgbClr val="444444"/>
                </a:solidFill>
                <a:latin typeface="Calibri"/>
                <a:cs typeface="Arial"/>
              </a:rPr>
              <a:t> </a:t>
            </a:r>
          </a:p>
          <a:p>
            <a:pPr marL="228600" lvl="1" indent="-228600">
              <a:buFont typeface=""/>
              <a:buChar char="•"/>
            </a:pPr>
            <a:r>
              <a:rPr lang="en-US" sz="1100" dirty="0">
                <a:solidFill>
                  <a:srgbClr val="444444"/>
                </a:solidFill>
                <a:latin typeface="Calibri"/>
                <a:cs typeface="Arial"/>
              </a:rPr>
              <a:t>Analyze the specific content of log messages and cluster logs based on their context, enabling proactive issue identification.</a:t>
            </a:r>
          </a:p>
        </p:txBody>
      </p:sp>
      <p:sp>
        <p:nvSpPr>
          <p:cNvPr id="29" name="TextBox 28">
            <a:extLst>
              <a:ext uri="{FF2B5EF4-FFF2-40B4-BE49-F238E27FC236}">
                <a16:creationId xmlns:a16="http://schemas.microsoft.com/office/drawing/2014/main" id="{833B5ED6-FE4A-4C20-F507-55DB13F6432F}"/>
              </a:ext>
            </a:extLst>
          </p:cNvPr>
          <p:cNvSpPr txBox="1"/>
          <p:nvPr/>
        </p:nvSpPr>
        <p:spPr>
          <a:xfrm>
            <a:off x="719813" y="4706834"/>
            <a:ext cx="2743200" cy="84638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a:solidFill>
                  <a:srgbClr val="444444"/>
                </a:solidFill>
                <a:latin typeface="Calibri"/>
                <a:cs typeface="Arial"/>
              </a:rPr>
              <a:t>Accelerates root cause identification by clustering related logs automatically </a:t>
            </a:r>
          </a:p>
          <a:p>
            <a:pPr marL="228600" lvl="1" indent="-228600">
              <a:buFont typeface=""/>
              <a:buChar char="•"/>
            </a:pPr>
            <a:r>
              <a:rPr lang="en-US" sz="1100">
                <a:solidFill>
                  <a:srgbClr val="444444"/>
                </a:solidFill>
                <a:latin typeface="Calibri"/>
                <a:cs typeface="Arial"/>
              </a:rPr>
              <a:t>Reduces manual investigation efforts, improving response times </a:t>
            </a:r>
          </a:p>
          <a:p>
            <a:pPr marL="228600" lvl="1" indent="-228600">
              <a:buFont typeface=""/>
              <a:buChar char="•"/>
            </a:pPr>
            <a:endParaRPr lang="en-US" sz="1100">
              <a:solidFill>
                <a:srgbClr val="444444"/>
              </a:solidFill>
              <a:latin typeface="Calibri"/>
              <a:cs typeface="Arial"/>
            </a:endParaRPr>
          </a:p>
        </p:txBody>
      </p:sp>
      <p:sp>
        <p:nvSpPr>
          <p:cNvPr id="30" name="Shape">
            <a:extLst>
              <a:ext uri="{FF2B5EF4-FFF2-40B4-BE49-F238E27FC236}">
                <a16:creationId xmlns:a16="http://schemas.microsoft.com/office/drawing/2014/main" id="{1E6561AC-78F0-CFC9-26CE-36BA7933EB62}"/>
              </a:ext>
            </a:extLst>
          </p:cNvPr>
          <p:cNvSpPr/>
          <p:nvPr/>
        </p:nvSpPr>
        <p:spPr>
          <a:xfrm>
            <a:off x="6100951" y="1242580"/>
            <a:ext cx="206481" cy="1537651"/>
          </a:xfrm>
          <a:custGeom>
            <a:avLst/>
            <a:gdLst/>
            <a:ahLst/>
            <a:cxnLst>
              <a:cxn ang="0">
                <a:pos x="wd2" y="hd2"/>
              </a:cxn>
              <a:cxn ang="5400000">
                <a:pos x="wd2" y="hd2"/>
              </a:cxn>
              <a:cxn ang="10800000">
                <a:pos x="wd2" y="hd2"/>
              </a:cxn>
              <a:cxn ang="16200000">
                <a:pos x="wd2" y="hd2"/>
              </a:cxn>
            </a:cxnLst>
            <a:rect l="0" t="0" r="r" b="b"/>
            <a:pathLst>
              <a:path w="21600" h="21600" extrusionOk="0">
                <a:moveTo>
                  <a:pt x="1207" y="0"/>
                </a:moveTo>
                <a:cubicBezTo>
                  <a:pt x="12429" y="0"/>
                  <a:pt x="21600" y="1183"/>
                  <a:pt x="21600" y="2641"/>
                </a:cubicBezTo>
                <a:lnTo>
                  <a:pt x="21600" y="18959"/>
                </a:lnTo>
                <a:cubicBezTo>
                  <a:pt x="21600" y="20417"/>
                  <a:pt x="12429" y="21600"/>
                  <a:pt x="1207" y="21600"/>
                </a:cubicBezTo>
                <a:cubicBezTo>
                  <a:pt x="483" y="21600"/>
                  <a:pt x="0" y="21535"/>
                  <a:pt x="0" y="21438"/>
                </a:cubicBezTo>
                <a:cubicBezTo>
                  <a:pt x="0" y="21357"/>
                  <a:pt x="483" y="21276"/>
                  <a:pt x="1207" y="21276"/>
                </a:cubicBezTo>
                <a:cubicBezTo>
                  <a:pt x="11102" y="21276"/>
                  <a:pt x="19187" y="20223"/>
                  <a:pt x="19187" y="18943"/>
                </a:cubicBezTo>
                <a:lnTo>
                  <a:pt x="19187" y="2625"/>
                </a:lnTo>
                <a:cubicBezTo>
                  <a:pt x="19187" y="1345"/>
                  <a:pt x="11102" y="292"/>
                  <a:pt x="1207" y="292"/>
                </a:cubicBezTo>
                <a:cubicBezTo>
                  <a:pt x="483" y="292"/>
                  <a:pt x="0" y="227"/>
                  <a:pt x="0" y="130"/>
                </a:cubicBezTo>
                <a:cubicBezTo>
                  <a:pt x="0" y="65"/>
                  <a:pt x="483" y="0"/>
                  <a:pt x="1207" y="0"/>
                </a:cubicBezTo>
                <a:close/>
              </a:path>
            </a:pathLst>
          </a:custGeom>
          <a:solidFill>
            <a:schemeClr val="accent5"/>
          </a:solidFill>
          <a:ln w="12700">
            <a:miter lim="400000"/>
          </a:ln>
        </p:spPr>
        <p:txBody>
          <a:bodyPr lIns="28575" tIns="28575" rIns="28575" bIns="28575" anchor="ctr"/>
          <a:lstStyle/>
          <a:p>
            <a:pPr>
              <a:defRPr sz="3000">
                <a:solidFill>
                  <a:srgbClr val="FFFFFF"/>
                </a:solidFill>
              </a:defRPr>
            </a:pPr>
            <a:endParaRPr sz="2400"/>
          </a:p>
        </p:txBody>
      </p:sp>
      <p:sp>
        <p:nvSpPr>
          <p:cNvPr id="31" name="Shape">
            <a:extLst>
              <a:ext uri="{FF2B5EF4-FFF2-40B4-BE49-F238E27FC236}">
                <a16:creationId xmlns:a16="http://schemas.microsoft.com/office/drawing/2014/main" id="{1FA15BD0-0F4A-510A-A9DE-F20E1152140C}"/>
              </a:ext>
            </a:extLst>
          </p:cNvPr>
          <p:cNvSpPr/>
          <p:nvPr/>
        </p:nvSpPr>
        <p:spPr>
          <a:xfrm>
            <a:off x="6096000" y="3317905"/>
            <a:ext cx="206481" cy="1538805"/>
          </a:xfrm>
          <a:custGeom>
            <a:avLst/>
            <a:gdLst/>
            <a:ahLst/>
            <a:cxnLst>
              <a:cxn ang="0">
                <a:pos x="wd2" y="hd2"/>
              </a:cxn>
              <a:cxn ang="5400000">
                <a:pos x="wd2" y="hd2"/>
              </a:cxn>
              <a:cxn ang="10800000">
                <a:pos x="wd2" y="hd2"/>
              </a:cxn>
              <a:cxn ang="16200000">
                <a:pos x="wd2" y="hd2"/>
              </a:cxn>
            </a:cxnLst>
            <a:rect l="0" t="0" r="r" b="b"/>
            <a:pathLst>
              <a:path w="21600" h="21600" extrusionOk="0">
                <a:moveTo>
                  <a:pt x="1207" y="0"/>
                </a:moveTo>
                <a:cubicBezTo>
                  <a:pt x="12429" y="0"/>
                  <a:pt x="21600" y="1182"/>
                  <a:pt x="21600" y="2639"/>
                </a:cubicBezTo>
                <a:lnTo>
                  <a:pt x="21600" y="18961"/>
                </a:lnTo>
                <a:cubicBezTo>
                  <a:pt x="21600" y="20418"/>
                  <a:pt x="12429" y="21600"/>
                  <a:pt x="1207" y="21600"/>
                </a:cubicBezTo>
                <a:cubicBezTo>
                  <a:pt x="483" y="21600"/>
                  <a:pt x="0" y="21535"/>
                  <a:pt x="0" y="21438"/>
                </a:cubicBezTo>
                <a:cubicBezTo>
                  <a:pt x="0" y="21341"/>
                  <a:pt x="483" y="21276"/>
                  <a:pt x="1207" y="21276"/>
                </a:cubicBezTo>
                <a:cubicBezTo>
                  <a:pt x="11102" y="21276"/>
                  <a:pt x="19187" y="20224"/>
                  <a:pt x="19187" y="18945"/>
                </a:cubicBezTo>
                <a:lnTo>
                  <a:pt x="19187" y="2639"/>
                </a:lnTo>
                <a:cubicBezTo>
                  <a:pt x="19187" y="1360"/>
                  <a:pt x="11102" y="308"/>
                  <a:pt x="1207" y="308"/>
                </a:cubicBezTo>
                <a:cubicBezTo>
                  <a:pt x="483" y="308"/>
                  <a:pt x="0" y="243"/>
                  <a:pt x="0" y="146"/>
                </a:cubicBezTo>
                <a:cubicBezTo>
                  <a:pt x="0" y="49"/>
                  <a:pt x="483" y="0"/>
                  <a:pt x="1207" y="0"/>
                </a:cubicBezTo>
                <a:close/>
              </a:path>
            </a:pathLst>
          </a:custGeom>
          <a:solidFill>
            <a:schemeClr val="accent6"/>
          </a:solidFill>
          <a:ln w="12700">
            <a:miter lim="400000"/>
          </a:ln>
        </p:spPr>
        <p:txBody>
          <a:bodyPr lIns="28575" tIns="28575" rIns="28575" bIns="28575" anchor="ctr"/>
          <a:lstStyle/>
          <a:p>
            <a:pPr>
              <a:defRPr sz="3000">
                <a:solidFill>
                  <a:srgbClr val="FFFFFF"/>
                </a:solidFill>
              </a:defRPr>
            </a:pPr>
            <a:endParaRPr sz="2400"/>
          </a:p>
        </p:txBody>
      </p:sp>
      <p:sp>
        <p:nvSpPr>
          <p:cNvPr id="32" name="Shape">
            <a:extLst>
              <a:ext uri="{FF2B5EF4-FFF2-40B4-BE49-F238E27FC236}">
                <a16:creationId xmlns:a16="http://schemas.microsoft.com/office/drawing/2014/main" id="{008B5BB0-B8B8-4FF0-425A-1086C210EFD6}"/>
              </a:ext>
            </a:extLst>
          </p:cNvPr>
          <p:cNvSpPr/>
          <p:nvPr/>
        </p:nvSpPr>
        <p:spPr>
          <a:xfrm>
            <a:off x="616574" y="4306161"/>
            <a:ext cx="206481" cy="1537651"/>
          </a:xfrm>
          <a:custGeom>
            <a:avLst/>
            <a:gdLst/>
            <a:ahLst/>
            <a:cxnLst>
              <a:cxn ang="0">
                <a:pos x="wd2" y="hd2"/>
              </a:cxn>
              <a:cxn ang="5400000">
                <a:pos x="wd2" y="hd2"/>
              </a:cxn>
              <a:cxn ang="10800000">
                <a:pos x="wd2" y="hd2"/>
              </a:cxn>
              <a:cxn ang="16200000">
                <a:pos x="wd2" y="hd2"/>
              </a:cxn>
            </a:cxnLst>
            <a:rect l="0" t="0" r="r" b="b"/>
            <a:pathLst>
              <a:path w="21600" h="21600" extrusionOk="0">
                <a:moveTo>
                  <a:pt x="20393" y="21600"/>
                </a:moveTo>
                <a:cubicBezTo>
                  <a:pt x="9171" y="21600"/>
                  <a:pt x="0" y="20417"/>
                  <a:pt x="0" y="18959"/>
                </a:cubicBezTo>
                <a:lnTo>
                  <a:pt x="0" y="2641"/>
                </a:lnTo>
                <a:cubicBezTo>
                  <a:pt x="0" y="1183"/>
                  <a:pt x="9171" y="0"/>
                  <a:pt x="20393" y="0"/>
                </a:cubicBezTo>
                <a:cubicBezTo>
                  <a:pt x="21117" y="0"/>
                  <a:pt x="21600" y="65"/>
                  <a:pt x="21600" y="162"/>
                </a:cubicBezTo>
                <a:cubicBezTo>
                  <a:pt x="21600" y="243"/>
                  <a:pt x="21117" y="324"/>
                  <a:pt x="20393" y="324"/>
                </a:cubicBezTo>
                <a:cubicBezTo>
                  <a:pt x="10498" y="324"/>
                  <a:pt x="2413" y="1377"/>
                  <a:pt x="2413" y="2657"/>
                </a:cubicBezTo>
                <a:lnTo>
                  <a:pt x="2413" y="18975"/>
                </a:lnTo>
                <a:cubicBezTo>
                  <a:pt x="2413" y="20255"/>
                  <a:pt x="10498" y="21308"/>
                  <a:pt x="20393" y="21308"/>
                </a:cubicBezTo>
                <a:cubicBezTo>
                  <a:pt x="21117" y="21308"/>
                  <a:pt x="21600" y="21373"/>
                  <a:pt x="21600" y="21470"/>
                </a:cubicBezTo>
                <a:cubicBezTo>
                  <a:pt x="21600" y="21535"/>
                  <a:pt x="21117" y="21600"/>
                  <a:pt x="20393" y="21600"/>
                </a:cubicBezTo>
                <a:close/>
              </a:path>
            </a:pathLst>
          </a:custGeom>
          <a:solidFill>
            <a:schemeClr val="accent2"/>
          </a:solidFill>
          <a:ln w="12700">
            <a:miter lim="400000"/>
          </a:ln>
        </p:spPr>
        <p:txBody>
          <a:bodyPr lIns="28575" tIns="28575" rIns="28575" bIns="28575" anchor="ctr"/>
          <a:lstStyle/>
          <a:p>
            <a:pPr>
              <a:defRPr sz="3000">
                <a:solidFill>
                  <a:srgbClr val="FFFFFF"/>
                </a:solidFill>
              </a:defRPr>
            </a:pPr>
            <a:endParaRPr sz="2400"/>
          </a:p>
        </p:txBody>
      </p:sp>
      <p:sp>
        <p:nvSpPr>
          <p:cNvPr id="33" name="Shape">
            <a:extLst>
              <a:ext uri="{FF2B5EF4-FFF2-40B4-BE49-F238E27FC236}">
                <a16:creationId xmlns:a16="http://schemas.microsoft.com/office/drawing/2014/main" id="{A79AAF1F-3BA5-A703-CACF-7868F7CB4F66}"/>
              </a:ext>
            </a:extLst>
          </p:cNvPr>
          <p:cNvSpPr/>
          <p:nvPr/>
        </p:nvSpPr>
        <p:spPr>
          <a:xfrm>
            <a:off x="616573" y="2309101"/>
            <a:ext cx="206481" cy="1537651"/>
          </a:xfrm>
          <a:custGeom>
            <a:avLst/>
            <a:gdLst/>
            <a:ahLst/>
            <a:cxnLst>
              <a:cxn ang="0">
                <a:pos x="wd2" y="hd2"/>
              </a:cxn>
              <a:cxn ang="5400000">
                <a:pos x="wd2" y="hd2"/>
              </a:cxn>
              <a:cxn ang="10800000">
                <a:pos x="wd2" y="hd2"/>
              </a:cxn>
              <a:cxn ang="16200000">
                <a:pos x="wd2" y="hd2"/>
              </a:cxn>
            </a:cxnLst>
            <a:rect l="0" t="0" r="r" b="b"/>
            <a:pathLst>
              <a:path w="21600" h="21600" extrusionOk="0">
                <a:moveTo>
                  <a:pt x="20393" y="21600"/>
                </a:moveTo>
                <a:cubicBezTo>
                  <a:pt x="9171" y="21600"/>
                  <a:pt x="0" y="20417"/>
                  <a:pt x="0" y="18959"/>
                </a:cubicBezTo>
                <a:lnTo>
                  <a:pt x="0" y="2641"/>
                </a:lnTo>
                <a:cubicBezTo>
                  <a:pt x="0" y="1183"/>
                  <a:pt x="9171" y="0"/>
                  <a:pt x="20393" y="0"/>
                </a:cubicBezTo>
                <a:cubicBezTo>
                  <a:pt x="21117" y="0"/>
                  <a:pt x="21600" y="65"/>
                  <a:pt x="21600" y="162"/>
                </a:cubicBezTo>
                <a:cubicBezTo>
                  <a:pt x="21600" y="243"/>
                  <a:pt x="21117" y="324"/>
                  <a:pt x="20393" y="324"/>
                </a:cubicBezTo>
                <a:cubicBezTo>
                  <a:pt x="10498" y="324"/>
                  <a:pt x="2413" y="1377"/>
                  <a:pt x="2413" y="2657"/>
                </a:cubicBezTo>
                <a:lnTo>
                  <a:pt x="2413" y="18975"/>
                </a:lnTo>
                <a:cubicBezTo>
                  <a:pt x="2413" y="20255"/>
                  <a:pt x="10498" y="21308"/>
                  <a:pt x="20393" y="21308"/>
                </a:cubicBezTo>
                <a:cubicBezTo>
                  <a:pt x="21117" y="21308"/>
                  <a:pt x="21600" y="21373"/>
                  <a:pt x="21600" y="21470"/>
                </a:cubicBezTo>
                <a:cubicBezTo>
                  <a:pt x="21600" y="21535"/>
                  <a:pt x="21117" y="21600"/>
                  <a:pt x="20393" y="21600"/>
                </a:cubicBezTo>
                <a:close/>
              </a:path>
            </a:pathLst>
          </a:custGeom>
          <a:solidFill>
            <a:schemeClr val="accent3"/>
          </a:solidFill>
          <a:ln w="12700">
            <a:miter lim="400000"/>
          </a:ln>
        </p:spPr>
        <p:txBody>
          <a:bodyPr lIns="28575" tIns="28575" rIns="28575" bIns="28575" anchor="ctr"/>
          <a:lstStyle/>
          <a:p>
            <a:pPr>
              <a:defRPr sz="3000">
                <a:solidFill>
                  <a:srgbClr val="FFFFFF"/>
                </a:solidFill>
              </a:defRPr>
            </a:pPr>
            <a:endParaRPr sz="2400"/>
          </a:p>
        </p:txBody>
      </p:sp>
      <p:pic>
        <p:nvPicPr>
          <p:cNvPr id="34" name="Picture 33" descr="A screenshot of a computer&#10;&#10;Description automatically generated">
            <a:extLst>
              <a:ext uri="{FF2B5EF4-FFF2-40B4-BE49-F238E27FC236}">
                <a16:creationId xmlns:a16="http://schemas.microsoft.com/office/drawing/2014/main" id="{5B4160B3-81BA-8F98-53C1-670F40E24B6C}"/>
              </a:ext>
            </a:extLst>
          </p:cNvPr>
          <p:cNvPicPr>
            <a:picLocks noChangeAspect="1"/>
          </p:cNvPicPr>
          <p:nvPr/>
        </p:nvPicPr>
        <p:blipFill>
          <a:blip r:embed="rId7"/>
          <a:stretch>
            <a:fillRect/>
          </a:stretch>
        </p:blipFill>
        <p:spPr>
          <a:xfrm>
            <a:off x="6410497" y="1216264"/>
            <a:ext cx="5315389" cy="1901355"/>
          </a:xfrm>
          <a:prstGeom prst="rect">
            <a:avLst/>
          </a:prstGeom>
        </p:spPr>
      </p:pic>
      <p:pic>
        <p:nvPicPr>
          <p:cNvPr id="35" name="Picture 34" descr="A graph of data with orange and blue bars&#10;&#10;Description automatically generated">
            <a:extLst>
              <a:ext uri="{FF2B5EF4-FFF2-40B4-BE49-F238E27FC236}">
                <a16:creationId xmlns:a16="http://schemas.microsoft.com/office/drawing/2014/main" id="{8A459DE8-0B0D-6F35-977D-5AEA7A62A896}"/>
              </a:ext>
            </a:extLst>
          </p:cNvPr>
          <p:cNvPicPr>
            <a:picLocks noChangeAspect="1"/>
          </p:cNvPicPr>
          <p:nvPr/>
        </p:nvPicPr>
        <p:blipFill>
          <a:blip r:embed="rId8"/>
          <a:stretch>
            <a:fillRect/>
          </a:stretch>
        </p:blipFill>
        <p:spPr>
          <a:xfrm>
            <a:off x="6405555" y="3125293"/>
            <a:ext cx="5301200" cy="2581240"/>
          </a:xfrm>
          <a:prstGeom prst="rect">
            <a:avLst/>
          </a:prstGeom>
        </p:spPr>
      </p:pic>
      <mc:AlternateContent xmlns:mc="http://schemas.openxmlformats.org/markup-compatibility/2006" xmlns:p14="http://schemas.microsoft.com/office/powerpoint/2010/main">
        <mc:Choice Requires="p14">
          <p:contentPart p14:bwMode="auto" r:id="rId9">
            <p14:nvContentPartPr>
              <p14:cNvPr id="36" name="Ink 35">
                <a:extLst>
                  <a:ext uri="{FF2B5EF4-FFF2-40B4-BE49-F238E27FC236}">
                    <a16:creationId xmlns:a16="http://schemas.microsoft.com/office/drawing/2014/main" id="{29EBFBEF-D543-C9C6-CAC1-9AAD04EF35F5}"/>
                  </a:ext>
                </a:extLst>
              </p14:cNvPr>
              <p14:cNvContentPartPr/>
              <p14:nvPr/>
            </p14:nvContentPartPr>
            <p14:xfrm>
              <a:off x="10540840" y="1405080"/>
              <a:ext cx="347040" cy="360"/>
            </p14:xfrm>
          </p:contentPart>
        </mc:Choice>
        <mc:Fallback xmlns="">
          <p:pic>
            <p:nvPicPr>
              <p:cNvPr id="36" name="Ink 35">
                <a:extLst>
                  <a:ext uri="{FF2B5EF4-FFF2-40B4-BE49-F238E27FC236}">
                    <a16:creationId xmlns:a16="http://schemas.microsoft.com/office/drawing/2014/main" id="{29EBFBEF-D543-C9C6-CAC1-9AAD04EF35F5}"/>
                  </a:ext>
                </a:extLst>
              </p:cNvPr>
              <p:cNvPicPr/>
              <p:nvPr/>
            </p:nvPicPr>
            <p:blipFill>
              <a:blip r:embed="rId10"/>
              <a:stretch>
                <a:fillRect/>
              </a:stretch>
            </p:blipFill>
            <p:spPr>
              <a:xfrm>
                <a:off x="10486840" y="1297080"/>
                <a:ext cx="45468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37" name="Ink 36">
                <a:extLst>
                  <a:ext uri="{FF2B5EF4-FFF2-40B4-BE49-F238E27FC236}">
                    <a16:creationId xmlns:a16="http://schemas.microsoft.com/office/drawing/2014/main" id="{457A50AC-4F65-2B5E-5695-B3D377D6526A}"/>
                  </a:ext>
                </a:extLst>
              </p14:cNvPr>
              <p14:cNvContentPartPr/>
              <p14:nvPr/>
            </p14:nvContentPartPr>
            <p14:xfrm>
              <a:off x="10049800" y="1413720"/>
              <a:ext cx="185400" cy="360"/>
            </p14:xfrm>
          </p:contentPart>
        </mc:Choice>
        <mc:Fallback xmlns="">
          <p:pic>
            <p:nvPicPr>
              <p:cNvPr id="37" name="Ink 36">
                <a:extLst>
                  <a:ext uri="{FF2B5EF4-FFF2-40B4-BE49-F238E27FC236}">
                    <a16:creationId xmlns:a16="http://schemas.microsoft.com/office/drawing/2014/main" id="{457A50AC-4F65-2B5E-5695-B3D377D6526A}"/>
                  </a:ext>
                </a:extLst>
              </p:cNvPr>
              <p:cNvPicPr/>
              <p:nvPr/>
            </p:nvPicPr>
            <p:blipFill>
              <a:blip r:embed="rId12"/>
              <a:stretch>
                <a:fillRect/>
              </a:stretch>
            </p:blipFill>
            <p:spPr>
              <a:xfrm>
                <a:off x="9995800" y="1305720"/>
                <a:ext cx="29304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38" name="Ink 37">
                <a:extLst>
                  <a:ext uri="{FF2B5EF4-FFF2-40B4-BE49-F238E27FC236}">
                    <a16:creationId xmlns:a16="http://schemas.microsoft.com/office/drawing/2014/main" id="{7A570535-42B4-B1B9-D952-13B386712A6A}"/>
                  </a:ext>
                </a:extLst>
              </p14:cNvPr>
              <p14:cNvContentPartPr/>
              <p14:nvPr/>
            </p14:nvContentPartPr>
            <p14:xfrm>
              <a:off x="8898520" y="1352880"/>
              <a:ext cx="398880" cy="24120"/>
            </p14:xfrm>
          </p:contentPart>
        </mc:Choice>
        <mc:Fallback xmlns="">
          <p:pic>
            <p:nvPicPr>
              <p:cNvPr id="38" name="Ink 37">
                <a:extLst>
                  <a:ext uri="{FF2B5EF4-FFF2-40B4-BE49-F238E27FC236}">
                    <a16:creationId xmlns:a16="http://schemas.microsoft.com/office/drawing/2014/main" id="{7A570535-42B4-B1B9-D952-13B386712A6A}"/>
                  </a:ext>
                </a:extLst>
              </p:cNvPr>
              <p:cNvPicPr/>
              <p:nvPr/>
            </p:nvPicPr>
            <p:blipFill>
              <a:blip r:embed="rId14"/>
              <a:stretch>
                <a:fillRect/>
              </a:stretch>
            </p:blipFill>
            <p:spPr>
              <a:xfrm>
                <a:off x="8844520" y="1244880"/>
                <a:ext cx="506520" cy="23976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39" name="Ink 38">
                <a:extLst>
                  <a:ext uri="{FF2B5EF4-FFF2-40B4-BE49-F238E27FC236}">
                    <a16:creationId xmlns:a16="http://schemas.microsoft.com/office/drawing/2014/main" id="{D9F3BD39-4D0F-D141-AEA4-B1717BE2F9AB}"/>
                  </a:ext>
                </a:extLst>
              </p14:cNvPr>
              <p14:cNvContentPartPr/>
              <p14:nvPr/>
            </p14:nvContentPartPr>
            <p14:xfrm>
              <a:off x="8915080" y="1616400"/>
              <a:ext cx="930960" cy="9360"/>
            </p14:xfrm>
          </p:contentPart>
        </mc:Choice>
        <mc:Fallback xmlns="">
          <p:pic>
            <p:nvPicPr>
              <p:cNvPr id="39" name="Ink 38">
                <a:extLst>
                  <a:ext uri="{FF2B5EF4-FFF2-40B4-BE49-F238E27FC236}">
                    <a16:creationId xmlns:a16="http://schemas.microsoft.com/office/drawing/2014/main" id="{D9F3BD39-4D0F-D141-AEA4-B1717BE2F9AB}"/>
                  </a:ext>
                </a:extLst>
              </p:cNvPr>
              <p:cNvPicPr/>
              <p:nvPr/>
            </p:nvPicPr>
            <p:blipFill>
              <a:blip r:embed="rId16"/>
              <a:stretch>
                <a:fillRect/>
              </a:stretch>
            </p:blipFill>
            <p:spPr>
              <a:xfrm>
                <a:off x="8861080" y="1504080"/>
                <a:ext cx="1038600" cy="233626"/>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40" name="Ink 39">
                <a:extLst>
                  <a:ext uri="{FF2B5EF4-FFF2-40B4-BE49-F238E27FC236}">
                    <a16:creationId xmlns:a16="http://schemas.microsoft.com/office/drawing/2014/main" id="{98AFB8E3-436A-FEB4-5E04-D2434E2D9ED9}"/>
                  </a:ext>
                </a:extLst>
              </p14:cNvPr>
              <p14:cNvContentPartPr/>
              <p14:nvPr/>
            </p14:nvContentPartPr>
            <p14:xfrm>
              <a:off x="8898520" y="2716560"/>
              <a:ext cx="978480" cy="61560"/>
            </p14:xfrm>
          </p:contentPart>
        </mc:Choice>
        <mc:Fallback xmlns="">
          <p:pic>
            <p:nvPicPr>
              <p:cNvPr id="40" name="Ink 39">
                <a:extLst>
                  <a:ext uri="{FF2B5EF4-FFF2-40B4-BE49-F238E27FC236}">
                    <a16:creationId xmlns:a16="http://schemas.microsoft.com/office/drawing/2014/main" id="{98AFB8E3-436A-FEB4-5E04-D2434E2D9ED9}"/>
                  </a:ext>
                </a:extLst>
              </p:cNvPr>
              <p:cNvPicPr/>
              <p:nvPr/>
            </p:nvPicPr>
            <p:blipFill>
              <a:blip r:embed="rId18"/>
              <a:stretch>
                <a:fillRect/>
              </a:stretch>
            </p:blipFill>
            <p:spPr>
              <a:xfrm>
                <a:off x="8844520" y="2607925"/>
                <a:ext cx="1086120" cy="278468"/>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41" name="Ink 40">
                <a:extLst>
                  <a:ext uri="{FF2B5EF4-FFF2-40B4-BE49-F238E27FC236}">
                    <a16:creationId xmlns:a16="http://schemas.microsoft.com/office/drawing/2014/main" id="{1C73DEDE-2581-6EBB-4D34-A8F89FA9313F}"/>
                  </a:ext>
                </a:extLst>
              </p14:cNvPr>
              <p14:cNvContentPartPr/>
              <p14:nvPr/>
            </p14:nvContentPartPr>
            <p14:xfrm>
              <a:off x="8889880" y="1971720"/>
              <a:ext cx="327600" cy="43200"/>
            </p14:xfrm>
          </p:contentPart>
        </mc:Choice>
        <mc:Fallback xmlns="">
          <p:pic>
            <p:nvPicPr>
              <p:cNvPr id="41" name="Ink 40">
                <a:extLst>
                  <a:ext uri="{FF2B5EF4-FFF2-40B4-BE49-F238E27FC236}">
                    <a16:creationId xmlns:a16="http://schemas.microsoft.com/office/drawing/2014/main" id="{1C73DEDE-2581-6EBB-4D34-A8F89FA9313F}"/>
                  </a:ext>
                </a:extLst>
              </p:cNvPr>
              <p:cNvPicPr/>
              <p:nvPr/>
            </p:nvPicPr>
            <p:blipFill>
              <a:blip r:embed="rId20"/>
              <a:stretch>
                <a:fillRect/>
              </a:stretch>
            </p:blipFill>
            <p:spPr>
              <a:xfrm>
                <a:off x="8835880" y="1864613"/>
                <a:ext cx="435240" cy="257058"/>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42" name="Ink 41">
                <a:extLst>
                  <a:ext uri="{FF2B5EF4-FFF2-40B4-BE49-F238E27FC236}">
                    <a16:creationId xmlns:a16="http://schemas.microsoft.com/office/drawing/2014/main" id="{83B3C7AA-3DEF-F187-5FB6-FDB568794A3C}"/>
                  </a:ext>
                </a:extLst>
              </p14:cNvPr>
              <p14:cNvContentPartPr/>
              <p14:nvPr/>
            </p14:nvContentPartPr>
            <p14:xfrm>
              <a:off x="8906440" y="2175480"/>
              <a:ext cx="205920" cy="69120"/>
            </p14:xfrm>
          </p:contentPart>
        </mc:Choice>
        <mc:Fallback xmlns="">
          <p:pic>
            <p:nvPicPr>
              <p:cNvPr id="42" name="Ink 41">
                <a:extLst>
                  <a:ext uri="{FF2B5EF4-FFF2-40B4-BE49-F238E27FC236}">
                    <a16:creationId xmlns:a16="http://schemas.microsoft.com/office/drawing/2014/main" id="{83B3C7AA-3DEF-F187-5FB6-FDB568794A3C}"/>
                  </a:ext>
                </a:extLst>
              </p:cNvPr>
              <p:cNvPicPr/>
              <p:nvPr/>
            </p:nvPicPr>
            <p:blipFill>
              <a:blip r:embed="rId22"/>
              <a:stretch>
                <a:fillRect/>
              </a:stretch>
            </p:blipFill>
            <p:spPr>
              <a:xfrm>
                <a:off x="8852440" y="2067480"/>
                <a:ext cx="313560" cy="28476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43" name="Ink 42">
                <a:extLst>
                  <a:ext uri="{FF2B5EF4-FFF2-40B4-BE49-F238E27FC236}">
                    <a16:creationId xmlns:a16="http://schemas.microsoft.com/office/drawing/2014/main" id="{56F089FA-CC97-3369-6A3A-6CBD064411D1}"/>
                  </a:ext>
                </a:extLst>
              </p14:cNvPr>
              <p14:cNvContentPartPr/>
              <p14:nvPr/>
            </p14:nvContentPartPr>
            <p14:xfrm>
              <a:off x="8889880" y="2369880"/>
              <a:ext cx="344880" cy="9000"/>
            </p14:xfrm>
          </p:contentPart>
        </mc:Choice>
        <mc:Fallback xmlns="">
          <p:pic>
            <p:nvPicPr>
              <p:cNvPr id="43" name="Ink 42">
                <a:extLst>
                  <a:ext uri="{FF2B5EF4-FFF2-40B4-BE49-F238E27FC236}">
                    <a16:creationId xmlns:a16="http://schemas.microsoft.com/office/drawing/2014/main" id="{56F089FA-CC97-3369-6A3A-6CBD064411D1}"/>
                  </a:ext>
                </a:extLst>
              </p:cNvPr>
              <p:cNvPicPr/>
              <p:nvPr/>
            </p:nvPicPr>
            <p:blipFill>
              <a:blip r:embed="rId24"/>
              <a:stretch>
                <a:fillRect/>
              </a:stretch>
            </p:blipFill>
            <p:spPr>
              <a:xfrm>
                <a:off x="8835936" y="2257380"/>
                <a:ext cx="452408" cy="233625"/>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44" name="Ink 43">
                <a:extLst>
                  <a:ext uri="{FF2B5EF4-FFF2-40B4-BE49-F238E27FC236}">
                    <a16:creationId xmlns:a16="http://schemas.microsoft.com/office/drawing/2014/main" id="{C0B9D2DE-7965-ADA9-C3A4-0D6CDC94AE65}"/>
                  </a:ext>
                </a:extLst>
              </p14:cNvPr>
              <p14:cNvContentPartPr/>
              <p14:nvPr/>
            </p14:nvContentPartPr>
            <p14:xfrm>
              <a:off x="10504480" y="2014560"/>
              <a:ext cx="144000" cy="360360"/>
            </p14:xfrm>
          </p:contentPart>
        </mc:Choice>
        <mc:Fallback xmlns="">
          <p:pic>
            <p:nvPicPr>
              <p:cNvPr id="44" name="Ink 43">
                <a:extLst>
                  <a:ext uri="{FF2B5EF4-FFF2-40B4-BE49-F238E27FC236}">
                    <a16:creationId xmlns:a16="http://schemas.microsoft.com/office/drawing/2014/main" id="{C0B9D2DE-7965-ADA9-C3A4-0D6CDC94AE65}"/>
                  </a:ext>
                </a:extLst>
              </p:cNvPr>
              <p:cNvPicPr/>
              <p:nvPr/>
            </p:nvPicPr>
            <p:blipFill>
              <a:blip r:embed="rId26"/>
              <a:stretch>
                <a:fillRect/>
              </a:stretch>
            </p:blipFill>
            <p:spPr>
              <a:xfrm>
                <a:off x="10450345" y="1906452"/>
                <a:ext cx="251910" cy="576216"/>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45" name="Ink 44">
                <a:extLst>
                  <a:ext uri="{FF2B5EF4-FFF2-40B4-BE49-F238E27FC236}">
                    <a16:creationId xmlns:a16="http://schemas.microsoft.com/office/drawing/2014/main" id="{A7C17854-5C41-7C7E-C4D8-ED6958C337F5}"/>
                  </a:ext>
                </a:extLst>
              </p14:cNvPr>
              <p14:cNvContentPartPr/>
              <p14:nvPr/>
            </p14:nvContentPartPr>
            <p14:xfrm>
              <a:off x="10490080" y="1625400"/>
              <a:ext cx="477000" cy="13680"/>
            </p14:xfrm>
          </p:contentPart>
        </mc:Choice>
        <mc:Fallback xmlns="">
          <p:pic>
            <p:nvPicPr>
              <p:cNvPr id="45" name="Ink 44">
                <a:extLst>
                  <a:ext uri="{FF2B5EF4-FFF2-40B4-BE49-F238E27FC236}">
                    <a16:creationId xmlns:a16="http://schemas.microsoft.com/office/drawing/2014/main" id="{A7C17854-5C41-7C7E-C4D8-ED6958C337F5}"/>
                  </a:ext>
                </a:extLst>
              </p:cNvPr>
              <p:cNvPicPr/>
              <p:nvPr/>
            </p:nvPicPr>
            <p:blipFill>
              <a:blip r:embed="rId28"/>
              <a:stretch>
                <a:fillRect/>
              </a:stretch>
            </p:blipFill>
            <p:spPr>
              <a:xfrm>
                <a:off x="10436080" y="1517400"/>
                <a:ext cx="584640" cy="22932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46" name="Ink 45">
                <a:extLst>
                  <a:ext uri="{FF2B5EF4-FFF2-40B4-BE49-F238E27FC236}">
                    <a16:creationId xmlns:a16="http://schemas.microsoft.com/office/drawing/2014/main" id="{DB4DBC7E-B616-7C96-854F-458D71B9DAE4}"/>
                  </a:ext>
                </a:extLst>
              </p14:cNvPr>
              <p14:cNvContentPartPr/>
              <p14:nvPr/>
            </p14:nvContentPartPr>
            <p14:xfrm>
              <a:off x="10507000" y="2784960"/>
              <a:ext cx="482040" cy="26280"/>
            </p14:xfrm>
          </p:contentPart>
        </mc:Choice>
        <mc:Fallback xmlns="">
          <p:pic>
            <p:nvPicPr>
              <p:cNvPr id="46" name="Ink 45">
                <a:extLst>
                  <a:ext uri="{FF2B5EF4-FFF2-40B4-BE49-F238E27FC236}">
                    <a16:creationId xmlns:a16="http://schemas.microsoft.com/office/drawing/2014/main" id="{DB4DBC7E-B616-7C96-854F-458D71B9DAE4}"/>
                  </a:ext>
                </a:extLst>
              </p:cNvPr>
              <p:cNvPicPr/>
              <p:nvPr/>
            </p:nvPicPr>
            <p:blipFill>
              <a:blip r:embed="rId30"/>
              <a:stretch>
                <a:fillRect/>
              </a:stretch>
            </p:blipFill>
            <p:spPr>
              <a:xfrm>
                <a:off x="10453040" y="2676960"/>
                <a:ext cx="589600" cy="241920"/>
              </a:xfrm>
              <a:prstGeom prst="rect">
                <a:avLst/>
              </a:prstGeom>
            </p:spPr>
          </p:pic>
        </mc:Fallback>
      </mc:AlternateContent>
      <p:sp>
        <p:nvSpPr>
          <p:cNvPr id="47" name="Rectangle: Rounded Corners 46">
            <a:extLst>
              <a:ext uri="{FF2B5EF4-FFF2-40B4-BE49-F238E27FC236}">
                <a16:creationId xmlns:a16="http://schemas.microsoft.com/office/drawing/2014/main" id="{A0A1B3DB-CA5A-0AB6-CE61-D68CE35CF5BE}"/>
              </a:ext>
            </a:extLst>
          </p:cNvPr>
          <p:cNvSpPr/>
          <p:nvPr/>
        </p:nvSpPr>
        <p:spPr>
          <a:xfrm>
            <a:off x="1494298" y="5920452"/>
            <a:ext cx="941294" cy="368088"/>
          </a:xfrm>
          <a:prstGeom prst="roundRect">
            <a:avLst/>
          </a:prstGeom>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a:t>ADX</a:t>
            </a:r>
          </a:p>
        </p:txBody>
      </p:sp>
      <p:sp>
        <p:nvSpPr>
          <p:cNvPr id="48" name="Rectangle: Rounded Corners 47">
            <a:extLst>
              <a:ext uri="{FF2B5EF4-FFF2-40B4-BE49-F238E27FC236}">
                <a16:creationId xmlns:a16="http://schemas.microsoft.com/office/drawing/2014/main" id="{801F7CC5-CD94-0F58-C7B9-23F3CD23B078}"/>
              </a:ext>
            </a:extLst>
          </p:cNvPr>
          <p:cNvSpPr/>
          <p:nvPr/>
        </p:nvSpPr>
        <p:spPr>
          <a:xfrm>
            <a:off x="2886583" y="5909783"/>
            <a:ext cx="941294" cy="368088"/>
          </a:xfrm>
          <a:prstGeom prst="round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200"/>
              <a:t>Azure AI Service</a:t>
            </a:r>
          </a:p>
        </p:txBody>
      </p:sp>
      <p:sp>
        <p:nvSpPr>
          <p:cNvPr id="49" name="Rectangle: Rounded Corners 48">
            <a:extLst>
              <a:ext uri="{FF2B5EF4-FFF2-40B4-BE49-F238E27FC236}">
                <a16:creationId xmlns:a16="http://schemas.microsoft.com/office/drawing/2014/main" id="{ADB9431A-5AB4-C0BE-24D8-17D43852BA1F}"/>
              </a:ext>
            </a:extLst>
          </p:cNvPr>
          <p:cNvSpPr/>
          <p:nvPr/>
        </p:nvSpPr>
        <p:spPr>
          <a:xfrm>
            <a:off x="4278868" y="5904905"/>
            <a:ext cx="941294" cy="368088"/>
          </a:xfrm>
          <a:prstGeom prst="roundRect">
            <a:avLst/>
          </a:prstGeom>
          <a:ln/>
        </p:spPr>
        <p:style>
          <a:lnRef idx="2">
            <a:schemeClr val="accent4"/>
          </a:lnRef>
          <a:fillRef idx="1">
            <a:schemeClr val="lt1"/>
          </a:fillRef>
          <a:effectRef idx="0">
            <a:schemeClr val="accent4"/>
          </a:effectRef>
          <a:fontRef idx="minor">
            <a:schemeClr val="dk1"/>
          </a:fontRef>
        </p:style>
        <p:txBody>
          <a:bodyPr lIns="0" tIns="0" rIns="0" bIns="0" rtlCol="0" anchor="ctr"/>
          <a:lstStyle/>
          <a:p>
            <a:pPr algn="ctr"/>
            <a:r>
              <a:rPr lang="en-US" sz="1200"/>
              <a:t>Text Analytics</a:t>
            </a:r>
          </a:p>
        </p:txBody>
      </p:sp>
      <p:sp>
        <p:nvSpPr>
          <p:cNvPr id="50" name="Rectangle: Rounded Corners 49">
            <a:extLst>
              <a:ext uri="{FF2B5EF4-FFF2-40B4-BE49-F238E27FC236}">
                <a16:creationId xmlns:a16="http://schemas.microsoft.com/office/drawing/2014/main" id="{B6AE18B1-FC18-6CD0-8C7C-CA14405D9839}"/>
              </a:ext>
            </a:extLst>
          </p:cNvPr>
          <p:cNvSpPr/>
          <p:nvPr/>
        </p:nvSpPr>
        <p:spPr>
          <a:xfrm>
            <a:off x="5671153" y="5894208"/>
            <a:ext cx="941294" cy="368088"/>
          </a:xfrm>
          <a:prstGeom prst="roundRect">
            <a:avLst/>
          </a:prstGeom>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200"/>
              <a:t>Azure ML</a:t>
            </a:r>
          </a:p>
        </p:txBody>
      </p:sp>
      <p:sp>
        <p:nvSpPr>
          <p:cNvPr id="51" name="Rectangle: Rounded Corners 50">
            <a:extLst>
              <a:ext uri="{FF2B5EF4-FFF2-40B4-BE49-F238E27FC236}">
                <a16:creationId xmlns:a16="http://schemas.microsoft.com/office/drawing/2014/main" id="{2462D3F4-FF2A-8B90-A741-7802D6C74A59}"/>
              </a:ext>
            </a:extLst>
          </p:cNvPr>
          <p:cNvSpPr/>
          <p:nvPr/>
        </p:nvSpPr>
        <p:spPr>
          <a:xfrm>
            <a:off x="7065406" y="5890598"/>
            <a:ext cx="941294" cy="368088"/>
          </a:xfrm>
          <a:prstGeom prst="roundRect">
            <a:avLst/>
          </a:prstGeom>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r>
              <a:rPr lang="en-US" sz="1200"/>
              <a:t>K means</a:t>
            </a:r>
          </a:p>
        </p:txBody>
      </p:sp>
      <p:sp>
        <p:nvSpPr>
          <p:cNvPr id="52" name="Rectangle: Rounded Corners 51">
            <a:extLst>
              <a:ext uri="{FF2B5EF4-FFF2-40B4-BE49-F238E27FC236}">
                <a16:creationId xmlns:a16="http://schemas.microsoft.com/office/drawing/2014/main" id="{DC47F5A2-08FE-6F11-9768-99DB73121E26}"/>
              </a:ext>
            </a:extLst>
          </p:cNvPr>
          <p:cNvSpPr/>
          <p:nvPr/>
        </p:nvSpPr>
        <p:spPr>
          <a:xfrm>
            <a:off x="8455723" y="5890598"/>
            <a:ext cx="941294" cy="368088"/>
          </a:xfrm>
          <a:prstGeom prst="roundRect">
            <a:avLst/>
          </a:prstGeom>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a:t>ADX</a:t>
            </a:r>
          </a:p>
        </p:txBody>
      </p:sp>
      <p:cxnSp>
        <p:nvCxnSpPr>
          <p:cNvPr id="53" name="Straight Arrow Connector 52">
            <a:extLst>
              <a:ext uri="{FF2B5EF4-FFF2-40B4-BE49-F238E27FC236}">
                <a16:creationId xmlns:a16="http://schemas.microsoft.com/office/drawing/2014/main" id="{4819543A-91DD-79DD-191D-F9A82D3E9371}"/>
              </a:ext>
            </a:extLst>
          </p:cNvPr>
          <p:cNvCxnSpPr>
            <a:stCxn id="47" idx="3"/>
            <a:endCxn id="48" idx="1"/>
          </p:cNvCxnSpPr>
          <p:nvPr/>
        </p:nvCxnSpPr>
        <p:spPr>
          <a:xfrm flipV="1">
            <a:off x="2435592" y="6093827"/>
            <a:ext cx="450991" cy="10669"/>
          </a:xfrm>
          <a:prstGeom prst="straightConnector1">
            <a:avLst/>
          </a:prstGeom>
          <a:noFill/>
          <a:ln w="9525" cap="flat" cmpd="sng">
            <a:solidFill>
              <a:schemeClr val="tx1"/>
            </a:solidFill>
            <a:prstDash val="solid"/>
            <a:round/>
            <a:headEnd type="none" w="med" len="med"/>
            <a:tailEnd type="triangle"/>
          </a:ln>
        </p:spPr>
      </p:cxnSp>
      <p:cxnSp>
        <p:nvCxnSpPr>
          <p:cNvPr id="54" name="Straight Arrow Connector 53">
            <a:extLst>
              <a:ext uri="{FF2B5EF4-FFF2-40B4-BE49-F238E27FC236}">
                <a16:creationId xmlns:a16="http://schemas.microsoft.com/office/drawing/2014/main" id="{BE5DEDDE-82A6-8EE5-46E9-50B23348B13E}"/>
              </a:ext>
            </a:extLst>
          </p:cNvPr>
          <p:cNvCxnSpPr>
            <a:stCxn id="48" idx="3"/>
            <a:endCxn id="49" idx="1"/>
          </p:cNvCxnSpPr>
          <p:nvPr/>
        </p:nvCxnSpPr>
        <p:spPr>
          <a:xfrm flipV="1">
            <a:off x="3827877" y="6088949"/>
            <a:ext cx="450991" cy="4878"/>
          </a:xfrm>
          <a:prstGeom prst="straightConnector1">
            <a:avLst/>
          </a:prstGeom>
          <a:noFill/>
          <a:ln w="9525" cap="flat" cmpd="sng">
            <a:solidFill>
              <a:schemeClr val="tx1"/>
            </a:solidFill>
            <a:prstDash val="solid"/>
            <a:round/>
            <a:headEnd type="none" w="med" len="med"/>
            <a:tailEnd type="triangle"/>
          </a:ln>
        </p:spPr>
      </p:cxnSp>
      <p:cxnSp>
        <p:nvCxnSpPr>
          <p:cNvPr id="55" name="Straight Arrow Connector 54">
            <a:extLst>
              <a:ext uri="{FF2B5EF4-FFF2-40B4-BE49-F238E27FC236}">
                <a16:creationId xmlns:a16="http://schemas.microsoft.com/office/drawing/2014/main" id="{2126341E-4D9C-251D-3D4A-000395871CB3}"/>
              </a:ext>
            </a:extLst>
          </p:cNvPr>
          <p:cNvCxnSpPr>
            <a:stCxn id="49" idx="3"/>
            <a:endCxn id="50" idx="1"/>
          </p:cNvCxnSpPr>
          <p:nvPr/>
        </p:nvCxnSpPr>
        <p:spPr>
          <a:xfrm flipV="1">
            <a:off x="5220162" y="6078252"/>
            <a:ext cx="450991" cy="10697"/>
          </a:xfrm>
          <a:prstGeom prst="straightConnector1">
            <a:avLst/>
          </a:prstGeom>
          <a:noFill/>
          <a:ln w="9525" cap="flat" cmpd="sng">
            <a:solidFill>
              <a:schemeClr val="tx1"/>
            </a:solidFill>
            <a:prstDash val="solid"/>
            <a:round/>
            <a:headEnd type="none" w="med" len="med"/>
            <a:tailEnd type="triangle"/>
          </a:ln>
        </p:spPr>
      </p:cxnSp>
      <p:cxnSp>
        <p:nvCxnSpPr>
          <p:cNvPr id="56" name="Straight Arrow Connector 55">
            <a:extLst>
              <a:ext uri="{FF2B5EF4-FFF2-40B4-BE49-F238E27FC236}">
                <a16:creationId xmlns:a16="http://schemas.microsoft.com/office/drawing/2014/main" id="{8549FB4B-907F-20D2-B3E9-A20C19C08DF7}"/>
              </a:ext>
            </a:extLst>
          </p:cNvPr>
          <p:cNvCxnSpPr>
            <a:stCxn id="50" idx="3"/>
            <a:endCxn id="51" idx="1"/>
          </p:cNvCxnSpPr>
          <p:nvPr/>
        </p:nvCxnSpPr>
        <p:spPr>
          <a:xfrm flipV="1">
            <a:off x="6612447" y="6074642"/>
            <a:ext cx="452959" cy="3610"/>
          </a:xfrm>
          <a:prstGeom prst="straightConnector1">
            <a:avLst/>
          </a:prstGeom>
          <a:noFill/>
          <a:ln w="9525" cap="flat" cmpd="sng">
            <a:solidFill>
              <a:schemeClr val="tx1"/>
            </a:solidFill>
            <a:prstDash val="solid"/>
            <a:round/>
            <a:headEnd type="none" w="med" len="med"/>
            <a:tailEnd type="triangle"/>
          </a:ln>
        </p:spPr>
      </p:cxnSp>
      <p:cxnSp>
        <p:nvCxnSpPr>
          <p:cNvPr id="57" name="Straight Arrow Connector 56">
            <a:extLst>
              <a:ext uri="{FF2B5EF4-FFF2-40B4-BE49-F238E27FC236}">
                <a16:creationId xmlns:a16="http://schemas.microsoft.com/office/drawing/2014/main" id="{E39F2582-BFDF-FC32-3AC1-0E2D52905231}"/>
              </a:ext>
            </a:extLst>
          </p:cNvPr>
          <p:cNvCxnSpPr>
            <a:stCxn id="51" idx="3"/>
            <a:endCxn id="52" idx="1"/>
          </p:cNvCxnSpPr>
          <p:nvPr/>
        </p:nvCxnSpPr>
        <p:spPr>
          <a:xfrm>
            <a:off x="8006700" y="6074642"/>
            <a:ext cx="449023" cy="0"/>
          </a:xfrm>
          <a:prstGeom prst="straightConnector1">
            <a:avLst/>
          </a:prstGeom>
          <a:noFill/>
          <a:ln w="9525" cap="flat" cmpd="sng">
            <a:solidFill>
              <a:schemeClr val="tx1"/>
            </a:solidFill>
            <a:prstDash val="solid"/>
            <a:round/>
            <a:headEnd type="none" w="med" len="med"/>
            <a:tailEnd type="triangle"/>
          </a:ln>
        </p:spPr>
      </p:cxnSp>
      <p:sp>
        <p:nvSpPr>
          <p:cNvPr id="58" name="Rectangle: Rounded Corners 57">
            <a:extLst>
              <a:ext uri="{FF2B5EF4-FFF2-40B4-BE49-F238E27FC236}">
                <a16:creationId xmlns:a16="http://schemas.microsoft.com/office/drawing/2014/main" id="{03DD2468-4736-FB6B-6A0B-47EEBD4DFAE2}"/>
              </a:ext>
            </a:extLst>
          </p:cNvPr>
          <p:cNvSpPr/>
          <p:nvPr/>
        </p:nvSpPr>
        <p:spPr>
          <a:xfrm>
            <a:off x="9846040" y="5890598"/>
            <a:ext cx="941294" cy="368088"/>
          </a:xfrm>
          <a:prstGeom prst="roundRect">
            <a:avLst/>
          </a:prstGeom>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r>
              <a:rPr lang="en-US" sz="1200"/>
              <a:t>Dashboard</a:t>
            </a:r>
          </a:p>
        </p:txBody>
      </p:sp>
      <p:cxnSp>
        <p:nvCxnSpPr>
          <p:cNvPr id="59" name="Straight Arrow Connector 58">
            <a:extLst>
              <a:ext uri="{FF2B5EF4-FFF2-40B4-BE49-F238E27FC236}">
                <a16:creationId xmlns:a16="http://schemas.microsoft.com/office/drawing/2014/main" id="{AA0A277C-2A70-B718-EE6F-2A8638380969}"/>
              </a:ext>
            </a:extLst>
          </p:cNvPr>
          <p:cNvCxnSpPr>
            <a:stCxn id="52" idx="3"/>
            <a:endCxn id="58" idx="1"/>
          </p:cNvCxnSpPr>
          <p:nvPr/>
        </p:nvCxnSpPr>
        <p:spPr>
          <a:xfrm>
            <a:off x="9397017" y="6074642"/>
            <a:ext cx="449023" cy="0"/>
          </a:xfrm>
          <a:prstGeom prst="straightConnector1">
            <a:avLst/>
          </a:prstGeom>
          <a:noFill/>
          <a:ln w="9525" cap="flat" cmpd="sng">
            <a:solidFill>
              <a:schemeClr val="tx1"/>
            </a:solidFill>
            <a:prstDash val="solid"/>
            <a:round/>
            <a:headEnd type="none" w="med" len="med"/>
            <a:tailEnd type="triangle"/>
          </a:ln>
        </p:spPr>
      </p:cxnSp>
    </p:spTree>
    <p:extLst>
      <p:ext uri="{BB962C8B-B14F-4D97-AF65-F5344CB8AC3E}">
        <p14:creationId xmlns:p14="http://schemas.microsoft.com/office/powerpoint/2010/main" val="40236220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7B1A019-C14B-DBFC-1DBE-1935FF84F3C8}"/>
              </a:ext>
            </a:extLst>
          </p:cNvPr>
          <p:cNvSpPr txBox="1"/>
          <p:nvPr/>
        </p:nvSpPr>
        <p:spPr>
          <a:xfrm>
            <a:off x="487180" y="316578"/>
            <a:ext cx="9853839" cy="492443"/>
          </a:xfrm>
          <a:prstGeom prst="rect">
            <a:avLst/>
          </a:prstGeom>
          <a:noFill/>
        </p:spPr>
        <p:txBody>
          <a:bodyPr wrap="square" lIns="91440" tIns="45720" rIns="91440" bIns="45720" anchor="t">
            <a:spAutoFit/>
          </a:bodyPr>
          <a:lstStyle/>
          <a:p>
            <a:r>
              <a:rPr lang="en-US" sz="2600" b="1" dirty="0">
                <a:solidFill>
                  <a:schemeClr val="tx1">
                    <a:lumMod val="75000"/>
                    <a:lumOff val="25000"/>
                  </a:schemeClr>
                </a:solidFill>
                <a:latin typeface="Montserrat"/>
              </a:rPr>
              <a:t>Log Categorization – Azure AI</a:t>
            </a:r>
            <a:endParaRPr lang="en-US" sz="2800" dirty="0">
              <a:solidFill>
                <a:schemeClr val="tx1">
                  <a:lumMod val="75000"/>
                  <a:lumOff val="25000"/>
                </a:schemeClr>
              </a:solidFill>
            </a:endParaRPr>
          </a:p>
        </p:txBody>
      </p:sp>
      <p:cxnSp>
        <p:nvCxnSpPr>
          <p:cNvPr id="6" name="Straight Connector 5">
            <a:extLst>
              <a:ext uri="{FF2B5EF4-FFF2-40B4-BE49-F238E27FC236}">
                <a16:creationId xmlns:a16="http://schemas.microsoft.com/office/drawing/2014/main" id="{37712A53-FD77-1BE9-8C02-A4E66ACA38A6}"/>
              </a:ext>
              <a:ext uri="{C183D7F6-B498-43B3-948B-1728B52AA6E4}">
                <adec:decorative xmlns:adec="http://schemas.microsoft.com/office/drawing/2017/decorative" val="1"/>
              </a:ext>
            </a:extLst>
          </p:cNvPr>
          <p:cNvCxnSpPr>
            <a:cxnSpLocks/>
          </p:cNvCxnSpPr>
          <p:nvPr/>
        </p:nvCxnSpPr>
        <p:spPr>
          <a:xfrm>
            <a:off x="488191" y="923736"/>
            <a:ext cx="10855834"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DB92886A-4574-56FC-AC2B-7679A3EC7DB4}"/>
              </a:ext>
            </a:extLst>
          </p:cNvPr>
          <p:cNvSpPr txBox="1"/>
          <p:nvPr/>
        </p:nvSpPr>
        <p:spPr>
          <a:xfrm>
            <a:off x="3461084" y="2217821"/>
            <a:ext cx="2743200" cy="67710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dirty="0">
                <a:solidFill>
                  <a:srgbClr val="444444"/>
                </a:solidFill>
                <a:latin typeface="Calibri"/>
                <a:cs typeface="Arial"/>
              </a:rPr>
              <a:t>Logs are tagged only by severity levels (Error, Warning, Info)</a:t>
            </a:r>
          </a:p>
          <a:p>
            <a:pPr marL="228600" lvl="1" indent="-228600">
              <a:buFont typeface=""/>
              <a:buChar char="•"/>
            </a:pPr>
            <a:r>
              <a:rPr lang="en-US" sz="1100" b="1" dirty="0">
                <a:solidFill>
                  <a:srgbClr val="444444"/>
                </a:solidFill>
                <a:latin typeface="Calibri"/>
                <a:cs typeface="Arial"/>
              </a:rPr>
              <a:t>Lack</a:t>
            </a:r>
            <a:r>
              <a:rPr lang="en-US" sz="1100" dirty="0">
                <a:solidFill>
                  <a:srgbClr val="444444"/>
                </a:solidFill>
                <a:latin typeface="Calibri"/>
                <a:cs typeface="Arial"/>
              </a:rPr>
              <a:t> of Context: </a:t>
            </a:r>
            <a:r>
              <a:rPr lang="en-US" sz="1100" b="1" dirty="0">
                <a:solidFill>
                  <a:srgbClr val="444444"/>
                </a:solidFill>
                <a:latin typeface="Calibri"/>
                <a:cs typeface="Arial"/>
              </a:rPr>
              <a:t>No in-depth</a:t>
            </a:r>
            <a:r>
              <a:rPr lang="en-US" sz="1100" dirty="0">
                <a:solidFill>
                  <a:srgbClr val="444444"/>
                </a:solidFill>
                <a:latin typeface="Calibri"/>
                <a:cs typeface="Arial"/>
              </a:rPr>
              <a:t> understanding of the </a:t>
            </a:r>
            <a:r>
              <a:rPr lang="en-US" sz="1100" b="1" dirty="0">
                <a:solidFill>
                  <a:srgbClr val="444444"/>
                </a:solidFill>
                <a:latin typeface="Calibri"/>
                <a:cs typeface="Arial"/>
              </a:rPr>
              <a:t>impact or context</a:t>
            </a:r>
            <a:r>
              <a:rPr lang="en-US" sz="1100" dirty="0">
                <a:solidFill>
                  <a:srgbClr val="444444"/>
                </a:solidFill>
                <a:latin typeface="Calibri"/>
                <a:cs typeface="Arial"/>
              </a:rPr>
              <a:t> of log messages</a:t>
            </a:r>
          </a:p>
        </p:txBody>
      </p:sp>
      <p:sp>
        <p:nvSpPr>
          <p:cNvPr id="3" name="TextBox 2">
            <a:extLst>
              <a:ext uri="{FF2B5EF4-FFF2-40B4-BE49-F238E27FC236}">
                <a16:creationId xmlns:a16="http://schemas.microsoft.com/office/drawing/2014/main" id="{5D118065-C5FD-92E2-A179-E3D92E33A10F}"/>
              </a:ext>
            </a:extLst>
          </p:cNvPr>
          <p:cNvSpPr txBox="1"/>
          <p:nvPr/>
        </p:nvSpPr>
        <p:spPr>
          <a:xfrm>
            <a:off x="563478" y="2969794"/>
            <a:ext cx="2743200" cy="118494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b="1" dirty="0">
                <a:solidFill>
                  <a:srgbClr val="444444"/>
                </a:solidFill>
                <a:latin typeface="Calibri"/>
                <a:cs typeface="Arial"/>
              </a:rPr>
              <a:t>Azure Cognitive Services </a:t>
            </a:r>
          </a:p>
          <a:p>
            <a:pPr marL="228600" lvl="1" indent="-228600">
              <a:buFont typeface=""/>
              <a:buChar char="•"/>
            </a:pPr>
            <a:r>
              <a:rPr lang="en-US" sz="1100" dirty="0">
                <a:solidFill>
                  <a:srgbClr val="444444"/>
                </a:solidFill>
                <a:latin typeface="Calibri"/>
                <a:cs typeface="Arial"/>
              </a:rPr>
              <a:t>Implement </a:t>
            </a:r>
            <a:r>
              <a:rPr lang="en-US" sz="1100" b="1" dirty="0">
                <a:solidFill>
                  <a:srgbClr val="444444"/>
                </a:solidFill>
                <a:latin typeface="Calibri"/>
                <a:cs typeface="Arial"/>
              </a:rPr>
              <a:t>custom log categories </a:t>
            </a:r>
            <a:r>
              <a:rPr lang="en-US" sz="1100" dirty="0">
                <a:solidFill>
                  <a:srgbClr val="444444"/>
                </a:solidFill>
                <a:latin typeface="Calibri"/>
                <a:cs typeface="Arial"/>
              </a:rPr>
              <a:t>(e.g., Cache Error, Server Error, Connection Error)</a:t>
            </a:r>
          </a:p>
          <a:p>
            <a:pPr marL="228600" lvl="1" indent="-228600">
              <a:buFont typeface=""/>
              <a:buChar char="•"/>
            </a:pPr>
            <a:r>
              <a:rPr lang="en-US" sz="1100" dirty="0">
                <a:solidFill>
                  <a:srgbClr val="444444"/>
                </a:solidFill>
                <a:latin typeface="Calibri"/>
                <a:cs typeface="Arial"/>
              </a:rPr>
              <a:t>Analyze the specific content of log messages for enhanced categorization</a:t>
            </a:r>
          </a:p>
          <a:p>
            <a:pPr marL="228600" lvl="1" indent="-228600">
              <a:buFont typeface=""/>
              <a:buChar char="•"/>
            </a:pPr>
            <a:r>
              <a:rPr lang="en-US" sz="1100" dirty="0">
                <a:solidFill>
                  <a:srgbClr val="444444"/>
                </a:solidFill>
                <a:latin typeface="Calibri"/>
                <a:cs typeface="Arial"/>
              </a:rPr>
              <a:t>Tag logs based on these analyses for better context</a:t>
            </a:r>
          </a:p>
        </p:txBody>
      </p:sp>
      <p:sp>
        <p:nvSpPr>
          <p:cNvPr id="4" name="TextBox 3">
            <a:extLst>
              <a:ext uri="{FF2B5EF4-FFF2-40B4-BE49-F238E27FC236}">
                <a16:creationId xmlns:a16="http://schemas.microsoft.com/office/drawing/2014/main" id="{84B2DAFD-161D-73D5-88B6-652558C7C296}"/>
              </a:ext>
            </a:extLst>
          </p:cNvPr>
          <p:cNvSpPr txBox="1"/>
          <p:nvPr/>
        </p:nvSpPr>
        <p:spPr>
          <a:xfrm>
            <a:off x="3501189" y="4443663"/>
            <a:ext cx="2743200" cy="67710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a:solidFill>
                  <a:srgbClr val="444444"/>
                </a:solidFill>
                <a:latin typeface="Calibri"/>
                <a:cs typeface="Arial"/>
              </a:rPr>
              <a:t>Enables context-aware categories that go beyond basic severity levels</a:t>
            </a:r>
          </a:p>
          <a:p>
            <a:pPr marL="228600" lvl="1" indent="-228600">
              <a:buFont typeface=""/>
              <a:buChar char="•"/>
            </a:pPr>
            <a:r>
              <a:rPr lang="en-US" sz="1100">
                <a:solidFill>
                  <a:srgbClr val="444444"/>
                </a:solidFill>
                <a:latin typeface="Calibri"/>
                <a:cs typeface="Arial"/>
              </a:rPr>
              <a:t>Provides direct insights within logs for quicker resolutions</a:t>
            </a:r>
          </a:p>
        </p:txBody>
      </p:sp>
      <p:pic>
        <p:nvPicPr>
          <p:cNvPr id="7" name="Picture 6" descr="A black background with white lines&#10;&#10;Description automatically generated">
            <a:extLst>
              <a:ext uri="{FF2B5EF4-FFF2-40B4-BE49-F238E27FC236}">
                <a16:creationId xmlns:a16="http://schemas.microsoft.com/office/drawing/2014/main" id="{E68E9FDB-7280-414F-73A3-677CF71EF3FC}"/>
              </a:ext>
            </a:extLst>
          </p:cNvPr>
          <p:cNvPicPr>
            <a:picLocks noChangeAspect="1"/>
          </p:cNvPicPr>
          <p:nvPr/>
        </p:nvPicPr>
        <p:blipFill>
          <a:blip r:embed="rId2"/>
          <a:srcRect t="217" r="-549" b="26707"/>
          <a:stretch/>
        </p:blipFill>
        <p:spPr>
          <a:xfrm>
            <a:off x="1598900" y="1709071"/>
            <a:ext cx="3670223" cy="3648758"/>
          </a:xfrm>
          <a:prstGeom prst="rect">
            <a:avLst/>
          </a:prstGeom>
        </p:spPr>
      </p:pic>
      <p:pic>
        <p:nvPicPr>
          <p:cNvPr id="8" name="Picture 7" descr="A black background with white lines&#10;&#10;Description automatically generated">
            <a:extLst>
              <a:ext uri="{FF2B5EF4-FFF2-40B4-BE49-F238E27FC236}">
                <a16:creationId xmlns:a16="http://schemas.microsoft.com/office/drawing/2014/main" id="{33C03A62-5247-2D7C-2F0B-10AD1749C397}"/>
              </a:ext>
            </a:extLst>
          </p:cNvPr>
          <p:cNvPicPr>
            <a:picLocks noChangeAspect="1"/>
          </p:cNvPicPr>
          <p:nvPr/>
        </p:nvPicPr>
        <p:blipFill>
          <a:blip r:embed="rId2"/>
          <a:srcRect l="46931" t="-734" r="46044" b="94480"/>
          <a:stretch/>
        </p:blipFill>
        <p:spPr>
          <a:xfrm rot="10800000" flipH="1">
            <a:off x="3300212" y="5355487"/>
            <a:ext cx="271400" cy="308278"/>
          </a:xfrm>
          <a:prstGeom prst="rect">
            <a:avLst/>
          </a:prstGeom>
        </p:spPr>
      </p:pic>
      <p:pic>
        <p:nvPicPr>
          <p:cNvPr id="9" name="Picture 8" descr="A blue circle with a white arrow in center&#10;&#10;Description automatically generated">
            <a:extLst>
              <a:ext uri="{FF2B5EF4-FFF2-40B4-BE49-F238E27FC236}">
                <a16:creationId xmlns:a16="http://schemas.microsoft.com/office/drawing/2014/main" id="{E3F5330D-B9EA-909E-3DDB-F39717BB1BF3}"/>
              </a:ext>
            </a:extLst>
          </p:cNvPr>
          <p:cNvPicPr>
            <a:picLocks noChangeAspect="1"/>
          </p:cNvPicPr>
          <p:nvPr/>
        </p:nvPicPr>
        <p:blipFill>
          <a:blip r:embed="rId3"/>
          <a:stretch>
            <a:fillRect/>
          </a:stretch>
        </p:blipFill>
        <p:spPr>
          <a:xfrm>
            <a:off x="1726281" y="4578517"/>
            <a:ext cx="427623" cy="428124"/>
          </a:xfrm>
          <a:prstGeom prst="rect">
            <a:avLst/>
          </a:prstGeom>
        </p:spPr>
      </p:pic>
      <p:pic>
        <p:nvPicPr>
          <p:cNvPr id="10" name="Picture 9" descr="A red circle with white gears&#10;&#10;Description automatically generated">
            <a:extLst>
              <a:ext uri="{FF2B5EF4-FFF2-40B4-BE49-F238E27FC236}">
                <a16:creationId xmlns:a16="http://schemas.microsoft.com/office/drawing/2014/main" id="{288B6A32-F18F-0026-1421-43410B7063FB}"/>
              </a:ext>
            </a:extLst>
          </p:cNvPr>
          <p:cNvPicPr>
            <a:picLocks noChangeAspect="1"/>
          </p:cNvPicPr>
          <p:nvPr/>
        </p:nvPicPr>
        <p:blipFill>
          <a:blip r:embed="rId4"/>
          <a:stretch>
            <a:fillRect/>
          </a:stretch>
        </p:blipFill>
        <p:spPr>
          <a:xfrm>
            <a:off x="1726281" y="2347913"/>
            <a:ext cx="427623" cy="427623"/>
          </a:xfrm>
          <a:prstGeom prst="rect">
            <a:avLst/>
          </a:prstGeom>
        </p:spPr>
      </p:pic>
      <p:pic>
        <p:nvPicPr>
          <p:cNvPr id="11" name="Picture 10" descr="A white and orange clock&#10;&#10;Description automatically generated">
            <a:extLst>
              <a:ext uri="{FF2B5EF4-FFF2-40B4-BE49-F238E27FC236}">
                <a16:creationId xmlns:a16="http://schemas.microsoft.com/office/drawing/2014/main" id="{53469C07-0FAF-6393-B284-A4A991B6966C}"/>
              </a:ext>
            </a:extLst>
          </p:cNvPr>
          <p:cNvPicPr>
            <a:picLocks noChangeAspect="1"/>
          </p:cNvPicPr>
          <p:nvPr/>
        </p:nvPicPr>
        <p:blipFill>
          <a:blip r:embed="rId5"/>
          <a:stretch>
            <a:fillRect/>
          </a:stretch>
        </p:blipFill>
        <p:spPr>
          <a:xfrm>
            <a:off x="4663992" y="3430755"/>
            <a:ext cx="427623" cy="427623"/>
          </a:xfrm>
          <a:prstGeom prst="rect">
            <a:avLst/>
          </a:prstGeom>
        </p:spPr>
      </p:pic>
      <p:pic>
        <p:nvPicPr>
          <p:cNvPr id="12" name="Picture 11">
            <a:extLst>
              <a:ext uri="{FF2B5EF4-FFF2-40B4-BE49-F238E27FC236}">
                <a16:creationId xmlns:a16="http://schemas.microsoft.com/office/drawing/2014/main" id="{63A2FA5F-0CF3-10C6-88C6-FAF44B297FAF}"/>
              </a:ext>
            </a:extLst>
          </p:cNvPr>
          <p:cNvPicPr>
            <a:picLocks noChangeAspect="1"/>
          </p:cNvPicPr>
          <p:nvPr/>
        </p:nvPicPr>
        <p:blipFill>
          <a:blip r:embed="rId6"/>
          <a:stretch>
            <a:fillRect/>
          </a:stretch>
        </p:blipFill>
        <p:spPr>
          <a:xfrm>
            <a:off x="5964152" y="1707482"/>
            <a:ext cx="283746" cy="1648327"/>
          </a:xfrm>
          <a:prstGeom prst="rect">
            <a:avLst/>
          </a:prstGeom>
        </p:spPr>
      </p:pic>
      <p:pic>
        <p:nvPicPr>
          <p:cNvPr id="13" name="Picture 12">
            <a:extLst>
              <a:ext uri="{FF2B5EF4-FFF2-40B4-BE49-F238E27FC236}">
                <a16:creationId xmlns:a16="http://schemas.microsoft.com/office/drawing/2014/main" id="{660FF826-B3D1-4EEB-D16C-AA0B3E4ED3E4}"/>
              </a:ext>
            </a:extLst>
          </p:cNvPr>
          <p:cNvPicPr>
            <a:picLocks noChangeAspect="1"/>
          </p:cNvPicPr>
          <p:nvPr/>
        </p:nvPicPr>
        <p:blipFill>
          <a:blip r:embed="rId7"/>
          <a:stretch>
            <a:fillRect/>
          </a:stretch>
        </p:blipFill>
        <p:spPr>
          <a:xfrm>
            <a:off x="459704" y="2810378"/>
            <a:ext cx="203537" cy="1658354"/>
          </a:xfrm>
          <a:prstGeom prst="rect">
            <a:avLst/>
          </a:prstGeom>
        </p:spPr>
      </p:pic>
      <p:sp>
        <p:nvSpPr>
          <p:cNvPr id="14" name="TextBox 13">
            <a:extLst>
              <a:ext uri="{FF2B5EF4-FFF2-40B4-BE49-F238E27FC236}">
                <a16:creationId xmlns:a16="http://schemas.microsoft.com/office/drawing/2014/main" id="{E6FFD200-D1DC-EC10-4BE3-C5FDEF3E42F4}"/>
              </a:ext>
            </a:extLst>
          </p:cNvPr>
          <p:cNvSpPr txBox="1"/>
          <p:nvPr/>
        </p:nvSpPr>
        <p:spPr>
          <a:xfrm>
            <a:off x="2253895" y="2312049"/>
            <a:ext cx="1585135"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C13018"/>
                </a:solidFill>
                <a:latin typeface="Roboto"/>
                <a:ea typeface="Roboto"/>
                <a:cs typeface="Arial"/>
              </a:rPr>
              <a:t>Datadog Limitation</a:t>
            </a:r>
            <a:endParaRPr lang="en-US" sz="1600" b="1">
              <a:solidFill>
                <a:srgbClr val="C13018"/>
              </a:solidFill>
              <a:latin typeface="Roboto"/>
              <a:ea typeface="Roboto"/>
              <a:cs typeface="Roboto"/>
            </a:endParaRPr>
          </a:p>
        </p:txBody>
      </p:sp>
      <p:sp>
        <p:nvSpPr>
          <p:cNvPr id="15" name="TextBox 14">
            <a:extLst>
              <a:ext uri="{FF2B5EF4-FFF2-40B4-BE49-F238E27FC236}">
                <a16:creationId xmlns:a16="http://schemas.microsoft.com/office/drawing/2014/main" id="{3FEBEEDC-FBA8-0C96-C6E5-E176AC2FA435}"/>
              </a:ext>
            </a:extLst>
          </p:cNvPr>
          <p:cNvSpPr txBox="1"/>
          <p:nvPr/>
        </p:nvSpPr>
        <p:spPr>
          <a:xfrm>
            <a:off x="3818000" y="3525233"/>
            <a:ext cx="1585135"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ED8D1E"/>
                </a:solidFill>
                <a:latin typeface="Roboto"/>
                <a:ea typeface="Roboto"/>
                <a:cs typeface="Arial"/>
              </a:rPr>
              <a:t>Solution</a:t>
            </a:r>
            <a:endParaRPr lang="en-US">
              <a:solidFill>
                <a:srgbClr val="ED8D1E"/>
              </a:solidFill>
            </a:endParaRPr>
          </a:p>
        </p:txBody>
      </p:sp>
      <p:sp>
        <p:nvSpPr>
          <p:cNvPr id="16" name="TextBox 15">
            <a:extLst>
              <a:ext uri="{FF2B5EF4-FFF2-40B4-BE49-F238E27FC236}">
                <a16:creationId xmlns:a16="http://schemas.microsoft.com/office/drawing/2014/main" id="{FBEB22A7-6ED5-5C1A-DF8A-E6479B12B37B}"/>
              </a:ext>
            </a:extLst>
          </p:cNvPr>
          <p:cNvSpPr txBox="1"/>
          <p:nvPr/>
        </p:nvSpPr>
        <p:spPr>
          <a:xfrm>
            <a:off x="2253894" y="4668232"/>
            <a:ext cx="1585135"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4CC1EF"/>
                </a:solidFill>
                <a:latin typeface="Roboto"/>
                <a:ea typeface="Roboto"/>
                <a:cs typeface="Arial"/>
              </a:rPr>
              <a:t>Benefits</a:t>
            </a:r>
            <a:endParaRPr lang="en-US">
              <a:solidFill>
                <a:srgbClr val="4CC1EF"/>
              </a:solidFill>
            </a:endParaRPr>
          </a:p>
        </p:txBody>
      </p:sp>
      <p:pic>
        <p:nvPicPr>
          <p:cNvPr id="17" name="Picture 16">
            <a:extLst>
              <a:ext uri="{FF2B5EF4-FFF2-40B4-BE49-F238E27FC236}">
                <a16:creationId xmlns:a16="http://schemas.microsoft.com/office/drawing/2014/main" id="{1F48C13D-048F-5231-550F-83BC17004B87}"/>
              </a:ext>
            </a:extLst>
          </p:cNvPr>
          <p:cNvPicPr>
            <a:picLocks noChangeAspect="1"/>
          </p:cNvPicPr>
          <p:nvPr/>
        </p:nvPicPr>
        <p:blipFill>
          <a:blip r:embed="rId8"/>
          <a:stretch>
            <a:fillRect/>
          </a:stretch>
        </p:blipFill>
        <p:spPr>
          <a:xfrm flipH="1">
            <a:off x="5917030" y="3953377"/>
            <a:ext cx="287754" cy="1658354"/>
          </a:xfrm>
          <a:prstGeom prst="rect">
            <a:avLst/>
          </a:prstGeom>
        </p:spPr>
      </p:pic>
      <p:pic>
        <p:nvPicPr>
          <p:cNvPr id="18" name="Picture 17" descr="A screenshot of a graph&#10;&#10;Description automatically generated">
            <a:extLst>
              <a:ext uri="{FF2B5EF4-FFF2-40B4-BE49-F238E27FC236}">
                <a16:creationId xmlns:a16="http://schemas.microsoft.com/office/drawing/2014/main" id="{536638DF-3560-69DB-A8E9-A9117425AB5D}"/>
              </a:ext>
            </a:extLst>
          </p:cNvPr>
          <p:cNvPicPr>
            <a:picLocks noChangeAspect="1"/>
          </p:cNvPicPr>
          <p:nvPr/>
        </p:nvPicPr>
        <p:blipFill>
          <a:blip r:embed="rId9"/>
          <a:stretch>
            <a:fillRect/>
          </a:stretch>
        </p:blipFill>
        <p:spPr>
          <a:xfrm>
            <a:off x="6383437" y="1328293"/>
            <a:ext cx="5592663" cy="1612900"/>
          </a:xfrm>
          <a:prstGeom prst="rect">
            <a:avLst/>
          </a:prstGeom>
        </p:spPr>
      </p:pic>
      <p:pic>
        <p:nvPicPr>
          <p:cNvPr id="19" name="Picture 18" descr="A screenshot of a service&#10;&#10;Description automatically generated">
            <a:extLst>
              <a:ext uri="{FF2B5EF4-FFF2-40B4-BE49-F238E27FC236}">
                <a16:creationId xmlns:a16="http://schemas.microsoft.com/office/drawing/2014/main" id="{0593ED75-F988-94A5-E12C-E521D60D5DF9}"/>
              </a:ext>
            </a:extLst>
          </p:cNvPr>
          <p:cNvPicPr>
            <a:picLocks noChangeAspect="1"/>
          </p:cNvPicPr>
          <p:nvPr/>
        </p:nvPicPr>
        <p:blipFill>
          <a:blip r:embed="rId10"/>
          <a:stretch>
            <a:fillRect/>
          </a:stretch>
        </p:blipFill>
        <p:spPr>
          <a:xfrm>
            <a:off x="6387452" y="3078818"/>
            <a:ext cx="5572263" cy="1435163"/>
          </a:xfrm>
          <a:prstGeom prst="rect">
            <a:avLst/>
          </a:prstGeom>
        </p:spPr>
      </p:pic>
      <p:pic>
        <p:nvPicPr>
          <p:cNvPr id="20" name="Picture 19" descr="A screenshot of a service&#10;&#10;Description automatically generated">
            <a:extLst>
              <a:ext uri="{FF2B5EF4-FFF2-40B4-BE49-F238E27FC236}">
                <a16:creationId xmlns:a16="http://schemas.microsoft.com/office/drawing/2014/main" id="{12F01E9D-C03D-D66B-8FB4-E4963D8DD65E}"/>
              </a:ext>
            </a:extLst>
          </p:cNvPr>
          <p:cNvPicPr>
            <a:picLocks noChangeAspect="1"/>
          </p:cNvPicPr>
          <p:nvPr/>
        </p:nvPicPr>
        <p:blipFill>
          <a:blip r:embed="rId11"/>
          <a:stretch>
            <a:fillRect/>
          </a:stretch>
        </p:blipFill>
        <p:spPr>
          <a:xfrm>
            <a:off x="7073605" y="4673533"/>
            <a:ext cx="4878259" cy="1482714"/>
          </a:xfrm>
          <a:prstGeom prst="rect">
            <a:avLst/>
          </a:prstGeom>
        </p:spPr>
      </p:pic>
      <mc:AlternateContent xmlns:mc="http://schemas.openxmlformats.org/markup-compatibility/2006" xmlns:p14="http://schemas.microsoft.com/office/powerpoint/2010/main">
        <mc:Choice Requires="p14">
          <p:contentPart p14:bwMode="auto" r:id="rId12">
            <p14:nvContentPartPr>
              <p14:cNvPr id="21" name="Ink 20">
                <a:extLst>
                  <a:ext uri="{FF2B5EF4-FFF2-40B4-BE49-F238E27FC236}">
                    <a16:creationId xmlns:a16="http://schemas.microsoft.com/office/drawing/2014/main" id="{02DC716E-1DDC-5E3C-3574-8D73271D8143}"/>
                  </a:ext>
                </a:extLst>
              </p14:cNvPr>
              <p14:cNvContentPartPr/>
              <p14:nvPr/>
            </p14:nvContentPartPr>
            <p14:xfrm>
              <a:off x="11395480" y="3360960"/>
              <a:ext cx="437760" cy="1077480"/>
            </p14:xfrm>
          </p:contentPart>
        </mc:Choice>
        <mc:Fallback xmlns="">
          <p:pic>
            <p:nvPicPr>
              <p:cNvPr id="21" name="Ink 20">
                <a:extLst>
                  <a:ext uri="{FF2B5EF4-FFF2-40B4-BE49-F238E27FC236}">
                    <a16:creationId xmlns:a16="http://schemas.microsoft.com/office/drawing/2014/main" id="{02DC716E-1DDC-5E3C-3574-8D73271D8143}"/>
                  </a:ext>
                </a:extLst>
              </p:cNvPr>
              <p:cNvPicPr/>
              <p:nvPr/>
            </p:nvPicPr>
            <p:blipFill>
              <a:blip r:embed="rId13"/>
              <a:stretch>
                <a:fillRect/>
              </a:stretch>
            </p:blipFill>
            <p:spPr>
              <a:xfrm>
                <a:off x="11341480" y="3252960"/>
                <a:ext cx="545400" cy="129312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22" name="Ink 21">
                <a:extLst>
                  <a:ext uri="{FF2B5EF4-FFF2-40B4-BE49-F238E27FC236}">
                    <a16:creationId xmlns:a16="http://schemas.microsoft.com/office/drawing/2014/main" id="{7D2B15CB-90E0-4A6F-1DD1-A83FB66AE2B8}"/>
                  </a:ext>
                </a:extLst>
              </p14:cNvPr>
              <p14:cNvContentPartPr/>
              <p14:nvPr/>
            </p14:nvContentPartPr>
            <p14:xfrm>
              <a:off x="11184160" y="5014800"/>
              <a:ext cx="552600" cy="1031400"/>
            </p14:xfrm>
          </p:contentPart>
        </mc:Choice>
        <mc:Fallback xmlns="">
          <p:pic>
            <p:nvPicPr>
              <p:cNvPr id="22" name="Ink 21">
                <a:extLst>
                  <a:ext uri="{FF2B5EF4-FFF2-40B4-BE49-F238E27FC236}">
                    <a16:creationId xmlns:a16="http://schemas.microsoft.com/office/drawing/2014/main" id="{7D2B15CB-90E0-4A6F-1DD1-A83FB66AE2B8}"/>
                  </a:ext>
                </a:extLst>
              </p:cNvPr>
              <p:cNvPicPr/>
              <p:nvPr/>
            </p:nvPicPr>
            <p:blipFill>
              <a:blip r:embed="rId15"/>
              <a:stretch>
                <a:fillRect/>
              </a:stretch>
            </p:blipFill>
            <p:spPr>
              <a:xfrm>
                <a:off x="11130160" y="4906800"/>
                <a:ext cx="660240" cy="124704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23" name="Ink 22">
                <a:extLst>
                  <a:ext uri="{FF2B5EF4-FFF2-40B4-BE49-F238E27FC236}">
                    <a16:creationId xmlns:a16="http://schemas.microsoft.com/office/drawing/2014/main" id="{C77439AB-036F-BB14-F30B-ECD2EEA35E9A}"/>
                  </a:ext>
                </a:extLst>
              </p14:cNvPr>
              <p14:cNvContentPartPr/>
              <p14:nvPr/>
            </p14:nvContentPartPr>
            <p14:xfrm>
              <a:off x="11624440" y="5630040"/>
              <a:ext cx="51480" cy="15480"/>
            </p14:xfrm>
          </p:contentPart>
        </mc:Choice>
        <mc:Fallback xmlns="">
          <p:pic>
            <p:nvPicPr>
              <p:cNvPr id="23" name="Ink 22">
                <a:extLst>
                  <a:ext uri="{FF2B5EF4-FFF2-40B4-BE49-F238E27FC236}">
                    <a16:creationId xmlns:a16="http://schemas.microsoft.com/office/drawing/2014/main" id="{C77439AB-036F-BB14-F30B-ECD2EEA35E9A}"/>
                  </a:ext>
                </a:extLst>
              </p:cNvPr>
              <p:cNvPicPr/>
              <p:nvPr/>
            </p:nvPicPr>
            <p:blipFill>
              <a:blip r:embed="rId17"/>
              <a:stretch>
                <a:fillRect/>
              </a:stretch>
            </p:blipFill>
            <p:spPr>
              <a:xfrm>
                <a:off x="11570815" y="5522040"/>
                <a:ext cx="158373" cy="231120"/>
              </a:xfrm>
              <a:prstGeom prst="rect">
                <a:avLst/>
              </a:prstGeom>
            </p:spPr>
          </p:pic>
        </mc:Fallback>
      </mc:AlternateContent>
      <p:sp>
        <p:nvSpPr>
          <p:cNvPr id="24" name="Rectangle: Rounded Corners 23">
            <a:extLst>
              <a:ext uri="{FF2B5EF4-FFF2-40B4-BE49-F238E27FC236}">
                <a16:creationId xmlns:a16="http://schemas.microsoft.com/office/drawing/2014/main" id="{B5DDDF1E-4AD6-1415-93E4-F47384FE033B}"/>
              </a:ext>
            </a:extLst>
          </p:cNvPr>
          <p:cNvSpPr/>
          <p:nvPr/>
        </p:nvSpPr>
        <p:spPr>
          <a:xfrm>
            <a:off x="487179" y="5842481"/>
            <a:ext cx="941294" cy="368088"/>
          </a:xfrm>
          <a:prstGeom prst="roundRect">
            <a:avLst/>
          </a:prstGeom>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a:t>ADX</a:t>
            </a:r>
          </a:p>
        </p:txBody>
      </p:sp>
      <p:sp>
        <p:nvSpPr>
          <p:cNvPr id="25" name="Rectangle: Rounded Corners 24">
            <a:extLst>
              <a:ext uri="{FF2B5EF4-FFF2-40B4-BE49-F238E27FC236}">
                <a16:creationId xmlns:a16="http://schemas.microsoft.com/office/drawing/2014/main" id="{739B47EF-04B8-DC2B-18CE-507B96FC6785}"/>
              </a:ext>
            </a:extLst>
          </p:cNvPr>
          <p:cNvSpPr/>
          <p:nvPr/>
        </p:nvSpPr>
        <p:spPr>
          <a:xfrm>
            <a:off x="1879464" y="5831812"/>
            <a:ext cx="941294" cy="368088"/>
          </a:xfrm>
          <a:prstGeom prst="round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200"/>
              <a:t>Azure AI Service</a:t>
            </a:r>
          </a:p>
        </p:txBody>
      </p:sp>
      <p:sp>
        <p:nvSpPr>
          <p:cNvPr id="26" name="Rectangle: Rounded Corners 25">
            <a:extLst>
              <a:ext uri="{FF2B5EF4-FFF2-40B4-BE49-F238E27FC236}">
                <a16:creationId xmlns:a16="http://schemas.microsoft.com/office/drawing/2014/main" id="{F6EA811F-E1A7-C3E0-AA4D-1AB311B8B4E0}"/>
              </a:ext>
            </a:extLst>
          </p:cNvPr>
          <p:cNvSpPr/>
          <p:nvPr/>
        </p:nvSpPr>
        <p:spPr>
          <a:xfrm>
            <a:off x="3271749" y="5826934"/>
            <a:ext cx="941294" cy="368088"/>
          </a:xfrm>
          <a:prstGeom prst="roundRect">
            <a:avLst/>
          </a:prstGeom>
          <a:ln/>
        </p:spPr>
        <p:style>
          <a:lnRef idx="2">
            <a:schemeClr val="accent4"/>
          </a:lnRef>
          <a:fillRef idx="1">
            <a:schemeClr val="lt1"/>
          </a:fillRef>
          <a:effectRef idx="0">
            <a:schemeClr val="accent4"/>
          </a:effectRef>
          <a:fontRef idx="minor">
            <a:schemeClr val="dk1"/>
          </a:fontRef>
        </p:style>
        <p:txBody>
          <a:bodyPr lIns="0" tIns="0" rIns="0" bIns="0" rtlCol="0" anchor="ctr"/>
          <a:lstStyle/>
          <a:p>
            <a:pPr algn="ctr"/>
            <a:r>
              <a:rPr lang="en-US" sz="1200"/>
              <a:t>Text Analytics</a:t>
            </a:r>
          </a:p>
        </p:txBody>
      </p:sp>
      <p:sp>
        <p:nvSpPr>
          <p:cNvPr id="27" name="Rectangle: Rounded Corners 26">
            <a:extLst>
              <a:ext uri="{FF2B5EF4-FFF2-40B4-BE49-F238E27FC236}">
                <a16:creationId xmlns:a16="http://schemas.microsoft.com/office/drawing/2014/main" id="{3844C1FE-5ACD-B43B-53CF-CD0795A37439}"/>
              </a:ext>
            </a:extLst>
          </p:cNvPr>
          <p:cNvSpPr/>
          <p:nvPr/>
        </p:nvSpPr>
        <p:spPr>
          <a:xfrm>
            <a:off x="4663050" y="5840537"/>
            <a:ext cx="941294" cy="368088"/>
          </a:xfrm>
          <a:prstGeom prst="roundRect">
            <a:avLst/>
          </a:prstGeom>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a:t>ADX</a:t>
            </a:r>
          </a:p>
        </p:txBody>
      </p:sp>
      <p:sp>
        <p:nvSpPr>
          <p:cNvPr id="28" name="Rectangle: Rounded Corners 27">
            <a:extLst>
              <a:ext uri="{FF2B5EF4-FFF2-40B4-BE49-F238E27FC236}">
                <a16:creationId xmlns:a16="http://schemas.microsoft.com/office/drawing/2014/main" id="{F71E817E-DB21-83AC-F34F-0A97FA0D4E9D}"/>
              </a:ext>
            </a:extLst>
          </p:cNvPr>
          <p:cNvSpPr/>
          <p:nvPr/>
        </p:nvSpPr>
        <p:spPr>
          <a:xfrm>
            <a:off x="6060907" y="5826934"/>
            <a:ext cx="941294" cy="368088"/>
          </a:xfrm>
          <a:prstGeom prst="roundRect">
            <a:avLst/>
          </a:prstGeom>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r>
              <a:rPr lang="en-US" sz="1200"/>
              <a:t>Dashboard</a:t>
            </a:r>
          </a:p>
        </p:txBody>
      </p:sp>
      <p:cxnSp>
        <p:nvCxnSpPr>
          <p:cNvPr id="29" name="Straight Arrow Connector 28">
            <a:extLst>
              <a:ext uri="{FF2B5EF4-FFF2-40B4-BE49-F238E27FC236}">
                <a16:creationId xmlns:a16="http://schemas.microsoft.com/office/drawing/2014/main" id="{84D46451-D17C-878E-4453-82474977366A}"/>
              </a:ext>
            </a:extLst>
          </p:cNvPr>
          <p:cNvCxnSpPr>
            <a:stCxn id="24" idx="3"/>
            <a:endCxn id="25" idx="1"/>
          </p:cNvCxnSpPr>
          <p:nvPr/>
        </p:nvCxnSpPr>
        <p:spPr>
          <a:xfrm flipV="1">
            <a:off x="1428473" y="6015856"/>
            <a:ext cx="450991" cy="10669"/>
          </a:xfrm>
          <a:prstGeom prst="straightConnector1">
            <a:avLst/>
          </a:prstGeom>
          <a:noFill/>
          <a:ln w="9525" cap="flat" cmpd="sng">
            <a:solidFill>
              <a:schemeClr val="tx1"/>
            </a:solidFill>
            <a:prstDash val="solid"/>
            <a:round/>
            <a:headEnd type="none" w="med" len="med"/>
            <a:tailEnd type="triangle"/>
          </a:ln>
        </p:spPr>
      </p:cxnSp>
      <p:cxnSp>
        <p:nvCxnSpPr>
          <p:cNvPr id="30" name="Straight Arrow Connector 29">
            <a:extLst>
              <a:ext uri="{FF2B5EF4-FFF2-40B4-BE49-F238E27FC236}">
                <a16:creationId xmlns:a16="http://schemas.microsoft.com/office/drawing/2014/main" id="{5EC9EE4A-2CC5-9224-C480-33A27DF211C0}"/>
              </a:ext>
            </a:extLst>
          </p:cNvPr>
          <p:cNvCxnSpPr>
            <a:stCxn id="25" idx="3"/>
            <a:endCxn id="26" idx="1"/>
          </p:cNvCxnSpPr>
          <p:nvPr/>
        </p:nvCxnSpPr>
        <p:spPr>
          <a:xfrm flipV="1">
            <a:off x="2820758" y="6010978"/>
            <a:ext cx="450991" cy="4878"/>
          </a:xfrm>
          <a:prstGeom prst="straightConnector1">
            <a:avLst/>
          </a:prstGeom>
          <a:noFill/>
          <a:ln w="9525" cap="flat" cmpd="sng">
            <a:solidFill>
              <a:schemeClr val="tx1"/>
            </a:solidFill>
            <a:prstDash val="solid"/>
            <a:round/>
            <a:headEnd type="none" w="med" len="med"/>
            <a:tailEnd type="triangle"/>
          </a:ln>
        </p:spPr>
      </p:cxnSp>
      <p:cxnSp>
        <p:nvCxnSpPr>
          <p:cNvPr id="31" name="Straight Arrow Connector 30">
            <a:extLst>
              <a:ext uri="{FF2B5EF4-FFF2-40B4-BE49-F238E27FC236}">
                <a16:creationId xmlns:a16="http://schemas.microsoft.com/office/drawing/2014/main" id="{2816952B-1C0A-1FAD-7FF8-BFCEED91CCF9}"/>
              </a:ext>
            </a:extLst>
          </p:cNvPr>
          <p:cNvCxnSpPr>
            <a:stCxn id="26" idx="3"/>
            <a:endCxn id="27" idx="1"/>
          </p:cNvCxnSpPr>
          <p:nvPr/>
        </p:nvCxnSpPr>
        <p:spPr>
          <a:xfrm>
            <a:off x="4213043" y="6010978"/>
            <a:ext cx="450007" cy="13603"/>
          </a:xfrm>
          <a:prstGeom prst="straightConnector1">
            <a:avLst/>
          </a:prstGeom>
          <a:noFill/>
          <a:ln w="9525" cap="flat" cmpd="sng">
            <a:solidFill>
              <a:schemeClr val="tx1"/>
            </a:solidFill>
            <a:prstDash val="solid"/>
            <a:round/>
            <a:headEnd type="none" w="med" len="med"/>
            <a:tailEnd type="triangle"/>
          </a:ln>
        </p:spPr>
      </p:cxnSp>
      <p:cxnSp>
        <p:nvCxnSpPr>
          <p:cNvPr id="32" name="Straight Arrow Connector 31">
            <a:extLst>
              <a:ext uri="{FF2B5EF4-FFF2-40B4-BE49-F238E27FC236}">
                <a16:creationId xmlns:a16="http://schemas.microsoft.com/office/drawing/2014/main" id="{23C66F0C-BF6E-618A-FC5D-50D069F2AB77}"/>
              </a:ext>
            </a:extLst>
          </p:cNvPr>
          <p:cNvCxnSpPr>
            <a:stCxn id="27" idx="3"/>
            <a:endCxn id="28" idx="1"/>
          </p:cNvCxnSpPr>
          <p:nvPr/>
        </p:nvCxnSpPr>
        <p:spPr>
          <a:xfrm flipV="1">
            <a:off x="5604344" y="6010978"/>
            <a:ext cx="456563" cy="13603"/>
          </a:xfrm>
          <a:prstGeom prst="straightConnector1">
            <a:avLst/>
          </a:prstGeom>
          <a:noFill/>
          <a:ln w="9525" cap="flat" cmpd="sng">
            <a:solidFill>
              <a:schemeClr val="tx1"/>
            </a:solidFill>
            <a:prstDash val="solid"/>
            <a:round/>
            <a:headEnd type="none" w="med" len="med"/>
            <a:tailEnd type="triangle"/>
          </a:ln>
        </p:spPr>
      </p:cxnSp>
    </p:spTree>
    <p:extLst>
      <p:ext uri="{BB962C8B-B14F-4D97-AF65-F5344CB8AC3E}">
        <p14:creationId xmlns:p14="http://schemas.microsoft.com/office/powerpoint/2010/main" val="2498546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7B1A019-C14B-DBFC-1DBE-1935FF84F3C8}"/>
              </a:ext>
            </a:extLst>
          </p:cNvPr>
          <p:cNvSpPr txBox="1"/>
          <p:nvPr/>
        </p:nvSpPr>
        <p:spPr>
          <a:xfrm>
            <a:off x="487180" y="316578"/>
            <a:ext cx="11537672" cy="369332"/>
          </a:xfrm>
          <a:prstGeom prst="rect">
            <a:avLst/>
          </a:prstGeom>
          <a:noFill/>
        </p:spPr>
        <p:txBody>
          <a:bodyPr wrap="square" lIns="91440" tIns="45720" rIns="91440" bIns="45720" anchor="t">
            <a:spAutoFit/>
          </a:bodyPr>
          <a:lstStyle/>
          <a:p>
            <a:r>
              <a:rPr lang="en-US" b="1">
                <a:solidFill>
                  <a:schemeClr val="tx1">
                    <a:lumMod val="75000"/>
                    <a:lumOff val="25000"/>
                  </a:schemeClr>
                </a:solidFill>
                <a:latin typeface="Montserrat"/>
              </a:rPr>
              <a:t>Next Step - User Metrics Analytics by </a:t>
            </a:r>
            <a:r>
              <a:rPr lang="en-US" b="1">
                <a:solidFill>
                  <a:schemeClr val="tx1">
                    <a:lumMod val="75000"/>
                    <a:lumOff val="25000"/>
                  </a:schemeClr>
                </a:solidFill>
                <a:highlight>
                  <a:srgbClr val="00FF00"/>
                </a:highlight>
                <a:latin typeface="Montserrat"/>
              </a:rPr>
              <a:t>Aggregating logs across all components </a:t>
            </a:r>
            <a:r>
              <a:rPr lang="en-US" b="1">
                <a:solidFill>
                  <a:schemeClr val="tx1">
                    <a:lumMod val="75000"/>
                    <a:lumOff val="25000"/>
                  </a:schemeClr>
                </a:solidFill>
                <a:latin typeface="Montserrat"/>
              </a:rPr>
              <a:t>(</a:t>
            </a:r>
            <a:r>
              <a:rPr lang="en-US" b="1" err="1">
                <a:solidFill>
                  <a:schemeClr val="tx1">
                    <a:lumMod val="75000"/>
                    <a:lumOff val="25000"/>
                  </a:schemeClr>
                </a:solidFill>
                <a:latin typeface="Montserrat"/>
              </a:rPr>
              <a:t>E.g</a:t>
            </a:r>
            <a:r>
              <a:rPr lang="en-US" b="1">
                <a:solidFill>
                  <a:schemeClr val="tx1">
                    <a:lumMod val="75000"/>
                    <a:lumOff val="25000"/>
                  </a:schemeClr>
                </a:solidFill>
                <a:latin typeface="Montserrat"/>
              </a:rPr>
              <a:t> user email)</a:t>
            </a:r>
            <a:endParaRPr lang="en-US">
              <a:solidFill>
                <a:schemeClr val="tx1">
                  <a:lumMod val="75000"/>
                  <a:lumOff val="25000"/>
                </a:schemeClr>
              </a:solidFill>
              <a:cs typeface="Arial"/>
            </a:endParaRPr>
          </a:p>
        </p:txBody>
      </p:sp>
      <p:cxnSp>
        <p:nvCxnSpPr>
          <p:cNvPr id="6" name="Straight Connector 5">
            <a:extLst>
              <a:ext uri="{FF2B5EF4-FFF2-40B4-BE49-F238E27FC236}">
                <a16:creationId xmlns:a16="http://schemas.microsoft.com/office/drawing/2014/main" id="{37712A53-FD77-1BE9-8C02-A4E66ACA38A6}"/>
              </a:ext>
              <a:ext uri="{C183D7F6-B498-43B3-948B-1728B52AA6E4}">
                <adec:decorative xmlns:adec="http://schemas.microsoft.com/office/drawing/2017/decorative" val="1"/>
              </a:ext>
            </a:extLst>
          </p:cNvPr>
          <p:cNvCxnSpPr>
            <a:cxnSpLocks/>
          </p:cNvCxnSpPr>
          <p:nvPr/>
        </p:nvCxnSpPr>
        <p:spPr>
          <a:xfrm>
            <a:off x="488191" y="923736"/>
            <a:ext cx="10855834"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sp>
        <p:nvSpPr>
          <p:cNvPr id="2" name="Rectangle: Diagonal Corners Snipped 1">
            <a:extLst>
              <a:ext uri="{FF2B5EF4-FFF2-40B4-BE49-F238E27FC236}">
                <a16:creationId xmlns:a16="http://schemas.microsoft.com/office/drawing/2014/main" id="{A5528CB9-FFDB-3003-1F8F-0177AF0445A6}"/>
              </a:ext>
            </a:extLst>
          </p:cNvPr>
          <p:cNvSpPr/>
          <p:nvPr/>
        </p:nvSpPr>
        <p:spPr>
          <a:xfrm>
            <a:off x="7760529" y="3790049"/>
            <a:ext cx="2583721" cy="808272"/>
          </a:xfrm>
          <a:prstGeom prst="snip2DiagRect">
            <a:avLst/>
          </a:prstGeom>
          <a:ln/>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a:endParaRPr lang="en-US" err="1"/>
          </a:p>
        </p:txBody>
      </p:sp>
      <p:pic>
        <p:nvPicPr>
          <p:cNvPr id="3" name="Picture 2" descr="A blue circle with a white arrow in center&#10;&#10;Description automatically generated">
            <a:extLst>
              <a:ext uri="{FF2B5EF4-FFF2-40B4-BE49-F238E27FC236}">
                <a16:creationId xmlns:a16="http://schemas.microsoft.com/office/drawing/2014/main" id="{1CF44919-AE87-B137-33A3-7511EAE45FAE}"/>
              </a:ext>
            </a:extLst>
          </p:cNvPr>
          <p:cNvPicPr>
            <a:picLocks noChangeAspect="1"/>
          </p:cNvPicPr>
          <p:nvPr/>
        </p:nvPicPr>
        <p:blipFill>
          <a:blip r:embed="rId2"/>
          <a:stretch>
            <a:fillRect/>
          </a:stretch>
        </p:blipFill>
        <p:spPr>
          <a:xfrm>
            <a:off x="4618364" y="4865535"/>
            <a:ext cx="427623" cy="428124"/>
          </a:xfrm>
          <a:prstGeom prst="rect">
            <a:avLst/>
          </a:prstGeom>
        </p:spPr>
      </p:pic>
      <p:pic>
        <p:nvPicPr>
          <p:cNvPr id="4" name="Picture 3" descr="A red circle with white gears&#10;&#10;Description automatically generated">
            <a:extLst>
              <a:ext uri="{FF2B5EF4-FFF2-40B4-BE49-F238E27FC236}">
                <a16:creationId xmlns:a16="http://schemas.microsoft.com/office/drawing/2014/main" id="{DC1C49CC-8A3D-B199-7809-12DA7135E991}"/>
              </a:ext>
            </a:extLst>
          </p:cNvPr>
          <p:cNvPicPr>
            <a:picLocks noChangeAspect="1"/>
          </p:cNvPicPr>
          <p:nvPr/>
        </p:nvPicPr>
        <p:blipFill>
          <a:blip r:embed="rId3"/>
          <a:stretch>
            <a:fillRect/>
          </a:stretch>
        </p:blipFill>
        <p:spPr>
          <a:xfrm>
            <a:off x="1834436" y="1801049"/>
            <a:ext cx="427623" cy="427623"/>
          </a:xfrm>
          <a:prstGeom prst="rect">
            <a:avLst/>
          </a:prstGeom>
        </p:spPr>
      </p:pic>
      <p:pic>
        <p:nvPicPr>
          <p:cNvPr id="7" name="Picture 6" descr="A white and orange clock&#10;&#10;Description automatically generated">
            <a:extLst>
              <a:ext uri="{FF2B5EF4-FFF2-40B4-BE49-F238E27FC236}">
                <a16:creationId xmlns:a16="http://schemas.microsoft.com/office/drawing/2014/main" id="{37B19070-67B4-D0CF-7BB4-D87E3284D7D6}"/>
              </a:ext>
            </a:extLst>
          </p:cNvPr>
          <p:cNvPicPr>
            <a:picLocks noChangeAspect="1"/>
          </p:cNvPicPr>
          <p:nvPr/>
        </p:nvPicPr>
        <p:blipFill>
          <a:blip r:embed="rId4"/>
          <a:stretch>
            <a:fillRect/>
          </a:stretch>
        </p:blipFill>
        <p:spPr>
          <a:xfrm>
            <a:off x="4575242" y="2831128"/>
            <a:ext cx="427623" cy="427623"/>
          </a:xfrm>
          <a:prstGeom prst="rect">
            <a:avLst/>
          </a:prstGeom>
        </p:spPr>
      </p:pic>
      <p:sp>
        <p:nvSpPr>
          <p:cNvPr id="8" name="TextBox 7">
            <a:extLst>
              <a:ext uri="{FF2B5EF4-FFF2-40B4-BE49-F238E27FC236}">
                <a16:creationId xmlns:a16="http://schemas.microsoft.com/office/drawing/2014/main" id="{B65550BE-B9F6-5475-0443-084A6650598B}"/>
              </a:ext>
            </a:extLst>
          </p:cNvPr>
          <p:cNvSpPr txBox="1"/>
          <p:nvPr/>
        </p:nvSpPr>
        <p:spPr>
          <a:xfrm>
            <a:off x="2362050" y="1765185"/>
            <a:ext cx="1585135"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C13018"/>
                </a:solidFill>
                <a:latin typeface="Roboto"/>
                <a:ea typeface="Roboto"/>
                <a:cs typeface="Arial"/>
              </a:rPr>
              <a:t>Grouping – </a:t>
            </a:r>
          </a:p>
          <a:p>
            <a:r>
              <a:rPr lang="en-US" sz="1600" b="1">
                <a:solidFill>
                  <a:srgbClr val="C13018"/>
                </a:solidFill>
                <a:latin typeface="Roboto"/>
                <a:ea typeface="Roboto"/>
                <a:cs typeface="Arial"/>
              </a:rPr>
              <a:t>User Email</a:t>
            </a:r>
            <a:endParaRPr lang="en-US" sz="1600" b="1">
              <a:solidFill>
                <a:srgbClr val="C13018"/>
              </a:solidFill>
              <a:latin typeface="Roboto"/>
              <a:ea typeface="Roboto"/>
              <a:cs typeface="Roboto"/>
            </a:endParaRPr>
          </a:p>
        </p:txBody>
      </p:sp>
      <p:sp>
        <p:nvSpPr>
          <p:cNvPr id="9" name="TextBox 8">
            <a:extLst>
              <a:ext uri="{FF2B5EF4-FFF2-40B4-BE49-F238E27FC236}">
                <a16:creationId xmlns:a16="http://schemas.microsoft.com/office/drawing/2014/main" id="{FC7188A3-7E84-4503-6093-07ABC87927A3}"/>
              </a:ext>
            </a:extLst>
          </p:cNvPr>
          <p:cNvSpPr txBox="1"/>
          <p:nvPr/>
        </p:nvSpPr>
        <p:spPr>
          <a:xfrm>
            <a:off x="3551958" y="2767263"/>
            <a:ext cx="1585135"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ED8D1E"/>
                </a:solidFill>
                <a:latin typeface="Roboto"/>
                <a:ea typeface="Roboto"/>
                <a:cs typeface="Arial"/>
              </a:rPr>
              <a:t>Log </a:t>
            </a:r>
          </a:p>
          <a:p>
            <a:r>
              <a:rPr lang="en-US" sz="1600" b="1">
                <a:solidFill>
                  <a:srgbClr val="ED8D1E"/>
                </a:solidFill>
                <a:latin typeface="Roboto"/>
                <a:ea typeface="Roboto"/>
                <a:cs typeface="Arial"/>
              </a:rPr>
              <a:t>Categorize</a:t>
            </a:r>
            <a:endParaRPr lang="en-US">
              <a:solidFill>
                <a:srgbClr val="ED8D1E"/>
              </a:solidFill>
            </a:endParaRPr>
          </a:p>
        </p:txBody>
      </p:sp>
      <p:sp>
        <p:nvSpPr>
          <p:cNvPr id="10" name="TextBox 9">
            <a:extLst>
              <a:ext uri="{FF2B5EF4-FFF2-40B4-BE49-F238E27FC236}">
                <a16:creationId xmlns:a16="http://schemas.microsoft.com/office/drawing/2014/main" id="{ED61DCC3-E9D4-BDB8-0A0B-B8571B12612B}"/>
              </a:ext>
            </a:extLst>
          </p:cNvPr>
          <p:cNvSpPr txBox="1"/>
          <p:nvPr/>
        </p:nvSpPr>
        <p:spPr>
          <a:xfrm>
            <a:off x="3827824" y="4961272"/>
            <a:ext cx="1585135"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4CC1EF"/>
                </a:solidFill>
                <a:latin typeface="Roboto"/>
                <a:ea typeface="Roboto"/>
                <a:cs typeface="Arial"/>
              </a:rPr>
              <a:t>Benefits</a:t>
            </a:r>
            <a:endParaRPr lang="en-US">
              <a:solidFill>
                <a:srgbClr val="4CC1EF"/>
              </a:solidFill>
            </a:endParaRPr>
          </a:p>
        </p:txBody>
      </p:sp>
      <p:sp>
        <p:nvSpPr>
          <p:cNvPr id="11" name="Freeform: Shape 10">
            <a:extLst>
              <a:ext uri="{FF2B5EF4-FFF2-40B4-BE49-F238E27FC236}">
                <a16:creationId xmlns:a16="http://schemas.microsoft.com/office/drawing/2014/main" id="{218E5B15-E97F-09B6-CDB5-345776778CD9}"/>
              </a:ext>
            </a:extLst>
          </p:cNvPr>
          <p:cNvSpPr/>
          <p:nvPr/>
        </p:nvSpPr>
        <p:spPr>
          <a:xfrm>
            <a:off x="1739481" y="1218322"/>
            <a:ext cx="3389060" cy="4630256"/>
          </a:xfrm>
          <a:custGeom>
            <a:avLst/>
            <a:gdLst>
              <a:gd name="connsiteX0" fmla="*/ 1864361 w 3731264"/>
              <a:gd name="connsiteY0" fmla="*/ 0 h 5097787"/>
              <a:gd name="connsiteX1" fmla="*/ 1864362 w 3731264"/>
              <a:gd name="connsiteY1" fmla="*/ 0 h 5097787"/>
              <a:gd name="connsiteX2" fmla="*/ 1864362 w 3731264"/>
              <a:gd name="connsiteY2" fmla="*/ 0 h 5097787"/>
              <a:gd name="connsiteX3" fmla="*/ 1864363 w 3731264"/>
              <a:gd name="connsiteY3" fmla="*/ 0 h 5097787"/>
              <a:gd name="connsiteX4" fmla="*/ 1888353 w 3731264"/>
              <a:gd name="connsiteY4" fmla="*/ 4882 h 5097787"/>
              <a:gd name="connsiteX5" fmla="*/ 1907156 w 3731264"/>
              <a:gd name="connsiteY5" fmla="*/ 17726 h 5097787"/>
              <a:gd name="connsiteX6" fmla="*/ 1907469 w 3731264"/>
              <a:gd name="connsiteY6" fmla="*/ 17856 h 5097787"/>
              <a:gd name="connsiteX7" fmla="*/ 1907574 w 3731264"/>
              <a:gd name="connsiteY7" fmla="*/ 18011 h 5097787"/>
              <a:gd name="connsiteX8" fmla="*/ 1907701 w 3731264"/>
              <a:gd name="connsiteY8" fmla="*/ 18098 h 5097787"/>
              <a:gd name="connsiteX9" fmla="*/ 1913011 w 3731264"/>
              <a:gd name="connsiteY9" fmla="*/ 26076 h 5097787"/>
              <a:gd name="connsiteX10" fmla="*/ 1920534 w 3731264"/>
              <a:gd name="connsiteY10" fmla="*/ 37233 h 5097787"/>
              <a:gd name="connsiteX11" fmla="*/ 1920575 w 3731264"/>
              <a:gd name="connsiteY11" fmla="*/ 37440 h 5097787"/>
              <a:gd name="connsiteX12" fmla="*/ 1920619 w 3731264"/>
              <a:gd name="connsiteY12" fmla="*/ 37506 h 5097787"/>
              <a:gd name="connsiteX13" fmla="*/ 1925034 w 3731264"/>
              <a:gd name="connsiteY13" fmla="*/ 59523 h 5097787"/>
              <a:gd name="connsiteX14" fmla="*/ 1925324 w 3731264"/>
              <a:gd name="connsiteY14" fmla="*/ 60962 h 5097787"/>
              <a:gd name="connsiteX15" fmla="*/ 1920534 w 3731264"/>
              <a:gd name="connsiteY15" fmla="*/ 84691 h 5097787"/>
              <a:gd name="connsiteX16" fmla="*/ 1920477 w 3731264"/>
              <a:gd name="connsiteY16" fmla="*/ 84775 h 5097787"/>
              <a:gd name="connsiteX17" fmla="*/ 1920441 w 3731264"/>
              <a:gd name="connsiteY17" fmla="*/ 84953 h 5097787"/>
              <a:gd name="connsiteX18" fmla="*/ 1913985 w 3731264"/>
              <a:gd name="connsiteY18" fmla="*/ 94403 h 5097787"/>
              <a:gd name="connsiteX19" fmla="*/ 1907469 w 3731264"/>
              <a:gd name="connsiteY19" fmla="*/ 104069 h 5097787"/>
              <a:gd name="connsiteX20" fmla="*/ 1907349 w 3731264"/>
              <a:gd name="connsiteY20" fmla="*/ 104118 h 5097787"/>
              <a:gd name="connsiteX21" fmla="*/ 1907224 w 3731264"/>
              <a:gd name="connsiteY21" fmla="*/ 104301 h 5097787"/>
              <a:gd name="connsiteX22" fmla="*/ 1878415 w 3731264"/>
              <a:gd name="connsiteY22" fmla="*/ 116145 h 5097787"/>
              <a:gd name="connsiteX23" fmla="*/ 1878415 w 3731264"/>
              <a:gd name="connsiteY23" fmla="*/ 433151 h 5097787"/>
              <a:gd name="connsiteX24" fmla="*/ 1725882 w 3731264"/>
              <a:gd name="connsiteY24" fmla="*/ 585424 h 5097787"/>
              <a:gd name="connsiteX25" fmla="*/ 314912 w 3731264"/>
              <a:gd name="connsiteY25" fmla="*/ 585424 h 5097787"/>
              <a:gd name="connsiteX26" fmla="*/ 25393 w 3731264"/>
              <a:gd name="connsiteY26" fmla="*/ 874974 h 5097787"/>
              <a:gd name="connsiteX27" fmla="*/ 314912 w 3731264"/>
              <a:gd name="connsiteY27" fmla="*/ 1164524 h 5097787"/>
              <a:gd name="connsiteX28" fmla="*/ 1725882 w 3731264"/>
              <a:gd name="connsiteY28" fmla="*/ 1164524 h 5097787"/>
              <a:gd name="connsiteX29" fmla="*/ 1878415 w 3731264"/>
              <a:gd name="connsiteY29" fmla="*/ 1317028 h 5097787"/>
              <a:gd name="connsiteX30" fmla="*/ 1878415 w 3731264"/>
              <a:gd name="connsiteY30" fmla="*/ 1558358 h 5097787"/>
              <a:gd name="connsiteX31" fmla="*/ 1915210 w 3731264"/>
              <a:gd name="connsiteY31" fmla="*/ 1648568 h 5097787"/>
              <a:gd name="connsiteX32" fmla="*/ 2005382 w 3731264"/>
              <a:gd name="connsiteY32" fmla="*/ 1685252 h 5097787"/>
              <a:gd name="connsiteX33" fmla="*/ 3416352 w 3731264"/>
              <a:gd name="connsiteY33" fmla="*/ 1685252 h 5097787"/>
              <a:gd name="connsiteX34" fmla="*/ 3731264 w 3731264"/>
              <a:gd name="connsiteY34" fmla="*/ 2000181 h 5097787"/>
              <a:gd name="connsiteX35" fmla="*/ 3416352 w 3731264"/>
              <a:gd name="connsiteY35" fmla="*/ 2315109 h 5097787"/>
              <a:gd name="connsiteX36" fmla="*/ 2005382 w 3731264"/>
              <a:gd name="connsiteY36" fmla="*/ 2315109 h 5097787"/>
              <a:gd name="connsiteX37" fmla="*/ 1915210 w 3731264"/>
              <a:gd name="connsiteY37" fmla="*/ 2352024 h 5097787"/>
              <a:gd name="connsiteX38" fmla="*/ 1878415 w 3731264"/>
              <a:gd name="connsiteY38" fmla="*/ 2442235 h 5097787"/>
              <a:gd name="connsiteX39" fmla="*/ 1878415 w 3731264"/>
              <a:gd name="connsiteY39" fmla="*/ 2712635 h 5097787"/>
              <a:gd name="connsiteX40" fmla="*/ 1725882 w 3731264"/>
              <a:gd name="connsiteY40" fmla="*/ 2865139 h 5097787"/>
              <a:gd name="connsiteX41" fmla="*/ 314912 w 3731264"/>
              <a:gd name="connsiteY41" fmla="*/ 2865139 h 5097787"/>
              <a:gd name="connsiteX42" fmla="*/ 25393 w 3731264"/>
              <a:gd name="connsiteY42" fmla="*/ 3154689 h 5097787"/>
              <a:gd name="connsiteX43" fmla="*/ 314912 w 3731264"/>
              <a:gd name="connsiteY43" fmla="*/ 3444238 h 5097787"/>
              <a:gd name="connsiteX44" fmla="*/ 1725882 w 3731264"/>
              <a:gd name="connsiteY44" fmla="*/ 3444238 h 5097787"/>
              <a:gd name="connsiteX45" fmla="*/ 1878415 w 3731264"/>
              <a:gd name="connsiteY45" fmla="*/ 3596742 h 5097787"/>
              <a:gd name="connsiteX46" fmla="*/ 1878415 w 3731264"/>
              <a:gd name="connsiteY46" fmla="*/ 3837842 h 5097787"/>
              <a:gd name="connsiteX47" fmla="*/ 1915210 w 3731264"/>
              <a:gd name="connsiteY47" fmla="*/ 3928052 h 5097787"/>
              <a:gd name="connsiteX48" fmla="*/ 2005382 w 3731264"/>
              <a:gd name="connsiteY48" fmla="*/ 3964967 h 5097787"/>
              <a:gd name="connsiteX49" fmla="*/ 3416352 w 3731264"/>
              <a:gd name="connsiteY49" fmla="*/ 3964967 h 5097787"/>
              <a:gd name="connsiteX50" fmla="*/ 3731264 w 3731264"/>
              <a:gd name="connsiteY50" fmla="*/ 4277358 h 5097787"/>
              <a:gd name="connsiteX51" fmla="*/ 3416352 w 3731264"/>
              <a:gd name="connsiteY51" fmla="*/ 4592286 h 5097787"/>
              <a:gd name="connsiteX52" fmla="*/ 2005382 w 3731264"/>
              <a:gd name="connsiteY52" fmla="*/ 4592286 h 5097787"/>
              <a:gd name="connsiteX53" fmla="*/ 1878415 w 3731264"/>
              <a:gd name="connsiteY53" fmla="*/ 4719411 h 5097787"/>
              <a:gd name="connsiteX54" fmla="*/ 1878415 w 3731264"/>
              <a:gd name="connsiteY54" fmla="*/ 4977122 h 5097787"/>
              <a:gd name="connsiteX55" fmla="*/ 1926611 w 3731264"/>
              <a:gd name="connsiteY55" fmla="*/ 5036878 h 5097787"/>
              <a:gd name="connsiteX56" fmla="*/ 1865632 w 3731264"/>
              <a:gd name="connsiteY56" fmla="*/ 5097787 h 5097787"/>
              <a:gd name="connsiteX57" fmla="*/ 1804654 w 3731264"/>
              <a:gd name="connsiteY57" fmla="*/ 5036878 h 5097787"/>
              <a:gd name="connsiteX58" fmla="*/ 1852849 w 3731264"/>
              <a:gd name="connsiteY58" fmla="*/ 4977122 h 5097787"/>
              <a:gd name="connsiteX59" fmla="*/ 1852849 w 3731264"/>
              <a:gd name="connsiteY59" fmla="*/ 4719411 h 5097787"/>
              <a:gd name="connsiteX60" fmla="*/ 2005382 w 3731264"/>
              <a:gd name="connsiteY60" fmla="*/ 4566907 h 5097787"/>
              <a:gd name="connsiteX61" fmla="*/ 3416352 w 3731264"/>
              <a:gd name="connsiteY61" fmla="*/ 4566907 h 5097787"/>
              <a:gd name="connsiteX62" fmla="*/ 3705871 w 3731264"/>
              <a:gd name="connsiteY62" fmla="*/ 4277358 h 5097787"/>
              <a:gd name="connsiteX63" fmla="*/ 3416352 w 3731264"/>
              <a:gd name="connsiteY63" fmla="*/ 3987808 h 5097787"/>
              <a:gd name="connsiteX64" fmla="*/ 2005382 w 3731264"/>
              <a:gd name="connsiteY64" fmla="*/ 3987808 h 5097787"/>
              <a:gd name="connsiteX65" fmla="*/ 1897417 w 3731264"/>
              <a:gd name="connsiteY65" fmla="*/ 3943279 h 5097787"/>
              <a:gd name="connsiteX66" fmla="*/ 1852849 w 3731264"/>
              <a:gd name="connsiteY66" fmla="*/ 3835304 h 5097787"/>
              <a:gd name="connsiteX67" fmla="*/ 1852849 w 3731264"/>
              <a:gd name="connsiteY67" fmla="*/ 3594204 h 5097787"/>
              <a:gd name="connsiteX68" fmla="*/ 1725882 w 3731264"/>
              <a:gd name="connsiteY68" fmla="*/ 3467079 h 5097787"/>
              <a:gd name="connsiteX69" fmla="*/ 314912 w 3731264"/>
              <a:gd name="connsiteY69" fmla="*/ 3467079 h 5097787"/>
              <a:gd name="connsiteX70" fmla="*/ 0 w 3731264"/>
              <a:gd name="connsiteY70" fmla="*/ 3152151 h 5097787"/>
              <a:gd name="connsiteX71" fmla="*/ 314912 w 3731264"/>
              <a:gd name="connsiteY71" fmla="*/ 2837222 h 5097787"/>
              <a:gd name="connsiteX72" fmla="*/ 1725882 w 3731264"/>
              <a:gd name="connsiteY72" fmla="*/ 2837222 h 5097787"/>
              <a:gd name="connsiteX73" fmla="*/ 1852849 w 3731264"/>
              <a:gd name="connsiteY73" fmla="*/ 2710097 h 5097787"/>
              <a:gd name="connsiteX74" fmla="*/ 1852849 w 3731264"/>
              <a:gd name="connsiteY74" fmla="*/ 2439697 h 5097787"/>
              <a:gd name="connsiteX75" fmla="*/ 1897417 w 3731264"/>
              <a:gd name="connsiteY75" fmla="*/ 2331721 h 5097787"/>
              <a:gd name="connsiteX76" fmla="*/ 2005382 w 3731264"/>
              <a:gd name="connsiteY76" fmla="*/ 2287193 h 5097787"/>
              <a:gd name="connsiteX77" fmla="*/ 3416352 w 3731264"/>
              <a:gd name="connsiteY77" fmla="*/ 2287193 h 5097787"/>
              <a:gd name="connsiteX78" fmla="*/ 3705871 w 3731264"/>
              <a:gd name="connsiteY78" fmla="*/ 1997643 h 5097787"/>
              <a:gd name="connsiteX79" fmla="*/ 3416352 w 3731264"/>
              <a:gd name="connsiteY79" fmla="*/ 1708093 h 5097787"/>
              <a:gd name="connsiteX80" fmla="*/ 2005382 w 3731264"/>
              <a:gd name="connsiteY80" fmla="*/ 1708093 h 5097787"/>
              <a:gd name="connsiteX81" fmla="*/ 1897417 w 3731264"/>
              <a:gd name="connsiteY81" fmla="*/ 1663795 h 5097787"/>
              <a:gd name="connsiteX82" fmla="*/ 1852849 w 3731264"/>
              <a:gd name="connsiteY82" fmla="*/ 1555820 h 5097787"/>
              <a:gd name="connsiteX83" fmla="*/ 1852849 w 3731264"/>
              <a:gd name="connsiteY83" fmla="*/ 1314490 h 5097787"/>
              <a:gd name="connsiteX84" fmla="*/ 1725882 w 3731264"/>
              <a:gd name="connsiteY84" fmla="*/ 1187365 h 5097787"/>
              <a:gd name="connsiteX85" fmla="*/ 314912 w 3731264"/>
              <a:gd name="connsiteY85" fmla="*/ 1187365 h 5097787"/>
              <a:gd name="connsiteX86" fmla="*/ 0 w 3731264"/>
              <a:gd name="connsiteY86" fmla="*/ 872436 h 5097787"/>
              <a:gd name="connsiteX87" fmla="*/ 314912 w 3731264"/>
              <a:gd name="connsiteY87" fmla="*/ 557508 h 5097787"/>
              <a:gd name="connsiteX88" fmla="*/ 1725882 w 3731264"/>
              <a:gd name="connsiteY88" fmla="*/ 557508 h 5097787"/>
              <a:gd name="connsiteX89" fmla="*/ 1852849 w 3731264"/>
              <a:gd name="connsiteY89" fmla="*/ 430613 h 5097787"/>
              <a:gd name="connsiteX90" fmla="*/ 1852849 w 3731264"/>
              <a:gd name="connsiteY90" fmla="*/ 117155 h 5097787"/>
              <a:gd name="connsiteX91" fmla="*/ 1821256 w 3731264"/>
              <a:gd name="connsiteY91" fmla="*/ 104069 h 5097787"/>
              <a:gd name="connsiteX92" fmla="*/ 1808191 w 3731264"/>
              <a:gd name="connsiteY92" fmla="*/ 84691 h 5097787"/>
              <a:gd name="connsiteX93" fmla="*/ 1803409 w 3731264"/>
              <a:gd name="connsiteY93" fmla="*/ 61004 h 5097787"/>
              <a:gd name="connsiteX94" fmla="*/ 1803399 w 3731264"/>
              <a:gd name="connsiteY94" fmla="*/ 60962 h 5097787"/>
              <a:gd name="connsiteX95" fmla="*/ 1803528 w 3731264"/>
              <a:gd name="connsiteY95" fmla="*/ 60329 h 5097787"/>
              <a:gd name="connsiteX96" fmla="*/ 1808191 w 3731264"/>
              <a:gd name="connsiteY96" fmla="*/ 37233 h 5097787"/>
              <a:gd name="connsiteX97" fmla="*/ 1808243 w 3731264"/>
              <a:gd name="connsiteY97" fmla="*/ 37155 h 5097787"/>
              <a:gd name="connsiteX98" fmla="*/ 1808281 w 3731264"/>
              <a:gd name="connsiteY98" fmla="*/ 36970 h 5097787"/>
              <a:gd name="connsiteX99" fmla="*/ 1815009 w 3731264"/>
              <a:gd name="connsiteY99" fmla="*/ 27121 h 5097787"/>
              <a:gd name="connsiteX100" fmla="*/ 1821256 w 3731264"/>
              <a:gd name="connsiteY100" fmla="*/ 17856 h 5097787"/>
              <a:gd name="connsiteX101" fmla="*/ 1821370 w 3731264"/>
              <a:gd name="connsiteY101" fmla="*/ 17808 h 5097787"/>
              <a:gd name="connsiteX102" fmla="*/ 1821497 w 3731264"/>
              <a:gd name="connsiteY102" fmla="*/ 17622 h 5097787"/>
              <a:gd name="connsiteX103" fmla="*/ 1864361 w 3731264"/>
              <a:gd name="connsiteY103" fmla="*/ 0 h 509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731264" h="5097787">
                <a:moveTo>
                  <a:pt x="1864361" y="0"/>
                </a:moveTo>
                <a:lnTo>
                  <a:pt x="1864362" y="0"/>
                </a:lnTo>
                <a:lnTo>
                  <a:pt x="1864362" y="0"/>
                </a:lnTo>
                <a:lnTo>
                  <a:pt x="1864363" y="0"/>
                </a:lnTo>
                <a:lnTo>
                  <a:pt x="1888353" y="4882"/>
                </a:lnTo>
                <a:lnTo>
                  <a:pt x="1907156" y="17726"/>
                </a:lnTo>
                <a:lnTo>
                  <a:pt x="1907469" y="17856"/>
                </a:lnTo>
                <a:lnTo>
                  <a:pt x="1907574" y="18011"/>
                </a:lnTo>
                <a:lnTo>
                  <a:pt x="1907701" y="18098"/>
                </a:lnTo>
                <a:lnTo>
                  <a:pt x="1913011" y="26076"/>
                </a:lnTo>
                <a:lnTo>
                  <a:pt x="1920534" y="37233"/>
                </a:lnTo>
                <a:lnTo>
                  <a:pt x="1920575" y="37440"/>
                </a:lnTo>
                <a:lnTo>
                  <a:pt x="1920619" y="37506"/>
                </a:lnTo>
                <a:lnTo>
                  <a:pt x="1925034" y="59523"/>
                </a:lnTo>
                <a:lnTo>
                  <a:pt x="1925324" y="60962"/>
                </a:lnTo>
                <a:cubicBezTo>
                  <a:pt x="1925324" y="69379"/>
                  <a:pt x="1923618" y="77398"/>
                  <a:pt x="1920534" y="84691"/>
                </a:cubicBezTo>
                <a:lnTo>
                  <a:pt x="1920477" y="84775"/>
                </a:lnTo>
                <a:lnTo>
                  <a:pt x="1920441" y="84953"/>
                </a:lnTo>
                <a:lnTo>
                  <a:pt x="1913985" y="94403"/>
                </a:lnTo>
                <a:lnTo>
                  <a:pt x="1907469" y="104069"/>
                </a:lnTo>
                <a:lnTo>
                  <a:pt x="1907349" y="104118"/>
                </a:lnTo>
                <a:lnTo>
                  <a:pt x="1907224" y="104301"/>
                </a:lnTo>
                <a:lnTo>
                  <a:pt x="1878415" y="116145"/>
                </a:lnTo>
                <a:lnTo>
                  <a:pt x="1878415" y="433151"/>
                </a:lnTo>
                <a:cubicBezTo>
                  <a:pt x="1878415" y="516901"/>
                  <a:pt x="1809836" y="585424"/>
                  <a:pt x="1725882" y="585424"/>
                </a:cubicBezTo>
                <a:lnTo>
                  <a:pt x="314912" y="585424"/>
                </a:lnTo>
                <a:cubicBezTo>
                  <a:pt x="154951" y="585424"/>
                  <a:pt x="25393" y="715087"/>
                  <a:pt x="25393" y="874974"/>
                </a:cubicBezTo>
                <a:cubicBezTo>
                  <a:pt x="25393" y="1035092"/>
                  <a:pt x="154951" y="1164524"/>
                  <a:pt x="314912" y="1164524"/>
                </a:cubicBezTo>
                <a:lnTo>
                  <a:pt x="1725882" y="1164524"/>
                </a:lnTo>
                <a:cubicBezTo>
                  <a:pt x="1809836" y="1164524"/>
                  <a:pt x="1878415" y="1233278"/>
                  <a:pt x="1878415" y="1317028"/>
                </a:cubicBezTo>
                <a:lnTo>
                  <a:pt x="1878415" y="1558358"/>
                </a:lnTo>
                <a:cubicBezTo>
                  <a:pt x="1878415" y="1592504"/>
                  <a:pt x="1891026" y="1624343"/>
                  <a:pt x="1915210" y="1648568"/>
                </a:cubicBezTo>
                <a:cubicBezTo>
                  <a:pt x="1939221" y="1672563"/>
                  <a:pt x="1971006" y="1685252"/>
                  <a:pt x="2005382" y="1685252"/>
                </a:cubicBezTo>
                <a:lnTo>
                  <a:pt x="3416352" y="1685252"/>
                </a:lnTo>
                <a:cubicBezTo>
                  <a:pt x="3590305" y="1685252"/>
                  <a:pt x="3731264" y="1826220"/>
                  <a:pt x="3731264" y="2000181"/>
                </a:cubicBezTo>
                <a:cubicBezTo>
                  <a:pt x="3731264" y="2174141"/>
                  <a:pt x="3590305" y="2315109"/>
                  <a:pt x="3416352" y="2315109"/>
                </a:cubicBezTo>
                <a:lnTo>
                  <a:pt x="2005382" y="2315109"/>
                </a:lnTo>
                <a:cubicBezTo>
                  <a:pt x="1971006" y="2315109"/>
                  <a:pt x="1939221" y="2327799"/>
                  <a:pt x="1915210" y="2352024"/>
                </a:cubicBezTo>
                <a:cubicBezTo>
                  <a:pt x="1891026" y="2376250"/>
                  <a:pt x="1878415" y="2407858"/>
                  <a:pt x="1878415" y="2442235"/>
                </a:cubicBezTo>
                <a:lnTo>
                  <a:pt x="1878415" y="2712635"/>
                </a:lnTo>
                <a:cubicBezTo>
                  <a:pt x="1878415" y="2796616"/>
                  <a:pt x="1809836" y="2865139"/>
                  <a:pt x="1725882" y="2865139"/>
                </a:cubicBezTo>
                <a:lnTo>
                  <a:pt x="314912" y="2865139"/>
                </a:lnTo>
                <a:cubicBezTo>
                  <a:pt x="154951" y="2865139"/>
                  <a:pt x="25393" y="2994571"/>
                  <a:pt x="25393" y="3154689"/>
                </a:cubicBezTo>
                <a:cubicBezTo>
                  <a:pt x="25393" y="3314806"/>
                  <a:pt x="154951" y="3444238"/>
                  <a:pt x="314912" y="3444238"/>
                </a:cubicBezTo>
                <a:lnTo>
                  <a:pt x="1725882" y="3444238"/>
                </a:lnTo>
                <a:cubicBezTo>
                  <a:pt x="1809836" y="3444238"/>
                  <a:pt x="1878415" y="3512761"/>
                  <a:pt x="1878415" y="3596742"/>
                </a:cubicBezTo>
                <a:lnTo>
                  <a:pt x="1878415" y="3837842"/>
                </a:lnTo>
                <a:cubicBezTo>
                  <a:pt x="1878415" y="3872218"/>
                  <a:pt x="1891026" y="3904057"/>
                  <a:pt x="1915210" y="3928052"/>
                </a:cubicBezTo>
                <a:cubicBezTo>
                  <a:pt x="1939221" y="3952277"/>
                  <a:pt x="1971006" y="3964967"/>
                  <a:pt x="2005382" y="3964967"/>
                </a:cubicBezTo>
                <a:lnTo>
                  <a:pt x="3416352" y="3964967"/>
                </a:lnTo>
                <a:cubicBezTo>
                  <a:pt x="3590305" y="3964967"/>
                  <a:pt x="3731264" y="4103397"/>
                  <a:pt x="3731264" y="4277358"/>
                </a:cubicBezTo>
                <a:cubicBezTo>
                  <a:pt x="3731264" y="4451318"/>
                  <a:pt x="3590305" y="4592286"/>
                  <a:pt x="3416352" y="4592286"/>
                </a:cubicBezTo>
                <a:lnTo>
                  <a:pt x="2005382" y="4592286"/>
                </a:lnTo>
                <a:cubicBezTo>
                  <a:pt x="1935421" y="4592286"/>
                  <a:pt x="1878415" y="4649504"/>
                  <a:pt x="1878415" y="4719411"/>
                </a:cubicBezTo>
                <a:lnTo>
                  <a:pt x="1878415" y="4977122"/>
                </a:lnTo>
                <a:cubicBezTo>
                  <a:pt x="1906227" y="4983582"/>
                  <a:pt x="1926611" y="5007577"/>
                  <a:pt x="1926611" y="5036878"/>
                </a:cubicBezTo>
                <a:cubicBezTo>
                  <a:pt x="1926611" y="5071024"/>
                  <a:pt x="1898626" y="5097787"/>
                  <a:pt x="1865632" y="5097787"/>
                </a:cubicBezTo>
                <a:cubicBezTo>
                  <a:pt x="1831429" y="5097787"/>
                  <a:pt x="1804654" y="5069870"/>
                  <a:pt x="1804654" y="5036878"/>
                </a:cubicBezTo>
                <a:cubicBezTo>
                  <a:pt x="1804654" y="5007577"/>
                  <a:pt x="1826247" y="4983582"/>
                  <a:pt x="1852849" y="4977122"/>
                </a:cubicBezTo>
                <a:lnTo>
                  <a:pt x="1852849" y="4719411"/>
                </a:lnTo>
                <a:cubicBezTo>
                  <a:pt x="1852849" y="4635430"/>
                  <a:pt x="1921428" y="4566907"/>
                  <a:pt x="2005382" y="4566907"/>
                </a:cubicBezTo>
                <a:lnTo>
                  <a:pt x="3416352" y="4566907"/>
                </a:lnTo>
                <a:cubicBezTo>
                  <a:pt x="3576313" y="4566907"/>
                  <a:pt x="3705871" y="4437475"/>
                  <a:pt x="3705871" y="4277358"/>
                </a:cubicBezTo>
                <a:cubicBezTo>
                  <a:pt x="3705871" y="4117240"/>
                  <a:pt x="3576313" y="3987808"/>
                  <a:pt x="3416352" y="3987808"/>
                </a:cubicBezTo>
                <a:lnTo>
                  <a:pt x="2005382" y="3987808"/>
                </a:lnTo>
                <a:cubicBezTo>
                  <a:pt x="1964614" y="3987808"/>
                  <a:pt x="1926611" y="3972580"/>
                  <a:pt x="1897417" y="3943279"/>
                </a:cubicBezTo>
                <a:cubicBezTo>
                  <a:pt x="1868223" y="3914209"/>
                  <a:pt x="1852849" y="3876141"/>
                  <a:pt x="1852849" y="3835304"/>
                </a:cubicBezTo>
                <a:lnTo>
                  <a:pt x="1852849" y="3594204"/>
                </a:lnTo>
                <a:cubicBezTo>
                  <a:pt x="1852849" y="3524297"/>
                  <a:pt x="1795843" y="3467079"/>
                  <a:pt x="1725882" y="3467079"/>
                </a:cubicBezTo>
                <a:lnTo>
                  <a:pt x="314912" y="3467079"/>
                </a:lnTo>
                <a:cubicBezTo>
                  <a:pt x="140959" y="3467079"/>
                  <a:pt x="0" y="3326111"/>
                  <a:pt x="0" y="3152151"/>
                </a:cubicBezTo>
                <a:cubicBezTo>
                  <a:pt x="0" y="2978190"/>
                  <a:pt x="140959" y="2837222"/>
                  <a:pt x="314912" y="2837222"/>
                </a:cubicBezTo>
                <a:lnTo>
                  <a:pt x="1725882" y="2837222"/>
                </a:lnTo>
                <a:cubicBezTo>
                  <a:pt x="1795843" y="2837222"/>
                  <a:pt x="1852849" y="2780004"/>
                  <a:pt x="1852849" y="2710097"/>
                </a:cubicBezTo>
                <a:lnTo>
                  <a:pt x="1852849" y="2439697"/>
                </a:lnTo>
                <a:cubicBezTo>
                  <a:pt x="1852849" y="2399090"/>
                  <a:pt x="1868223" y="2361022"/>
                  <a:pt x="1897417" y="2331721"/>
                </a:cubicBezTo>
                <a:cubicBezTo>
                  <a:pt x="1926611" y="2302420"/>
                  <a:pt x="1964614" y="2287193"/>
                  <a:pt x="2005382" y="2287193"/>
                </a:cubicBezTo>
                <a:lnTo>
                  <a:pt x="3416352" y="2287193"/>
                </a:lnTo>
                <a:cubicBezTo>
                  <a:pt x="3576313" y="2287193"/>
                  <a:pt x="3705871" y="2157761"/>
                  <a:pt x="3705871" y="1997643"/>
                </a:cubicBezTo>
                <a:cubicBezTo>
                  <a:pt x="3705871" y="1837756"/>
                  <a:pt x="3576313" y="1708093"/>
                  <a:pt x="3416352" y="1708093"/>
                </a:cubicBezTo>
                <a:lnTo>
                  <a:pt x="2005382" y="1708093"/>
                </a:lnTo>
                <a:cubicBezTo>
                  <a:pt x="1964614" y="1708093"/>
                  <a:pt x="1926611" y="1692866"/>
                  <a:pt x="1897417" y="1663795"/>
                </a:cubicBezTo>
                <a:cubicBezTo>
                  <a:pt x="1868223" y="1634494"/>
                  <a:pt x="1852849" y="1596426"/>
                  <a:pt x="1852849" y="1555820"/>
                </a:cubicBezTo>
                <a:lnTo>
                  <a:pt x="1852849" y="1314490"/>
                </a:lnTo>
                <a:cubicBezTo>
                  <a:pt x="1852849" y="1244583"/>
                  <a:pt x="1795843" y="1187365"/>
                  <a:pt x="1725882" y="1187365"/>
                </a:cubicBezTo>
                <a:lnTo>
                  <a:pt x="314912" y="1187365"/>
                </a:lnTo>
                <a:cubicBezTo>
                  <a:pt x="140959" y="1187365"/>
                  <a:pt x="0" y="1046397"/>
                  <a:pt x="0" y="872436"/>
                </a:cubicBezTo>
                <a:cubicBezTo>
                  <a:pt x="0" y="698476"/>
                  <a:pt x="140959" y="557508"/>
                  <a:pt x="314912" y="557508"/>
                </a:cubicBezTo>
                <a:lnTo>
                  <a:pt x="1725882" y="557508"/>
                </a:lnTo>
                <a:cubicBezTo>
                  <a:pt x="1795843" y="557508"/>
                  <a:pt x="1852849" y="500290"/>
                  <a:pt x="1852849" y="430613"/>
                </a:cubicBezTo>
                <a:lnTo>
                  <a:pt x="1852849" y="117155"/>
                </a:lnTo>
                <a:lnTo>
                  <a:pt x="1821256" y="104069"/>
                </a:lnTo>
                <a:cubicBezTo>
                  <a:pt x="1815740" y="98553"/>
                  <a:pt x="1811276" y="91984"/>
                  <a:pt x="1808191" y="84691"/>
                </a:cubicBezTo>
                <a:lnTo>
                  <a:pt x="1803409" y="61004"/>
                </a:lnTo>
                <a:lnTo>
                  <a:pt x="1803399" y="60962"/>
                </a:lnTo>
                <a:lnTo>
                  <a:pt x="1803528" y="60329"/>
                </a:lnTo>
                <a:lnTo>
                  <a:pt x="1808191" y="37233"/>
                </a:lnTo>
                <a:lnTo>
                  <a:pt x="1808243" y="37155"/>
                </a:lnTo>
                <a:lnTo>
                  <a:pt x="1808281" y="36970"/>
                </a:lnTo>
                <a:lnTo>
                  <a:pt x="1815009" y="27121"/>
                </a:lnTo>
                <a:lnTo>
                  <a:pt x="1821256" y="17856"/>
                </a:lnTo>
                <a:lnTo>
                  <a:pt x="1821370" y="17808"/>
                </a:lnTo>
                <a:lnTo>
                  <a:pt x="1821497" y="17622"/>
                </a:lnTo>
                <a:cubicBezTo>
                  <a:pt x="1832610" y="6668"/>
                  <a:pt x="1847851" y="0"/>
                  <a:pt x="1864361" y="0"/>
                </a:cubicBezTo>
                <a:close/>
              </a:path>
            </a:pathLst>
          </a:custGeom>
          <a:solidFill>
            <a:schemeClr val="bg2">
              <a:lumMod val="75000"/>
            </a:schemeClr>
          </a:solidFill>
          <a:ln w="12700">
            <a:miter lim="400000"/>
          </a:ln>
        </p:spPr>
        <p:txBody>
          <a:bodyPr wrap="square" lIns="28575" tIns="28575" rIns="28575" bIns="28575" anchor="ctr">
            <a:noAutofit/>
          </a:bodyPr>
          <a:lstStyle/>
          <a:p>
            <a:pPr>
              <a:defRPr sz="3000">
                <a:solidFill>
                  <a:srgbClr val="FFFFFF"/>
                </a:solidFill>
              </a:defRPr>
            </a:pPr>
            <a:endParaRPr sz="2400"/>
          </a:p>
        </p:txBody>
      </p:sp>
      <p:grpSp>
        <p:nvGrpSpPr>
          <p:cNvPr id="12" name="Group 11">
            <a:extLst>
              <a:ext uri="{FF2B5EF4-FFF2-40B4-BE49-F238E27FC236}">
                <a16:creationId xmlns:a16="http://schemas.microsoft.com/office/drawing/2014/main" id="{5A4DB808-B88E-55A1-38CA-C8790E4DDBD4}"/>
              </a:ext>
            </a:extLst>
          </p:cNvPr>
          <p:cNvGrpSpPr/>
          <p:nvPr/>
        </p:nvGrpSpPr>
        <p:grpSpPr>
          <a:xfrm>
            <a:off x="1856015" y="3884286"/>
            <a:ext cx="406044" cy="406044"/>
            <a:chOff x="4331336" y="3808094"/>
            <a:chExt cx="447043" cy="447043"/>
          </a:xfrm>
        </p:grpSpPr>
        <p:sp>
          <p:nvSpPr>
            <p:cNvPr id="13" name="Circle">
              <a:extLst>
                <a:ext uri="{FF2B5EF4-FFF2-40B4-BE49-F238E27FC236}">
                  <a16:creationId xmlns:a16="http://schemas.microsoft.com/office/drawing/2014/main" id="{3FD57432-08AB-2BA5-AA6B-776FD4207491}"/>
                </a:ext>
              </a:extLst>
            </p:cNvPr>
            <p:cNvSpPr/>
            <p:nvPr/>
          </p:nvSpPr>
          <p:spPr>
            <a:xfrm>
              <a:off x="4331336" y="3808094"/>
              <a:ext cx="447043" cy="447043"/>
            </a:xfrm>
            <a:prstGeom prst="ellipse">
              <a:avLst/>
            </a:prstGeom>
            <a:solidFill>
              <a:schemeClr val="accent6"/>
            </a:solidFill>
            <a:ln w="12700">
              <a:miter lim="400000"/>
            </a:ln>
          </p:spPr>
          <p:txBody>
            <a:bodyPr lIns="28575" tIns="28575" rIns="28575" bIns="28575" anchor="ctr"/>
            <a:lstStyle/>
            <a:p>
              <a:pPr>
                <a:defRPr sz="3000">
                  <a:solidFill>
                    <a:srgbClr val="FFFFFF"/>
                  </a:solidFill>
                </a:defRPr>
              </a:pPr>
              <a:endParaRPr sz="2400"/>
            </a:p>
          </p:txBody>
        </p:sp>
        <p:pic>
          <p:nvPicPr>
            <p:cNvPr id="14" name="Graphic 13" descr="Hourglass Finished with solid fill">
              <a:extLst>
                <a:ext uri="{FF2B5EF4-FFF2-40B4-BE49-F238E27FC236}">
                  <a16:creationId xmlns:a16="http://schemas.microsoft.com/office/drawing/2014/main" id="{8C04C772-FAD3-9F31-C2CF-819956EC4AE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79775" y="3856533"/>
              <a:ext cx="350164" cy="350164"/>
            </a:xfrm>
            <a:prstGeom prst="rect">
              <a:avLst/>
            </a:prstGeom>
          </p:spPr>
        </p:pic>
      </p:grpSp>
      <p:sp>
        <p:nvSpPr>
          <p:cNvPr id="15" name="TextBox 14">
            <a:extLst>
              <a:ext uri="{FF2B5EF4-FFF2-40B4-BE49-F238E27FC236}">
                <a16:creationId xmlns:a16="http://schemas.microsoft.com/office/drawing/2014/main" id="{78668D7F-5E2F-92E3-1E3F-8A7E95BD8996}"/>
              </a:ext>
            </a:extLst>
          </p:cNvPr>
          <p:cNvSpPr txBox="1"/>
          <p:nvPr/>
        </p:nvSpPr>
        <p:spPr>
          <a:xfrm>
            <a:off x="2306056" y="3829134"/>
            <a:ext cx="1585135"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solidFill>
                  <a:srgbClr val="FFB500"/>
                </a:solidFill>
                <a:latin typeface="Roboto"/>
                <a:ea typeface="Roboto"/>
                <a:cs typeface="Arial"/>
              </a:rPr>
              <a:t>Root Cause Analysis</a:t>
            </a:r>
            <a:endParaRPr lang="en-US">
              <a:solidFill>
                <a:srgbClr val="FFB500"/>
              </a:solidFill>
            </a:endParaRPr>
          </a:p>
        </p:txBody>
      </p:sp>
      <p:sp>
        <p:nvSpPr>
          <p:cNvPr id="16" name="TextBox 15">
            <a:extLst>
              <a:ext uri="{FF2B5EF4-FFF2-40B4-BE49-F238E27FC236}">
                <a16:creationId xmlns:a16="http://schemas.microsoft.com/office/drawing/2014/main" id="{79966122-2B35-A025-9197-93EC2EBB864F}"/>
              </a:ext>
            </a:extLst>
          </p:cNvPr>
          <p:cNvSpPr txBox="1"/>
          <p:nvPr/>
        </p:nvSpPr>
        <p:spPr>
          <a:xfrm>
            <a:off x="3559281" y="1550834"/>
            <a:ext cx="2743200" cy="84638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dirty="0">
                <a:solidFill>
                  <a:srgbClr val="444444"/>
                </a:solidFill>
                <a:latin typeface="Calibri"/>
                <a:cs typeface="Arial"/>
              </a:rPr>
              <a:t>Grouping logs </a:t>
            </a:r>
            <a:r>
              <a:rPr lang="en-US" sz="1100" b="1" dirty="0">
                <a:solidFill>
                  <a:srgbClr val="444444"/>
                </a:solidFill>
                <a:latin typeface="Calibri"/>
                <a:cs typeface="Arial"/>
              </a:rPr>
              <a:t>by user email across all services</a:t>
            </a:r>
            <a:r>
              <a:rPr lang="en-US" sz="1100" dirty="0">
                <a:solidFill>
                  <a:srgbClr val="444444"/>
                </a:solidFill>
                <a:latin typeface="Calibri"/>
                <a:cs typeface="Arial"/>
              </a:rPr>
              <a:t> is not possible in Datadog​</a:t>
            </a:r>
          </a:p>
          <a:p>
            <a:pPr marL="228600" lvl="1" indent="-228600">
              <a:buFont typeface=""/>
              <a:buChar char="•"/>
            </a:pPr>
            <a:r>
              <a:rPr lang="en-US" sz="1100" dirty="0">
                <a:solidFill>
                  <a:srgbClr val="444444"/>
                </a:solidFill>
                <a:latin typeface="Calibri"/>
                <a:cs typeface="Arial"/>
              </a:rPr>
              <a:t>Perform Grouping by using Azure Ai Text analytics based on email id (currently implemented)</a:t>
            </a:r>
          </a:p>
        </p:txBody>
      </p:sp>
      <p:sp>
        <p:nvSpPr>
          <p:cNvPr id="17" name="TextBox 16">
            <a:extLst>
              <a:ext uri="{FF2B5EF4-FFF2-40B4-BE49-F238E27FC236}">
                <a16:creationId xmlns:a16="http://schemas.microsoft.com/office/drawing/2014/main" id="{D716D5B5-97A3-D195-EE68-89B93C4D1D54}"/>
              </a:ext>
            </a:extLst>
          </p:cNvPr>
          <p:cNvSpPr txBox="1"/>
          <p:nvPr/>
        </p:nvSpPr>
        <p:spPr>
          <a:xfrm>
            <a:off x="3530521" y="3807703"/>
            <a:ext cx="2743200" cy="50783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dirty="0">
                <a:solidFill>
                  <a:srgbClr val="444444"/>
                </a:solidFill>
                <a:latin typeface="Calibri"/>
                <a:cs typeface="Arial"/>
              </a:rPr>
              <a:t> Cluster the errors for each users.</a:t>
            </a:r>
          </a:p>
          <a:p>
            <a:pPr marL="228600" lvl="1" indent="-228600">
              <a:buFont typeface=""/>
              <a:buChar char="•"/>
            </a:pPr>
            <a:r>
              <a:rPr lang="en-US" sz="1100" dirty="0">
                <a:solidFill>
                  <a:srgbClr val="444444"/>
                </a:solidFill>
                <a:latin typeface="Calibri"/>
                <a:cs typeface="Arial"/>
              </a:rPr>
              <a:t>The number of clusters are determined by </a:t>
            </a:r>
            <a:r>
              <a:rPr lang="en-US" sz="1100" b="1" dirty="0">
                <a:solidFill>
                  <a:srgbClr val="444444"/>
                </a:solidFill>
                <a:latin typeface="Calibri"/>
                <a:cs typeface="Arial"/>
              </a:rPr>
              <a:t>silhouette</a:t>
            </a:r>
            <a:r>
              <a:rPr lang="en-US" sz="1100" dirty="0">
                <a:solidFill>
                  <a:srgbClr val="444444"/>
                </a:solidFill>
                <a:latin typeface="Calibri"/>
                <a:cs typeface="Arial"/>
              </a:rPr>
              <a:t> score</a:t>
            </a:r>
          </a:p>
        </p:txBody>
      </p:sp>
      <p:sp>
        <p:nvSpPr>
          <p:cNvPr id="18" name="TextBox 17">
            <a:extLst>
              <a:ext uri="{FF2B5EF4-FFF2-40B4-BE49-F238E27FC236}">
                <a16:creationId xmlns:a16="http://schemas.microsoft.com/office/drawing/2014/main" id="{6BC5C225-ACCF-0C3B-3F99-231C8F1734BC}"/>
              </a:ext>
            </a:extLst>
          </p:cNvPr>
          <p:cNvSpPr txBox="1"/>
          <p:nvPr/>
        </p:nvSpPr>
        <p:spPr>
          <a:xfrm>
            <a:off x="683082" y="2672490"/>
            <a:ext cx="2743200" cy="84638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dirty="0">
                <a:solidFill>
                  <a:srgbClr val="444444"/>
                </a:solidFill>
                <a:latin typeface="Calibri"/>
                <a:cs typeface="Arial"/>
              </a:rPr>
              <a:t>After grouping logs based on user email</a:t>
            </a:r>
          </a:p>
          <a:p>
            <a:pPr marL="228600" lvl="1" indent="-228600">
              <a:buFont typeface=""/>
              <a:buChar char="•"/>
            </a:pPr>
            <a:r>
              <a:rPr lang="en-US" sz="1100" dirty="0">
                <a:solidFill>
                  <a:srgbClr val="444444"/>
                </a:solidFill>
                <a:latin typeface="Calibri"/>
                <a:cs typeface="Arial"/>
              </a:rPr>
              <a:t>Use </a:t>
            </a:r>
            <a:r>
              <a:rPr lang="en-US" sz="1100" b="1" dirty="0">
                <a:solidFill>
                  <a:srgbClr val="444444"/>
                </a:solidFill>
                <a:latin typeface="Calibri"/>
                <a:cs typeface="Arial"/>
              </a:rPr>
              <a:t>Log Categorization </a:t>
            </a:r>
            <a:r>
              <a:rPr lang="en-US" sz="1100" dirty="0">
                <a:solidFill>
                  <a:srgbClr val="444444"/>
                </a:solidFill>
                <a:latin typeface="Calibri"/>
                <a:cs typeface="Arial"/>
              </a:rPr>
              <a:t>to categorize type of report user runs</a:t>
            </a:r>
          </a:p>
          <a:p>
            <a:pPr marL="228600" lvl="1" indent="-228600">
              <a:buFont typeface=""/>
              <a:buChar char="•"/>
            </a:pPr>
            <a:r>
              <a:rPr lang="en-US" sz="1100" dirty="0" err="1">
                <a:solidFill>
                  <a:srgbClr val="444444"/>
                </a:solidFill>
                <a:latin typeface="Calibri"/>
                <a:cs typeface="Arial"/>
              </a:rPr>
              <a:t>Eg</a:t>
            </a:r>
            <a:r>
              <a:rPr lang="en-US" sz="1100" dirty="0">
                <a:solidFill>
                  <a:srgbClr val="444444"/>
                </a:solidFill>
                <a:latin typeface="Calibri"/>
                <a:cs typeface="Arial"/>
              </a:rPr>
              <a:t>: Condition, Rank,  general reports etc.</a:t>
            </a:r>
          </a:p>
          <a:p>
            <a:pPr marL="228600" lvl="1" indent="-228600">
              <a:buFont typeface=""/>
              <a:buChar char="•"/>
            </a:pPr>
            <a:endParaRPr lang="en-US" sz="1100" dirty="0">
              <a:solidFill>
                <a:srgbClr val="444444"/>
              </a:solidFill>
              <a:latin typeface="Calibri"/>
              <a:cs typeface="Arial"/>
            </a:endParaRPr>
          </a:p>
        </p:txBody>
      </p:sp>
      <p:sp>
        <p:nvSpPr>
          <p:cNvPr id="19" name="TextBox 18">
            <a:extLst>
              <a:ext uri="{FF2B5EF4-FFF2-40B4-BE49-F238E27FC236}">
                <a16:creationId xmlns:a16="http://schemas.microsoft.com/office/drawing/2014/main" id="{14FA0EA5-A13B-9340-767B-EBF547505BBB}"/>
              </a:ext>
            </a:extLst>
          </p:cNvPr>
          <p:cNvSpPr txBox="1"/>
          <p:nvPr/>
        </p:nvSpPr>
        <p:spPr>
          <a:xfrm>
            <a:off x="719813" y="4631835"/>
            <a:ext cx="2743200" cy="118494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a:solidFill>
                  <a:srgbClr val="444444"/>
                </a:solidFill>
                <a:latin typeface="Calibri"/>
                <a:cs typeface="Arial"/>
              </a:rPr>
              <a:t>Can identify the granular information for each users</a:t>
            </a:r>
          </a:p>
          <a:p>
            <a:pPr marL="228600" lvl="1" indent="-228600">
              <a:buFont typeface=""/>
              <a:buChar char="•"/>
            </a:pPr>
            <a:r>
              <a:rPr lang="en-US" sz="1100">
                <a:solidFill>
                  <a:srgbClr val="444444"/>
                </a:solidFill>
                <a:latin typeface="Calibri"/>
                <a:cs typeface="Arial"/>
              </a:rPr>
              <a:t>Reduce overuse of data points for a user</a:t>
            </a:r>
          </a:p>
          <a:p>
            <a:pPr marL="228600" lvl="1" indent="-228600">
              <a:buFont typeface=""/>
              <a:buChar char="•"/>
            </a:pPr>
            <a:r>
              <a:rPr lang="en-US" sz="1100">
                <a:solidFill>
                  <a:srgbClr val="444444"/>
                </a:solidFill>
                <a:latin typeface="Calibri"/>
                <a:cs typeface="Arial"/>
              </a:rPr>
              <a:t>based on their historical data we can precache the reports and selection.</a:t>
            </a:r>
          </a:p>
          <a:p>
            <a:pPr marL="228600" lvl="1" indent="-228600">
              <a:buFont typeface=""/>
              <a:buChar char="•"/>
            </a:pPr>
            <a:endParaRPr lang="en-US" sz="1100">
              <a:solidFill>
                <a:srgbClr val="444444"/>
              </a:solidFill>
              <a:latin typeface="Calibri"/>
              <a:cs typeface="Arial"/>
            </a:endParaRPr>
          </a:p>
          <a:p>
            <a:pPr marL="228600" lvl="1" indent="-228600">
              <a:buFont typeface=""/>
              <a:buChar char="•"/>
            </a:pPr>
            <a:endParaRPr lang="en-US" sz="1100">
              <a:solidFill>
                <a:srgbClr val="444444"/>
              </a:solidFill>
              <a:latin typeface="Calibri"/>
              <a:cs typeface="Arial"/>
            </a:endParaRPr>
          </a:p>
        </p:txBody>
      </p:sp>
      <p:sp>
        <p:nvSpPr>
          <p:cNvPr id="20" name="Shape">
            <a:extLst>
              <a:ext uri="{FF2B5EF4-FFF2-40B4-BE49-F238E27FC236}">
                <a16:creationId xmlns:a16="http://schemas.microsoft.com/office/drawing/2014/main" id="{084276BF-C216-85B3-E43F-08B93CDE6A36}"/>
              </a:ext>
            </a:extLst>
          </p:cNvPr>
          <p:cNvSpPr/>
          <p:nvPr/>
        </p:nvSpPr>
        <p:spPr>
          <a:xfrm>
            <a:off x="6100951" y="1242580"/>
            <a:ext cx="206481" cy="1537651"/>
          </a:xfrm>
          <a:custGeom>
            <a:avLst/>
            <a:gdLst/>
            <a:ahLst/>
            <a:cxnLst>
              <a:cxn ang="0">
                <a:pos x="wd2" y="hd2"/>
              </a:cxn>
              <a:cxn ang="5400000">
                <a:pos x="wd2" y="hd2"/>
              </a:cxn>
              <a:cxn ang="10800000">
                <a:pos x="wd2" y="hd2"/>
              </a:cxn>
              <a:cxn ang="16200000">
                <a:pos x="wd2" y="hd2"/>
              </a:cxn>
            </a:cxnLst>
            <a:rect l="0" t="0" r="r" b="b"/>
            <a:pathLst>
              <a:path w="21600" h="21600" extrusionOk="0">
                <a:moveTo>
                  <a:pt x="1207" y="0"/>
                </a:moveTo>
                <a:cubicBezTo>
                  <a:pt x="12429" y="0"/>
                  <a:pt x="21600" y="1183"/>
                  <a:pt x="21600" y="2641"/>
                </a:cubicBezTo>
                <a:lnTo>
                  <a:pt x="21600" y="18959"/>
                </a:lnTo>
                <a:cubicBezTo>
                  <a:pt x="21600" y="20417"/>
                  <a:pt x="12429" y="21600"/>
                  <a:pt x="1207" y="21600"/>
                </a:cubicBezTo>
                <a:cubicBezTo>
                  <a:pt x="483" y="21600"/>
                  <a:pt x="0" y="21535"/>
                  <a:pt x="0" y="21438"/>
                </a:cubicBezTo>
                <a:cubicBezTo>
                  <a:pt x="0" y="21357"/>
                  <a:pt x="483" y="21276"/>
                  <a:pt x="1207" y="21276"/>
                </a:cubicBezTo>
                <a:cubicBezTo>
                  <a:pt x="11102" y="21276"/>
                  <a:pt x="19187" y="20223"/>
                  <a:pt x="19187" y="18943"/>
                </a:cubicBezTo>
                <a:lnTo>
                  <a:pt x="19187" y="2625"/>
                </a:lnTo>
                <a:cubicBezTo>
                  <a:pt x="19187" y="1345"/>
                  <a:pt x="11102" y="292"/>
                  <a:pt x="1207" y="292"/>
                </a:cubicBezTo>
                <a:cubicBezTo>
                  <a:pt x="483" y="292"/>
                  <a:pt x="0" y="227"/>
                  <a:pt x="0" y="130"/>
                </a:cubicBezTo>
                <a:cubicBezTo>
                  <a:pt x="0" y="65"/>
                  <a:pt x="483" y="0"/>
                  <a:pt x="1207" y="0"/>
                </a:cubicBezTo>
                <a:close/>
              </a:path>
            </a:pathLst>
          </a:custGeom>
          <a:solidFill>
            <a:schemeClr val="accent5"/>
          </a:solidFill>
          <a:ln w="12700">
            <a:miter lim="400000"/>
          </a:ln>
        </p:spPr>
        <p:txBody>
          <a:bodyPr lIns="28575" tIns="28575" rIns="28575" bIns="28575" anchor="ctr"/>
          <a:lstStyle/>
          <a:p>
            <a:pPr>
              <a:defRPr sz="3000">
                <a:solidFill>
                  <a:srgbClr val="FFFFFF"/>
                </a:solidFill>
              </a:defRPr>
            </a:pPr>
            <a:endParaRPr sz="2400"/>
          </a:p>
        </p:txBody>
      </p:sp>
      <p:sp>
        <p:nvSpPr>
          <p:cNvPr id="21" name="Shape">
            <a:extLst>
              <a:ext uri="{FF2B5EF4-FFF2-40B4-BE49-F238E27FC236}">
                <a16:creationId xmlns:a16="http://schemas.microsoft.com/office/drawing/2014/main" id="{726D9A7D-9712-8B00-F471-A7AC38BFBE65}"/>
              </a:ext>
            </a:extLst>
          </p:cNvPr>
          <p:cNvSpPr/>
          <p:nvPr/>
        </p:nvSpPr>
        <p:spPr>
          <a:xfrm>
            <a:off x="6096000" y="3317905"/>
            <a:ext cx="206481" cy="1538805"/>
          </a:xfrm>
          <a:custGeom>
            <a:avLst/>
            <a:gdLst/>
            <a:ahLst/>
            <a:cxnLst>
              <a:cxn ang="0">
                <a:pos x="wd2" y="hd2"/>
              </a:cxn>
              <a:cxn ang="5400000">
                <a:pos x="wd2" y="hd2"/>
              </a:cxn>
              <a:cxn ang="10800000">
                <a:pos x="wd2" y="hd2"/>
              </a:cxn>
              <a:cxn ang="16200000">
                <a:pos x="wd2" y="hd2"/>
              </a:cxn>
            </a:cxnLst>
            <a:rect l="0" t="0" r="r" b="b"/>
            <a:pathLst>
              <a:path w="21600" h="21600" extrusionOk="0">
                <a:moveTo>
                  <a:pt x="1207" y="0"/>
                </a:moveTo>
                <a:cubicBezTo>
                  <a:pt x="12429" y="0"/>
                  <a:pt x="21600" y="1182"/>
                  <a:pt x="21600" y="2639"/>
                </a:cubicBezTo>
                <a:lnTo>
                  <a:pt x="21600" y="18961"/>
                </a:lnTo>
                <a:cubicBezTo>
                  <a:pt x="21600" y="20418"/>
                  <a:pt x="12429" y="21600"/>
                  <a:pt x="1207" y="21600"/>
                </a:cubicBezTo>
                <a:cubicBezTo>
                  <a:pt x="483" y="21600"/>
                  <a:pt x="0" y="21535"/>
                  <a:pt x="0" y="21438"/>
                </a:cubicBezTo>
                <a:cubicBezTo>
                  <a:pt x="0" y="21341"/>
                  <a:pt x="483" y="21276"/>
                  <a:pt x="1207" y="21276"/>
                </a:cubicBezTo>
                <a:cubicBezTo>
                  <a:pt x="11102" y="21276"/>
                  <a:pt x="19187" y="20224"/>
                  <a:pt x="19187" y="18945"/>
                </a:cubicBezTo>
                <a:lnTo>
                  <a:pt x="19187" y="2639"/>
                </a:lnTo>
                <a:cubicBezTo>
                  <a:pt x="19187" y="1360"/>
                  <a:pt x="11102" y="308"/>
                  <a:pt x="1207" y="308"/>
                </a:cubicBezTo>
                <a:cubicBezTo>
                  <a:pt x="483" y="308"/>
                  <a:pt x="0" y="243"/>
                  <a:pt x="0" y="146"/>
                </a:cubicBezTo>
                <a:cubicBezTo>
                  <a:pt x="0" y="49"/>
                  <a:pt x="483" y="0"/>
                  <a:pt x="1207" y="0"/>
                </a:cubicBezTo>
                <a:close/>
              </a:path>
            </a:pathLst>
          </a:custGeom>
          <a:solidFill>
            <a:schemeClr val="accent6"/>
          </a:solidFill>
          <a:ln w="12700">
            <a:miter lim="400000"/>
          </a:ln>
        </p:spPr>
        <p:txBody>
          <a:bodyPr lIns="28575" tIns="28575" rIns="28575" bIns="28575" anchor="ctr"/>
          <a:lstStyle/>
          <a:p>
            <a:pPr>
              <a:defRPr sz="3000">
                <a:solidFill>
                  <a:srgbClr val="FFFFFF"/>
                </a:solidFill>
              </a:defRPr>
            </a:pPr>
            <a:endParaRPr sz="2400"/>
          </a:p>
        </p:txBody>
      </p:sp>
      <p:sp>
        <p:nvSpPr>
          <p:cNvPr id="22" name="Shape">
            <a:extLst>
              <a:ext uri="{FF2B5EF4-FFF2-40B4-BE49-F238E27FC236}">
                <a16:creationId xmlns:a16="http://schemas.microsoft.com/office/drawing/2014/main" id="{B9E3C7FF-4C8C-66EF-6BF9-0D81B91A0F85}"/>
              </a:ext>
            </a:extLst>
          </p:cNvPr>
          <p:cNvSpPr/>
          <p:nvPr/>
        </p:nvSpPr>
        <p:spPr>
          <a:xfrm>
            <a:off x="616574" y="4306161"/>
            <a:ext cx="206481" cy="1537651"/>
          </a:xfrm>
          <a:custGeom>
            <a:avLst/>
            <a:gdLst/>
            <a:ahLst/>
            <a:cxnLst>
              <a:cxn ang="0">
                <a:pos x="wd2" y="hd2"/>
              </a:cxn>
              <a:cxn ang="5400000">
                <a:pos x="wd2" y="hd2"/>
              </a:cxn>
              <a:cxn ang="10800000">
                <a:pos x="wd2" y="hd2"/>
              </a:cxn>
              <a:cxn ang="16200000">
                <a:pos x="wd2" y="hd2"/>
              </a:cxn>
            </a:cxnLst>
            <a:rect l="0" t="0" r="r" b="b"/>
            <a:pathLst>
              <a:path w="21600" h="21600" extrusionOk="0">
                <a:moveTo>
                  <a:pt x="20393" y="21600"/>
                </a:moveTo>
                <a:cubicBezTo>
                  <a:pt x="9171" y="21600"/>
                  <a:pt x="0" y="20417"/>
                  <a:pt x="0" y="18959"/>
                </a:cubicBezTo>
                <a:lnTo>
                  <a:pt x="0" y="2641"/>
                </a:lnTo>
                <a:cubicBezTo>
                  <a:pt x="0" y="1183"/>
                  <a:pt x="9171" y="0"/>
                  <a:pt x="20393" y="0"/>
                </a:cubicBezTo>
                <a:cubicBezTo>
                  <a:pt x="21117" y="0"/>
                  <a:pt x="21600" y="65"/>
                  <a:pt x="21600" y="162"/>
                </a:cubicBezTo>
                <a:cubicBezTo>
                  <a:pt x="21600" y="243"/>
                  <a:pt x="21117" y="324"/>
                  <a:pt x="20393" y="324"/>
                </a:cubicBezTo>
                <a:cubicBezTo>
                  <a:pt x="10498" y="324"/>
                  <a:pt x="2413" y="1377"/>
                  <a:pt x="2413" y="2657"/>
                </a:cubicBezTo>
                <a:lnTo>
                  <a:pt x="2413" y="18975"/>
                </a:lnTo>
                <a:cubicBezTo>
                  <a:pt x="2413" y="20255"/>
                  <a:pt x="10498" y="21308"/>
                  <a:pt x="20393" y="21308"/>
                </a:cubicBezTo>
                <a:cubicBezTo>
                  <a:pt x="21117" y="21308"/>
                  <a:pt x="21600" y="21373"/>
                  <a:pt x="21600" y="21470"/>
                </a:cubicBezTo>
                <a:cubicBezTo>
                  <a:pt x="21600" y="21535"/>
                  <a:pt x="21117" y="21600"/>
                  <a:pt x="20393" y="21600"/>
                </a:cubicBezTo>
                <a:close/>
              </a:path>
            </a:pathLst>
          </a:custGeom>
          <a:solidFill>
            <a:schemeClr val="accent2"/>
          </a:solidFill>
          <a:ln w="12700">
            <a:miter lim="400000"/>
          </a:ln>
        </p:spPr>
        <p:txBody>
          <a:bodyPr lIns="28575" tIns="28575" rIns="28575" bIns="28575" anchor="ctr"/>
          <a:lstStyle/>
          <a:p>
            <a:pPr>
              <a:defRPr sz="3000">
                <a:solidFill>
                  <a:srgbClr val="FFFFFF"/>
                </a:solidFill>
              </a:defRPr>
            </a:pPr>
            <a:endParaRPr sz="2400"/>
          </a:p>
        </p:txBody>
      </p:sp>
      <p:sp>
        <p:nvSpPr>
          <p:cNvPr id="23" name="Shape">
            <a:extLst>
              <a:ext uri="{FF2B5EF4-FFF2-40B4-BE49-F238E27FC236}">
                <a16:creationId xmlns:a16="http://schemas.microsoft.com/office/drawing/2014/main" id="{E41AD740-1524-A76D-C7E3-58257E5200C8}"/>
              </a:ext>
            </a:extLst>
          </p:cNvPr>
          <p:cNvSpPr/>
          <p:nvPr/>
        </p:nvSpPr>
        <p:spPr>
          <a:xfrm>
            <a:off x="616573" y="2309101"/>
            <a:ext cx="206481" cy="1537651"/>
          </a:xfrm>
          <a:custGeom>
            <a:avLst/>
            <a:gdLst/>
            <a:ahLst/>
            <a:cxnLst>
              <a:cxn ang="0">
                <a:pos x="wd2" y="hd2"/>
              </a:cxn>
              <a:cxn ang="5400000">
                <a:pos x="wd2" y="hd2"/>
              </a:cxn>
              <a:cxn ang="10800000">
                <a:pos x="wd2" y="hd2"/>
              </a:cxn>
              <a:cxn ang="16200000">
                <a:pos x="wd2" y="hd2"/>
              </a:cxn>
            </a:cxnLst>
            <a:rect l="0" t="0" r="r" b="b"/>
            <a:pathLst>
              <a:path w="21600" h="21600" extrusionOk="0">
                <a:moveTo>
                  <a:pt x="20393" y="21600"/>
                </a:moveTo>
                <a:cubicBezTo>
                  <a:pt x="9171" y="21600"/>
                  <a:pt x="0" y="20417"/>
                  <a:pt x="0" y="18959"/>
                </a:cubicBezTo>
                <a:lnTo>
                  <a:pt x="0" y="2641"/>
                </a:lnTo>
                <a:cubicBezTo>
                  <a:pt x="0" y="1183"/>
                  <a:pt x="9171" y="0"/>
                  <a:pt x="20393" y="0"/>
                </a:cubicBezTo>
                <a:cubicBezTo>
                  <a:pt x="21117" y="0"/>
                  <a:pt x="21600" y="65"/>
                  <a:pt x="21600" y="162"/>
                </a:cubicBezTo>
                <a:cubicBezTo>
                  <a:pt x="21600" y="243"/>
                  <a:pt x="21117" y="324"/>
                  <a:pt x="20393" y="324"/>
                </a:cubicBezTo>
                <a:cubicBezTo>
                  <a:pt x="10498" y="324"/>
                  <a:pt x="2413" y="1377"/>
                  <a:pt x="2413" y="2657"/>
                </a:cubicBezTo>
                <a:lnTo>
                  <a:pt x="2413" y="18975"/>
                </a:lnTo>
                <a:cubicBezTo>
                  <a:pt x="2413" y="20255"/>
                  <a:pt x="10498" y="21308"/>
                  <a:pt x="20393" y="21308"/>
                </a:cubicBezTo>
                <a:cubicBezTo>
                  <a:pt x="21117" y="21308"/>
                  <a:pt x="21600" y="21373"/>
                  <a:pt x="21600" y="21470"/>
                </a:cubicBezTo>
                <a:cubicBezTo>
                  <a:pt x="21600" y="21535"/>
                  <a:pt x="21117" y="21600"/>
                  <a:pt x="20393" y="21600"/>
                </a:cubicBezTo>
                <a:close/>
              </a:path>
            </a:pathLst>
          </a:custGeom>
          <a:solidFill>
            <a:schemeClr val="accent3"/>
          </a:solidFill>
          <a:ln w="12700">
            <a:miter lim="400000"/>
          </a:ln>
        </p:spPr>
        <p:txBody>
          <a:bodyPr lIns="28575" tIns="28575" rIns="28575" bIns="28575" anchor="ctr"/>
          <a:lstStyle/>
          <a:p>
            <a:pPr>
              <a:defRPr sz="3000">
                <a:solidFill>
                  <a:srgbClr val="FFFFFF"/>
                </a:solidFill>
              </a:defRPr>
            </a:pPr>
            <a:endParaRPr sz="2400"/>
          </a:p>
        </p:txBody>
      </p:sp>
      <p:pic>
        <p:nvPicPr>
          <p:cNvPr id="24" name="Picture 23" descr="A screenshot of a computer&#10;&#10;Description automatically generated">
            <a:extLst>
              <a:ext uri="{FF2B5EF4-FFF2-40B4-BE49-F238E27FC236}">
                <a16:creationId xmlns:a16="http://schemas.microsoft.com/office/drawing/2014/main" id="{F53C32D5-8B30-2C82-1F61-54CB1BBA5932}"/>
              </a:ext>
            </a:extLst>
          </p:cNvPr>
          <p:cNvPicPr>
            <a:picLocks noChangeAspect="1"/>
          </p:cNvPicPr>
          <p:nvPr/>
        </p:nvPicPr>
        <p:blipFill>
          <a:blip r:embed="rId7"/>
          <a:stretch>
            <a:fillRect/>
          </a:stretch>
        </p:blipFill>
        <p:spPr>
          <a:xfrm>
            <a:off x="6523966" y="1217006"/>
            <a:ext cx="5418377" cy="1878677"/>
          </a:xfrm>
          <a:prstGeom prst="rect">
            <a:avLst/>
          </a:prstGeom>
        </p:spPr>
      </p:pic>
      <mc:AlternateContent xmlns:mc="http://schemas.openxmlformats.org/markup-compatibility/2006" xmlns:p14="http://schemas.microsoft.com/office/powerpoint/2010/main">
        <mc:Choice Requires="p14">
          <p:contentPart p14:bwMode="auto" r:id="rId8">
            <p14:nvContentPartPr>
              <p14:cNvPr id="25" name="Ink 24">
                <a:extLst>
                  <a:ext uri="{FF2B5EF4-FFF2-40B4-BE49-F238E27FC236}">
                    <a16:creationId xmlns:a16="http://schemas.microsoft.com/office/drawing/2014/main" id="{EB57F23C-0EF8-D212-7874-E96AE68EB080}"/>
                  </a:ext>
                </a:extLst>
              </p14:cNvPr>
              <p14:cNvContentPartPr/>
              <p14:nvPr/>
            </p14:nvContentPartPr>
            <p14:xfrm>
              <a:off x="11133400" y="1311840"/>
              <a:ext cx="423000" cy="43560"/>
            </p14:xfrm>
          </p:contentPart>
        </mc:Choice>
        <mc:Fallback xmlns="">
          <p:pic>
            <p:nvPicPr>
              <p:cNvPr id="25" name="Ink 24">
                <a:extLst>
                  <a:ext uri="{FF2B5EF4-FFF2-40B4-BE49-F238E27FC236}">
                    <a16:creationId xmlns:a16="http://schemas.microsoft.com/office/drawing/2014/main" id="{EB57F23C-0EF8-D212-7874-E96AE68EB080}"/>
                  </a:ext>
                </a:extLst>
              </p:cNvPr>
              <p:cNvPicPr/>
              <p:nvPr/>
            </p:nvPicPr>
            <p:blipFill>
              <a:blip r:embed="rId9"/>
              <a:stretch>
                <a:fillRect/>
              </a:stretch>
            </p:blipFill>
            <p:spPr>
              <a:xfrm>
                <a:off x="11079400" y="1203840"/>
                <a:ext cx="530640" cy="2592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26" name="Ink 25">
                <a:extLst>
                  <a:ext uri="{FF2B5EF4-FFF2-40B4-BE49-F238E27FC236}">
                    <a16:creationId xmlns:a16="http://schemas.microsoft.com/office/drawing/2014/main" id="{8470192A-FE88-37F3-4A4E-AB2828763D21}"/>
                  </a:ext>
                </a:extLst>
              </p14:cNvPr>
              <p14:cNvContentPartPr/>
              <p14:nvPr/>
            </p14:nvContentPartPr>
            <p14:xfrm>
              <a:off x="11073640" y="1524960"/>
              <a:ext cx="678600" cy="1454760"/>
            </p14:xfrm>
          </p:contentPart>
        </mc:Choice>
        <mc:Fallback xmlns="">
          <p:pic>
            <p:nvPicPr>
              <p:cNvPr id="26" name="Ink 25">
                <a:extLst>
                  <a:ext uri="{FF2B5EF4-FFF2-40B4-BE49-F238E27FC236}">
                    <a16:creationId xmlns:a16="http://schemas.microsoft.com/office/drawing/2014/main" id="{8470192A-FE88-37F3-4A4E-AB2828763D21}"/>
                  </a:ext>
                </a:extLst>
              </p:cNvPr>
              <p:cNvPicPr/>
              <p:nvPr/>
            </p:nvPicPr>
            <p:blipFill>
              <a:blip r:embed="rId11"/>
              <a:stretch>
                <a:fillRect/>
              </a:stretch>
            </p:blipFill>
            <p:spPr>
              <a:xfrm>
                <a:off x="11019640" y="1416960"/>
                <a:ext cx="786240" cy="1670400"/>
              </a:xfrm>
              <a:prstGeom prst="rect">
                <a:avLst/>
              </a:prstGeom>
            </p:spPr>
          </p:pic>
        </mc:Fallback>
      </mc:AlternateContent>
      <p:sp>
        <p:nvSpPr>
          <p:cNvPr id="27" name="Rectangle: Rounded Corners 26">
            <a:extLst>
              <a:ext uri="{FF2B5EF4-FFF2-40B4-BE49-F238E27FC236}">
                <a16:creationId xmlns:a16="http://schemas.microsoft.com/office/drawing/2014/main" id="{59748F93-AD53-EFF2-FB99-CE12793D259F}"/>
              </a:ext>
            </a:extLst>
          </p:cNvPr>
          <p:cNvSpPr/>
          <p:nvPr/>
        </p:nvSpPr>
        <p:spPr>
          <a:xfrm>
            <a:off x="6537495" y="4000811"/>
            <a:ext cx="941294" cy="368088"/>
          </a:xfrm>
          <a:prstGeom prst="roundRect">
            <a:avLst/>
          </a:prstGeom>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a:t>ADX</a:t>
            </a:r>
          </a:p>
        </p:txBody>
      </p:sp>
      <p:sp>
        <p:nvSpPr>
          <p:cNvPr id="28" name="Rectangle: Rounded Corners 27">
            <a:extLst>
              <a:ext uri="{FF2B5EF4-FFF2-40B4-BE49-F238E27FC236}">
                <a16:creationId xmlns:a16="http://schemas.microsoft.com/office/drawing/2014/main" id="{79FD90EC-A2AE-F5CF-11DC-C4AF584096D1}"/>
              </a:ext>
            </a:extLst>
          </p:cNvPr>
          <p:cNvSpPr/>
          <p:nvPr/>
        </p:nvSpPr>
        <p:spPr>
          <a:xfrm>
            <a:off x="7897212" y="3997452"/>
            <a:ext cx="941294" cy="368088"/>
          </a:xfrm>
          <a:prstGeom prst="round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200"/>
              <a:t>Azure AI Service</a:t>
            </a:r>
          </a:p>
        </p:txBody>
      </p:sp>
      <p:sp>
        <p:nvSpPr>
          <p:cNvPr id="29" name="Rectangle: Rounded Corners 28">
            <a:extLst>
              <a:ext uri="{FF2B5EF4-FFF2-40B4-BE49-F238E27FC236}">
                <a16:creationId xmlns:a16="http://schemas.microsoft.com/office/drawing/2014/main" id="{102DF273-326F-9BC0-883D-59D077ABEF42}"/>
              </a:ext>
            </a:extLst>
          </p:cNvPr>
          <p:cNvSpPr/>
          <p:nvPr/>
        </p:nvSpPr>
        <p:spPr>
          <a:xfrm>
            <a:off x="9261388" y="3997452"/>
            <a:ext cx="941294" cy="368088"/>
          </a:xfrm>
          <a:prstGeom prst="roundRect">
            <a:avLst/>
          </a:prstGeom>
          <a:ln/>
        </p:spPr>
        <p:style>
          <a:lnRef idx="2">
            <a:schemeClr val="accent4"/>
          </a:lnRef>
          <a:fillRef idx="1">
            <a:schemeClr val="lt1"/>
          </a:fillRef>
          <a:effectRef idx="0">
            <a:schemeClr val="accent4"/>
          </a:effectRef>
          <a:fontRef idx="minor">
            <a:schemeClr val="dk1"/>
          </a:fontRef>
        </p:style>
        <p:txBody>
          <a:bodyPr lIns="0" tIns="0" rIns="0" bIns="0" rtlCol="0" anchor="ctr"/>
          <a:lstStyle/>
          <a:p>
            <a:pPr algn="ctr"/>
            <a:r>
              <a:rPr lang="en-US" sz="1200"/>
              <a:t>Text Analytics</a:t>
            </a:r>
          </a:p>
        </p:txBody>
      </p:sp>
      <p:sp>
        <p:nvSpPr>
          <p:cNvPr id="30" name="Rectangle: Rounded Corners 29">
            <a:extLst>
              <a:ext uri="{FF2B5EF4-FFF2-40B4-BE49-F238E27FC236}">
                <a16:creationId xmlns:a16="http://schemas.microsoft.com/office/drawing/2014/main" id="{E73F3664-61E4-BE8D-DB18-490D6DE73F69}"/>
              </a:ext>
            </a:extLst>
          </p:cNvPr>
          <p:cNvSpPr/>
          <p:nvPr/>
        </p:nvSpPr>
        <p:spPr>
          <a:xfrm>
            <a:off x="10616522" y="3998355"/>
            <a:ext cx="941294" cy="368088"/>
          </a:xfrm>
          <a:prstGeom prst="roundRect">
            <a:avLst/>
          </a:prstGeom>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a:t>ADX</a:t>
            </a:r>
          </a:p>
        </p:txBody>
      </p:sp>
      <p:sp>
        <p:nvSpPr>
          <p:cNvPr id="31" name="Rectangle: Rounded Corners 30">
            <a:extLst>
              <a:ext uri="{FF2B5EF4-FFF2-40B4-BE49-F238E27FC236}">
                <a16:creationId xmlns:a16="http://schemas.microsoft.com/office/drawing/2014/main" id="{1CF7603F-14FF-2302-0ABE-CFF94A6A0A12}"/>
              </a:ext>
            </a:extLst>
          </p:cNvPr>
          <p:cNvSpPr/>
          <p:nvPr/>
        </p:nvSpPr>
        <p:spPr>
          <a:xfrm>
            <a:off x="10634132" y="5178072"/>
            <a:ext cx="941294" cy="368088"/>
          </a:xfrm>
          <a:prstGeom prst="roundRect">
            <a:avLst/>
          </a:prstGeom>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US" sz="1200"/>
              <a:t>Log Categorize</a:t>
            </a:r>
          </a:p>
        </p:txBody>
      </p:sp>
      <p:cxnSp>
        <p:nvCxnSpPr>
          <p:cNvPr id="32" name="Straight Arrow Connector 31">
            <a:extLst>
              <a:ext uri="{FF2B5EF4-FFF2-40B4-BE49-F238E27FC236}">
                <a16:creationId xmlns:a16="http://schemas.microsoft.com/office/drawing/2014/main" id="{A5C6A021-62C7-B646-24DA-BEBD1EBB7B0C}"/>
              </a:ext>
            </a:extLst>
          </p:cNvPr>
          <p:cNvCxnSpPr>
            <a:stCxn id="27" idx="3"/>
            <a:endCxn id="28" idx="1"/>
          </p:cNvCxnSpPr>
          <p:nvPr/>
        </p:nvCxnSpPr>
        <p:spPr>
          <a:xfrm flipV="1">
            <a:off x="7478789" y="4181496"/>
            <a:ext cx="418423" cy="3359"/>
          </a:xfrm>
          <a:prstGeom prst="straightConnector1">
            <a:avLst/>
          </a:prstGeom>
          <a:noFill/>
          <a:ln w="9525" cap="flat" cmpd="sng">
            <a:solidFill>
              <a:schemeClr val="tx1"/>
            </a:solidFill>
            <a:prstDash val="solid"/>
            <a:round/>
            <a:headEnd type="none" w="med" len="med"/>
            <a:tailEnd type="triangle"/>
          </a:ln>
        </p:spPr>
      </p:cxnSp>
      <p:cxnSp>
        <p:nvCxnSpPr>
          <p:cNvPr id="33" name="Straight Arrow Connector 32">
            <a:extLst>
              <a:ext uri="{FF2B5EF4-FFF2-40B4-BE49-F238E27FC236}">
                <a16:creationId xmlns:a16="http://schemas.microsoft.com/office/drawing/2014/main" id="{24BE3135-1694-A961-B899-54BEFC35C104}"/>
              </a:ext>
            </a:extLst>
          </p:cNvPr>
          <p:cNvCxnSpPr>
            <a:stCxn id="28" idx="3"/>
            <a:endCxn id="29" idx="1"/>
          </p:cNvCxnSpPr>
          <p:nvPr/>
        </p:nvCxnSpPr>
        <p:spPr>
          <a:xfrm>
            <a:off x="8838506" y="4181496"/>
            <a:ext cx="422882" cy="0"/>
          </a:xfrm>
          <a:prstGeom prst="straightConnector1">
            <a:avLst/>
          </a:prstGeom>
          <a:noFill/>
          <a:ln w="9525" cap="flat" cmpd="sng">
            <a:solidFill>
              <a:schemeClr val="tx1"/>
            </a:solidFill>
            <a:prstDash val="solid"/>
            <a:round/>
            <a:headEnd type="none" w="med" len="med"/>
            <a:tailEnd type="triangle"/>
          </a:ln>
        </p:spPr>
      </p:cxnSp>
      <p:cxnSp>
        <p:nvCxnSpPr>
          <p:cNvPr id="34" name="Straight Arrow Connector 33">
            <a:extLst>
              <a:ext uri="{FF2B5EF4-FFF2-40B4-BE49-F238E27FC236}">
                <a16:creationId xmlns:a16="http://schemas.microsoft.com/office/drawing/2014/main" id="{DC16CD76-386C-5066-52C9-20CBE2B7D798}"/>
              </a:ext>
            </a:extLst>
          </p:cNvPr>
          <p:cNvCxnSpPr>
            <a:stCxn id="29" idx="3"/>
            <a:endCxn id="30" idx="1"/>
          </p:cNvCxnSpPr>
          <p:nvPr/>
        </p:nvCxnSpPr>
        <p:spPr>
          <a:xfrm>
            <a:off x="10202682" y="4181496"/>
            <a:ext cx="413840" cy="903"/>
          </a:xfrm>
          <a:prstGeom prst="straightConnector1">
            <a:avLst/>
          </a:prstGeom>
          <a:noFill/>
          <a:ln w="9525" cap="flat" cmpd="sng">
            <a:solidFill>
              <a:schemeClr val="tx1"/>
            </a:solidFill>
            <a:prstDash val="solid"/>
            <a:round/>
            <a:headEnd type="none" w="med" len="med"/>
            <a:tailEnd type="triangle"/>
          </a:ln>
        </p:spPr>
      </p:cxnSp>
      <p:cxnSp>
        <p:nvCxnSpPr>
          <p:cNvPr id="35" name="Straight Arrow Connector 34">
            <a:extLst>
              <a:ext uri="{FF2B5EF4-FFF2-40B4-BE49-F238E27FC236}">
                <a16:creationId xmlns:a16="http://schemas.microsoft.com/office/drawing/2014/main" id="{1FB12046-8495-4567-39B1-3B79166D7756}"/>
              </a:ext>
            </a:extLst>
          </p:cNvPr>
          <p:cNvCxnSpPr>
            <a:cxnSpLocks/>
            <a:stCxn id="30" idx="2"/>
            <a:endCxn id="31" idx="0"/>
          </p:cNvCxnSpPr>
          <p:nvPr/>
        </p:nvCxnSpPr>
        <p:spPr>
          <a:xfrm>
            <a:off x="11087169" y="4366443"/>
            <a:ext cx="17610" cy="811629"/>
          </a:xfrm>
          <a:prstGeom prst="straightConnector1">
            <a:avLst/>
          </a:prstGeom>
          <a:noFill/>
          <a:ln w="9525" cap="flat" cmpd="sng">
            <a:solidFill>
              <a:schemeClr val="tx1"/>
            </a:solidFill>
            <a:prstDash val="solid"/>
            <a:round/>
            <a:headEnd type="none" w="med" len="med"/>
            <a:tailEnd type="triangle"/>
          </a:ln>
        </p:spPr>
      </p:cxnSp>
      <p:sp>
        <p:nvSpPr>
          <p:cNvPr id="36" name="Rectangle: Rounded Corners 35">
            <a:extLst>
              <a:ext uri="{FF2B5EF4-FFF2-40B4-BE49-F238E27FC236}">
                <a16:creationId xmlns:a16="http://schemas.microsoft.com/office/drawing/2014/main" id="{192A64AE-4B1D-D832-D1A0-977865A567EF}"/>
              </a:ext>
            </a:extLst>
          </p:cNvPr>
          <p:cNvSpPr/>
          <p:nvPr/>
        </p:nvSpPr>
        <p:spPr>
          <a:xfrm>
            <a:off x="9261388" y="5178072"/>
            <a:ext cx="941294" cy="368088"/>
          </a:xfrm>
          <a:prstGeom prst="roundRect">
            <a:avLst/>
          </a:prstGeom>
          <a:ln/>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US" sz="1200"/>
              <a:t>Root Cause Analysis</a:t>
            </a:r>
          </a:p>
        </p:txBody>
      </p:sp>
      <p:sp>
        <p:nvSpPr>
          <p:cNvPr id="37" name="Rectangle: Rounded Corners 36">
            <a:extLst>
              <a:ext uri="{FF2B5EF4-FFF2-40B4-BE49-F238E27FC236}">
                <a16:creationId xmlns:a16="http://schemas.microsoft.com/office/drawing/2014/main" id="{B698DC56-AB2E-66F4-F6D4-E46812791306}"/>
              </a:ext>
            </a:extLst>
          </p:cNvPr>
          <p:cNvSpPr/>
          <p:nvPr/>
        </p:nvSpPr>
        <p:spPr>
          <a:xfrm>
            <a:off x="7897212" y="5178072"/>
            <a:ext cx="941294" cy="368088"/>
          </a:xfrm>
          <a:prstGeom prst="roundRect">
            <a:avLst/>
          </a:prstGeom>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a:t>ADX</a:t>
            </a:r>
          </a:p>
        </p:txBody>
      </p:sp>
      <p:sp>
        <p:nvSpPr>
          <p:cNvPr id="38" name="Rectangle: Rounded Corners 37">
            <a:extLst>
              <a:ext uri="{FF2B5EF4-FFF2-40B4-BE49-F238E27FC236}">
                <a16:creationId xmlns:a16="http://schemas.microsoft.com/office/drawing/2014/main" id="{77280778-716B-F6FD-ABDB-55111A39DB8C}"/>
              </a:ext>
            </a:extLst>
          </p:cNvPr>
          <p:cNvSpPr/>
          <p:nvPr/>
        </p:nvSpPr>
        <p:spPr>
          <a:xfrm>
            <a:off x="6537495" y="5178072"/>
            <a:ext cx="941294" cy="368088"/>
          </a:xfrm>
          <a:prstGeom prst="roundRect">
            <a:avLst/>
          </a:prstGeom>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r>
              <a:rPr lang="en-US" sz="1200"/>
              <a:t>Dashboard</a:t>
            </a:r>
          </a:p>
        </p:txBody>
      </p:sp>
      <p:cxnSp>
        <p:nvCxnSpPr>
          <p:cNvPr id="39" name="Straight Arrow Connector 38">
            <a:extLst>
              <a:ext uri="{FF2B5EF4-FFF2-40B4-BE49-F238E27FC236}">
                <a16:creationId xmlns:a16="http://schemas.microsoft.com/office/drawing/2014/main" id="{E7FA8700-E23C-ED48-8D91-5BF2250B675A}"/>
              </a:ext>
            </a:extLst>
          </p:cNvPr>
          <p:cNvCxnSpPr>
            <a:stCxn id="31" idx="1"/>
            <a:endCxn id="36" idx="3"/>
          </p:cNvCxnSpPr>
          <p:nvPr/>
        </p:nvCxnSpPr>
        <p:spPr>
          <a:xfrm flipH="1">
            <a:off x="10202682" y="5362116"/>
            <a:ext cx="431450" cy="0"/>
          </a:xfrm>
          <a:prstGeom prst="straightConnector1">
            <a:avLst/>
          </a:prstGeom>
          <a:noFill/>
          <a:ln w="9525" cap="flat" cmpd="sng">
            <a:solidFill>
              <a:schemeClr val="tx1"/>
            </a:solidFill>
            <a:prstDash val="solid"/>
            <a:round/>
            <a:headEnd type="none" w="med" len="med"/>
            <a:tailEnd type="triangle"/>
          </a:ln>
        </p:spPr>
      </p:cxnSp>
      <p:cxnSp>
        <p:nvCxnSpPr>
          <p:cNvPr id="40" name="Straight Arrow Connector 39">
            <a:extLst>
              <a:ext uri="{FF2B5EF4-FFF2-40B4-BE49-F238E27FC236}">
                <a16:creationId xmlns:a16="http://schemas.microsoft.com/office/drawing/2014/main" id="{F88DF372-F11D-0ECD-7C50-0DCECB621B2A}"/>
              </a:ext>
            </a:extLst>
          </p:cNvPr>
          <p:cNvCxnSpPr>
            <a:stCxn id="36" idx="1"/>
            <a:endCxn id="37" idx="3"/>
          </p:cNvCxnSpPr>
          <p:nvPr/>
        </p:nvCxnSpPr>
        <p:spPr>
          <a:xfrm flipH="1">
            <a:off x="8838506" y="5362116"/>
            <a:ext cx="422882" cy="0"/>
          </a:xfrm>
          <a:prstGeom prst="straightConnector1">
            <a:avLst/>
          </a:prstGeom>
          <a:noFill/>
          <a:ln w="9525" cap="flat" cmpd="sng">
            <a:solidFill>
              <a:schemeClr val="tx1"/>
            </a:solidFill>
            <a:prstDash val="solid"/>
            <a:round/>
            <a:headEnd type="none" w="med" len="med"/>
            <a:tailEnd type="triangle"/>
          </a:ln>
        </p:spPr>
      </p:cxnSp>
      <p:cxnSp>
        <p:nvCxnSpPr>
          <p:cNvPr id="41" name="Straight Arrow Connector 40">
            <a:extLst>
              <a:ext uri="{FF2B5EF4-FFF2-40B4-BE49-F238E27FC236}">
                <a16:creationId xmlns:a16="http://schemas.microsoft.com/office/drawing/2014/main" id="{0155E4DD-7265-7B3A-0354-0F955EDF8819}"/>
              </a:ext>
            </a:extLst>
          </p:cNvPr>
          <p:cNvCxnSpPr>
            <a:stCxn id="37" idx="1"/>
            <a:endCxn id="38" idx="3"/>
          </p:cNvCxnSpPr>
          <p:nvPr/>
        </p:nvCxnSpPr>
        <p:spPr>
          <a:xfrm flipH="1">
            <a:off x="7478789" y="5362116"/>
            <a:ext cx="418423" cy="0"/>
          </a:xfrm>
          <a:prstGeom prst="straightConnector1">
            <a:avLst/>
          </a:prstGeom>
          <a:noFill/>
          <a:ln w="9525" cap="flat" cmpd="sng">
            <a:solidFill>
              <a:schemeClr val="tx1"/>
            </a:solidFill>
            <a:prstDash val="solid"/>
            <a:round/>
            <a:headEnd type="none" w="med" len="med"/>
            <a:tailEnd type="triangle"/>
          </a:ln>
        </p:spPr>
      </p:cxnSp>
      <p:sp>
        <p:nvSpPr>
          <p:cNvPr id="42" name="TextBox 41">
            <a:extLst>
              <a:ext uri="{FF2B5EF4-FFF2-40B4-BE49-F238E27FC236}">
                <a16:creationId xmlns:a16="http://schemas.microsoft.com/office/drawing/2014/main" id="{489366C1-6FEE-405D-1BE7-65434246F118}"/>
              </a:ext>
            </a:extLst>
          </p:cNvPr>
          <p:cNvSpPr txBox="1"/>
          <p:nvPr/>
        </p:nvSpPr>
        <p:spPr>
          <a:xfrm>
            <a:off x="8100141" y="4641975"/>
            <a:ext cx="2047580" cy="246221"/>
          </a:xfrm>
          <a:prstGeom prst="rect">
            <a:avLst/>
          </a:prstGeom>
          <a:noFill/>
        </p:spPr>
        <p:txBody>
          <a:bodyPr wrap="square" lIns="0" tIns="0" rIns="0" bIns="0" rtlCol="0">
            <a:spAutoFit/>
          </a:bodyPr>
          <a:lstStyle/>
          <a:p>
            <a:pPr algn="l"/>
            <a:r>
              <a:rPr lang="en-US" sz="1600"/>
              <a:t>User Email Grouping</a:t>
            </a:r>
          </a:p>
        </p:txBody>
      </p:sp>
      <mc:AlternateContent xmlns:mc="http://schemas.openxmlformats.org/markup-compatibility/2006" xmlns:p14="http://schemas.microsoft.com/office/powerpoint/2010/main">
        <mc:Choice Requires="p14">
          <p:contentPart p14:bwMode="auto" r:id="rId12">
            <p14:nvContentPartPr>
              <p14:cNvPr id="43" name="Ink 42">
                <a:extLst>
                  <a:ext uri="{FF2B5EF4-FFF2-40B4-BE49-F238E27FC236}">
                    <a16:creationId xmlns:a16="http://schemas.microsoft.com/office/drawing/2014/main" id="{9A310533-8FCB-8EB4-F063-1B0FF1AAB91C}"/>
                  </a:ext>
                </a:extLst>
              </p14:cNvPr>
              <p14:cNvContentPartPr/>
              <p14:nvPr/>
            </p14:nvContentPartPr>
            <p14:xfrm>
              <a:off x="8170240" y="1354093"/>
              <a:ext cx="377280" cy="9360"/>
            </p14:xfrm>
          </p:contentPart>
        </mc:Choice>
        <mc:Fallback xmlns="">
          <p:pic>
            <p:nvPicPr>
              <p:cNvPr id="43" name="Ink 42">
                <a:extLst>
                  <a:ext uri="{FF2B5EF4-FFF2-40B4-BE49-F238E27FC236}">
                    <a16:creationId xmlns:a16="http://schemas.microsoft.com/office/drawing/2014/main" id="{9A310533-8FCB-8EB4-F063-1B0FF1AAB91C}"/>
                  </a:ext>
                </a:extLst>
              </p:cNvPr>
              <p:cNvPicPr/>
              <p:nvPr/>
            </p:nvPicPr>
            <p:blipFill>
              <a:blip r:embed="rId13"/>
              <a:stretch>
                <a:fillRect/>
              </a:stretch>
            </p:blipFill>
            <p:spPr>
              <a:xfrm>
                <a:off x="8116240" y="1246093"/>
                <a:ext cx="484920" cy="22500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44" name="Ink 43">
                <a:extLst>
                  <a:ext uri="{FF2B5EF4-FFF2-40B4-BE49-F238E27FC236}">
                    <a16:creationId xmlns:a16="http://schemas.microsoft.com/office/drawing/2014/main" id="{DACAE823-7A3A-D1FB-E85A-D54AB0084122}"/>
                  </a:ext>
                </a:extLst>
              </p14:cNvPr>
              <p14:cNvContentPartPr/>
              <p14:nvPr/>
            </p14:nvContentPartPr>
            <p14:xfrm>
              <a:off x="8153320" y="1531213"/>
              <a:ext cx="600480" cy="34920"/>
            </p14:xfrm>
          </p:contentPart>
        </mc:Choice>
        <mc:Fallback xmlns="">
          <p:pic>
            <p:nvPicPr>
              <p:cNvPr id="44" name="Ink 43">
                <a:extLst>
                  <a:ext uri="{FF2B5EF4-FFF2-40B4-BE49-F238E27FC236}">
                    <a16:creationId xmlns:a16="http://schemas.microsoft.com/office/drawing/2014/main" id="{DACAE823-7A3A-D1FB-E85A-D54AB0084122}"/>
                  </a:ext>
                </a:extLst>
              </p:cNvPr>
              <p:cNvPicPr/>
              <p:nvPr/>
            </p:nvPicPr>
            <p:blipFill>
              <a:blip r:embed="rId15"/>
              <a:stretch>
                <a:fillRect/>
              </a:stretch>
            </p:blipFill>
            <p:spPr>
              <a:xfrm>
                <a:off x="8099288" y="1423213"/>
                <a:ext cx="708185" cy="25056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45" name="Ink 44">
                <a:extLst>
                  <a:ext uri="{FF2B5EF4-FFF2-40B4-BE49-F238E27FC236}">
                    <a16:creationId xmlns:a16="http://schemas.microsoft.com/office/drawing/2014/main" id="{07F04531-4042-EAAE-9ECE-672EAD366EC7}"/>
                  </a:ext>
                </a:extLst>
              </p14:cNvPr>
              <p14:cNvContentPartPr/>
              <p14:nvPr/>
            </p14:nvContentPartPr>
            <p14:xfrm>
              <a:off x="8161600" y="1667653"/>
              <a:ext cx="617040" cy="1280520"/>
            </p14:xfrm>
          </p:contentPart>
        </mc:Choice>
        <mc:Fallback xmlns="">
          <p:pic>
            <p:nvPicPr>
              <p:cNvPr id="45" name="Ink 44">
                <a:extLst>
                  <a:ext uri="{FF2B5EF4-FFF2-40B4-BE49-F238E27FC236}">
                    <a16:creationId xmlns:a16="http://schemas.microsoft.com/office/drawing/2014/main" id="{07F04531-4042-EAAE-9ECE-672EAD366EC7}"/>
                  </a:ext>
                </a:extLst>
              </p:cNvPr>
              <p:cNvPicPr/>
              <p:nvPr/>
            </p:nvPicPr>
            <p:blipFill>
              <a:blip r:embed="rId17"/>
              <a:stretch>
                <a:fillRect/>
              </a:stretch>
            </p:blipFill>
            <p:spPr>
              <a:xfrm>
                <a:off x="8107631" y="1559653"/>
                <a:ext cx="724617" cy="149616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46" name="Ink 45">
                <a:extLst>
                  <a:ext uri="{FF2B5EF4-FFF2-40B4-BE49-F238E27FC236}">
                    <a16:creationId xmlns:a16="http://schemas.microsoft.com/office/drawing/2014/main" id="{2CE1B06E-082F-7A7D-1609-B79DC8AACE31}"/>
                  </a:ext>
                </a:extLst>
              </p14:cNvPr>
              <p14:cNvContentPartPr/>
              <p14:nvPr/>
            </p14:nvContentPartPr>
            <p14:xfrm>
              <a:off x="8271400" y="1862053"/>
              <a:ext cx="360" cy="360"/>
            </p14:xfrm>
          </p:contentPart>
        </mc:Choice>
        <mc:Fallback xmlns="">
          <p:pic>
            <p:nvPicPr>
              <p:cNvPr id="46" name="Ink 45">
                <a:extLst>
                  <a:ext uri="{FF2B5EF4-FFF2-40B4-BE49-F238E27FC236}">
                    <a16:creationId xmlns:a16="http://schemas.microsoft.com/office/drawing/2014/main" id="{2CE1B06E-082F-7A7D-1609-B79DC8AACE31}"/>
                  </a:ext>
                </a:extLst>
              </p:cNvPr>
              <p:cNvPicPr/>
              <p:nvPr/>
            </p:nvPicPr>
            <p:blipFill>
              <a:blip r:embed="rId19"/>
              <a:stretch>
                <a:fillRect/>
              </a:stretch>
            </p:blipFill>
            <p:spPr>
              <a:xfrm>
                <a:off x="8217400" y="1754053"/>
                <a:ext cx="10800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47" name="Ink 46">
                <a:extLst>
                  <a:ext uri="{FF2B5EF4-FFF2-40B4-BE49-F238E27FC236}">
                    <a16:creationId xmlns:a16="http://schemas.microsoft.com/office/drawing/2014/main" id="{3B314362-2374-08B4-E8AC-9C4987447B57}"/>
                  </a:ext>
                </a:extLst>
              </p14:cNvPr>
              <p14:cNvContentPartPr/>
              <p14:nvPr/>
            </p14:nvContentPartPr>
            <p14:xfrm>
              <a:off x="8252680" y="1819573"/>
              <a:ext cx="474480" cy="1042200"/>
            </p14:xfrm>
          </p:contentPart>
        </mc:Choice>
        <mc:Fallback xmlns="">
          <p:pic>
            <p:nvPicPr>
              <p:cNvPr id="47" name="Ink 46">
                <a:extLst>
                  <a:ext uri="{FF2B5EF4-FFF2-40B4-BE49-F238E27FC236}">
                    <a16:creationId xmlns:a16="http://schemas.microsoft.com/office/drawing/2014/main" id="{3B314362-2374-08B4-E8AC-9C4987447B57}"/>
                  </a:ext>
                </a:extLst>
              </p:cNvPr>
              <p:cNvPicPr/>
              <p:nvPr/>
            </p:nvPicPr>
            <p:blipFill>
              <a:blip r:embed="rId21"/>
              <a:stretch>
                <a:fillRect/>
              </a:stretch>
            </p:blipFill>
            <p:spPr>
              <a:xfrm>
                <a:off x="8198680" y="1711573"/>
                <a:ext cx="582120" cy="1257840"/>
              </a:xfrm>
              <a:prstGeom prst="rect">
                <a:avLst/>
              </a:prstGeom>
            </p:spPr>
          </p:pic>
        </mc:Fallback>
      </mc:AlternateContent>
    </p:spTree>
    <p:extLst>
      <p:ext uri="{BB962C8B-B14F-4D97-AF65-F5344CB8AC3E}">
        <p14:creationId xmlns:p14="http://schemas.microsoft.com/office/powerpoint/2010/main" val="33573301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7B1A019-C14B-DBFC-1DBE-1935FF84F3C8}"/>
              </a:ext>
            </a:extLst>
          </p:cNvPr>
          <p:cNvSpPr txBox="1"/>
          <p:nvPr/>
        </p:nvSpPr>
        <p:spPr>
          <a:xfrm>
            <a:off x="487180" y="316578"/>
            <a:ext cx="9853839" cy="492443"/>
          </a:xfrm>
          <a:prstGeom prst="rect">
            <a:avLst/>
          </a:prstGeom>
          <a:noFill/>
        </p:spPr>
        <p:txBody>
          <a:bodyPr wrap="square" lIns="91440" tIns="45720" rIns="91440" bIns="45720" anchor="t">
            <a:spAutoFit/>
          </a:bodyPr>
          <a:lstStyle/>
          <a:p>
            <a:r>
              <a:rPr lang="en-US" sz="2600" b="1" dirty="0">
                <a:solidFill>
                  <a:schemeClr val="tx1">
                    <a:lumMod val="75000"/>
                    <a:lumOff val="25000"/>
                  </a:schemeClr>
                </a:solidFill>
                <a:latin typeface="Montserrat"/>
              </a:rPr>
              <a:t>Metrics</a:t>
            </a:r>
            <a:endParaRPr lang="en-US" sz="2600" b="1" dirty="0">
              <a:solidFill>
                <a:schemeClr val="tx1">
                  <a:lumMod val="75000"/>
                  <a:lumOff val="25000"/>
                </a:schemeClr>
              </a:solidFill>
              <a:highlight>
                <a:srgbClr val="FFFF00"/>
              </a:highlight>
              <a:latin typeface="Montserrat"/>
            </a:endParaRPr>
          </a:p>
        </p:txBody>
      </p:sp>
      <p:cxnSp>
        <p:nvCxnSpPr>
          <p:cNvPr id="6" name="Straight Connector 5">
            <a:extLst>
              <a:ext uri="{FF2B5EF4-FFF2-40B4-BE49-F238E27FC236}">
                <a16:creationId xmlns:a16="http://schemas.microsoft.com/office/drawing/2014/main" id="{37712A53-FD77-1BE9-8C02-A4E66ACA38A6}"/>
              </a:ext>
              <a:ext uri="{C183D7F6-B498-43B3-948B-1728B52AA6E4}">
                <adec:decorative xmlns:adec="http://schemas.microsoft.com/office/drawing/2017/decorative" val="1"/>
              </a:ext>
            </a:extLst>
          </p:cNvPr>
          <p:cNvCxnSpPr>
            <a:cxnSpLocks/>
          </p:cNvCxnSpPr>
          <p:nvPr/>
        </p:nvCxnSpPr>
        <p:spPr>
          <a:xfrm>
            <a:off x="488191" y="923736"/>
            <a:ext cx="10855834" cy="12491"/>
          </a:xfrm>
          <a:prstGeom prst="line">
            <a:avLst/>
          </a:prstGeom>
          <a:ln w="28575">
            <a:gradFill>
              <a:gsLst>
                <a:gs pos="0">
                  <a:schemeClr val="accent1"/>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sp>
        <p:nvSpPr>
          <p:cNvPr id="2" name="Shape">
            <a:extLst>
              <a:ext uri="{FF2B5EF4-FFF2-40B4-BE49-F238E27FC236}">
                <a16:creationId xmlns:a16="http://schemas.microsoft.com/office/drawing/2014/main" id="{A1EE4C2E-9CF7-C54B-EE2C-CC29C9DF0B2D}"/>
              </a:ext>
            </a:extLst>
          </p:cNvPr>
          <p:cNvSpPr/>
          <p:nvPr/>
        </p:nvSpPr>
        <p:spPr>
          <a:xfrm>
            <a:off x="1296937" y="2256196"/>
            <a:ext cx="9144000" cy="2345608"/>
          </a:xfrm>
          <a:custGeom>
            <a:avLst/>
            <a:gdLst/>
            <a:ahLst/>
            <a:cxnLst>
              <a:cxn ang="0">
                <a:pos x="wd2" y="hd2"/>
              </a:cxn>
              <a:cxn ang="5400000">
                <a:pos x="wd2" y="hd2"/>
              </a:cxn>
              <a:cxn ang="10800000">
                <a:pos x="wd2" y="hd2"/>
              </a:cxn>
              <a:cxn ang="16200000">
                <a:pos x="wd2" y="hd2"/>
              </a:cxn>
            </a:cxnLst>
            <a:rect l="0" t="0" r="r" b="b"/>
            <a:pathLst>
              <a:path w="21600" h="21600" extrusionOk="0">
                <a:moveTo>
                  <a:pt x="19980" y="9447"/>
                </a:moveTo>
                <a:lnTo>
                  <a:pt x="21600" y="9447"/>
                </a:lnTo>
                <a:lnTo>
                  <a:pt x="21600" y="9047"/>
                </a:lnTo>
                <a:lnTo>
                  <a:pt x="19980" y="9047"/>
                </a:lnTo>
                <a:cubicBezTo>
                  <a:pt x="19706" y="9047"/>
                  <a:pt x="19451" y="9623"/>
                  <a:pt x="19314" y="10547"/>
                </a:cubicBezTo>
                <a:lnTo>
                  <a:pt x="18390" y="16791"/>
                </a:lnTo>
                <a:cubicBezTo>
                  <a:pt x="18269" y="17605"/>
                  <a:pt x="18054" y="18089"/>
                  <a:pt x="17813" y="18089"/>
                </a:cubicBezTo>
                <a:cubicBezTo>
                  <a:pt x="17573" y="18089"/>
                  <a:pt x="17356" y="17605"/>
                  <a:pt x="17236" y="16791"/>
                </a:cubicBezTo>
                <a:lnTo>
                  <a:pt x="16311" y="10543"/>
                </a:lnTo>
                <a:cubicBezTo>
                  <a:pt x="16174" y="9619"/>
                  <a:pt x="15918" y="9042"/>
                  <a:pt x="15645" y="9042"/>
                </a:cubicBezTo>
                <a:lnTo>
                  <a:pt x="15302" y="9042"/>
                </a:lnTo>
                <a:cubicBezTo>
                  <a:pt x="15065" y="9042"/>
                  <a:pt x="14844" y="8545"/>
                  <a:pt x="14725" y="7744"/>
                </a:cubicBezTo>
                <a:lnTo>
                  <a:pt x="13801" y="1500"/>
                </a:lnTo>
                <a:cubicBezTo>
                  <a:pt x="13662" y="563"/>
                  <a:pt x="13412" y="0"/>
                  <a:pt x="13135" y="0"/>
                </a:cubicBezTo>
                <a:cubicBezTo>
                  <a:pt x="12857" y="0"/>
                  <a:pt x="12608" y="559"/>
                  <a:pt x="12469" y="1500"/>
                </a:cubicBezTo>
                <a:lnTo>
                  <a:pt x="11544" y="7744"/>
                </a:lnTo>
                <a:cubicBezTo>
                  <a:pt x="11426" y="8545"/>
                  <a:pt x="11205" y="9042"/>
                  <a:pt x="10968" y="9042"/>
                </a:cubicBezTo>
                <a:lnTo>
                  <a:pt x="10624" y="9042"/>
                </a:lnTo>
                <a:cubicBezTo>
                  <a:pt x="10350" y="9042"/>
                  <a:pt x="10095" y="9619"/>
                  <a:pt x="9959" y="10543"/>
                </a:cubicBezTo>
                <a:lnTo>
                  <a:pt x="9034" y="16786"/>
                </a:lnTo>
                <a:cubicBezTo>
                  <a:pt x="8913" y="17600"/>
                  <a:pt x="8698" y="18084"/>
                  <a:pt x="8457" y="18084"/>
                </a:cubicBezTo>
                <a:cubicBezTo>
                  <a:pt x="8217" y="18084"/>
                  <a:pt x="8000" y="17600"/>
                  <a:pt x="7881" y="16786"/>
                </a:cubicBezTo>
                <a:lnTo>
                  <a:pt x="6949" y="10543"/>
                </a:lnTo>
                <a:cubicBezTo>
                  <a:pt x="6813" y="9619"/>
                  <a:pt x="6557" y="9042"/>
                  <a:pt x="6283" y="9042"/>
                </a:cubicBezTo>
                <a:lnTo>
                  <a:pt x="5940" y="9042"/>
                </a:lnTo>
                <a:cubicBezTo>
                  <a:pt x="5703" y="9042"/>
                  <a:pt x="5482" y="8545"/>
                  <a:pt x="5364" y="7744"/>
                </a:cubicBezTo>
                <a:lnTo>
                  <a:pt x="4439" y="1500"/>
                </a:lnTo>
                <a:cubicBezTo>
                  <a:pt x="4300" y="563"/>
                  <a:pt x="4051" y="0"/>
                  <a:pt x="3773" y="0"/>
                </a:cubicBezTo>
                <a:cubicBezTo>
                  <a:pt x="3496" y="0"/>
                  <a:pt x="3246" y="559"/>
                  <a:pt x="3107" y="1500"/>
                </a:cubicBezTo>
                <a:lnTo>
                  <a:pt x="2183" y="7744"/>
                </a:lnTo>
                <a:cubicBezTo>
                  <a:pt x="2064" y="8545"/>
                  <a:pt x="1843" y="9042"/>
                  <a:pt x="1606" y="9042"/>
                </a:cubicBezTo>
                <a:lnTo>
                  <a:pt x="0" y="9042"/>
                </a:lnTo>
                <a:lnTo>
                  <a:pt x="0" y="9443"/>
                </a:lnTo>
                <a:lnTo>
                  <a:pt x="1606" y="9443"/>
                </a:lnTo>
                <a:cubicBezTo>
                  <a:pt x="1858" y="9443"/>
                  <a:pt x="2095" y="8954"/>
                  <a:pt x="2237" y="8158"/>
                </a:cubicBezTo>
                <a:lnTo>
                  <a:pt x="2183" y="8523"/>
                </a:lnTo>
                <a:cubicBezTo>
                  <a:pt x="2064" y="9324"/>
                  <a:pt x="1843" y="9821"/>
                  <a:pt x="1606" y="9821"/>
                </a:cubicBezTo>
                <a:lnTo>
                  <a:pt x="0" y="9821"/>
                </a:lnTo>
                <a:lnTo>
                  <a:pt x="0" y="10221"/>
                </a:lnTo>
                <a:lnTo>
                  <a:pt x="1606" y="10221"/>
                </a:lnTo>
                <a:cubicBezTo>
                  <a:pt x="1858" y="10221"/>
                  <a:pt x="2095" y="9733"/>
                  <a:pt x="2237" y="8937"/>
                </a:cubicBezTo>
                <a:lnTo>
                  <a:pt x="2183" y="9302"/>
                </a:lnTo>
                <a:cubicBezTo>
                  <a:pt x="2064" y="10103"/>
                  <a:pt x="1843" y="10600"/>
                  <a:pt x="1606" y="10600"/>
                </a:cubicBezTo>
                <a:lnTo>
                  <a:pt x="0" y="10600"/>
                </a:lnTo>
                <a:lnTo>
                  <a:pt x="0" y="11000"/>
                </a:lnTo>
                <a:lnTo>
                  <a:pt x="1606" y="11000"/>
                </a:lnTo>
                <a:cubicBezTo>
                  <a:pt x="1858" y="11000"/>
                  <a:pt x="2095" y="10512"/>
                  <a:pt x="2237" y="9715"/>
                </a:cubicBezTo>
                <a:lnTo>
                  <a:pt x="2183" y="10081"/>
                </a:lnTo>
                <a:cubicBezTo>
                  <a:pt x="2064" y="10881"/>
                  <a:pt x="1843" y="11379"/>
                  <a:pt x="1606" y="11379"/>
                </a:cubicBezTo>
                <a:lnTo>
                  <a:pt x="0" y="11379"/>
                </a:lnTo>
                <a:lnTo>
                  <a:pt x="0" y="11779"/>
                </a:lnTo>
                <a:lnTo>
                  <a:pt x="1606" y="11779"/>
                </a:lnTo>
                <a:cubicBezTo>
                  <a:pt x="1858" y="11779"/>
                  <a:pt x="2095" y="11291"/>
                  <a:pt x="2237" y="10494"/>
                </a:cubicBezTo>
                <a:lnTo>
                  <a:pt x="2183" y="10859"/>
                </a:lnTo>
                <a:cubicBezTo>
                  <a:pt x="2064" y="11660"/>
                  <a:pt x="1843" y="12157"/>
                  <a:pt x="1606" y="12157"/>
                </a:cubicBezTo>
                <a:lnTo>
                  <a:pt x="0" y="12157"/>
                </a:lnTo>
                <a:lnTo>
                  <a:pt x="0" y="12558"/>
                </a:lnTo>
                <a:lnTo>
                  <a:pt x="1606" y="12558"/>
                </a:lnTo>
                <a:cubicBezTo>
                  <a:pt x="1880" y="12558"/>
                  <a:pt x="2136" y="11981"/>
                  <a:pt x="2272" y="11057"/>
                </a:cubicBezTo>
                <a:lnTo>
                  <a:pt x="3196" y="4814"/>
                </a:lnTo>
                <a:cubicBezTo>
                  <a:pt x="3317" y="4000"/>
                  <a:pt x="3533" y="3516"/>
                  <a:pt x="3773" y="3516"/>
                </a:cubicBezTo>
                <a:cubicBezTo>
                  <a:pt x="4014" y="3516"/>
                  <a:pt x="4230" y="4000"/>
                  <a:pt x="4350" y="4814"/>
                </a:cubicBezTo>
                <a:lnTo>
                  <a:pt x="5274" y="11057"/>
                </a:lnTo>
                <a:cubicBezTo>
                  <a:pt x="5411" y="11981"/>
                  <a:pt x="5667" y="12558"/>
                  <a:pt x="5940" y="12558"/>
                </a:cubicBezTo>
                <a:lnTo>
                  <a:pt x="6283" y="12558"/>
                </a:lnTo>
                <a:cubicBezTo>
                  <a:pt x="6521" y="12558"/>
                  <a:pt x="6742" y="13055"/>
                  <a:pt x="6860" y="13856"/>
                </a:cubicBezTo>
                <a:lnTo>
                  <a:pt x="7785" y="20100"/>
                </a:lnTo>
                <a:cubicBezTo>
                  <a:pt x="7923" y="21037"/>
                  <a:pt x="8173" y="21600"/>
                  <a:pt x="8451" y="21600"/>
                </a:cubicBezTo>
                <a:cubicBezTo>
                  <a:pt x="8728" y="21600"/>
                  <a:pt x="8978" y="21041"/>
                  <a:pt x="9117" y="20100"/>
                </a:cubicBezTo>
                <a:lnTo>
                  <a:pt x="10041" y="13856"/>
                </a:lnTo>
                <a:cubicBezTo>
                  <a:pt x="10159" y="13055"/>
                  <a:pt x="10381" y="12558"/>
                  <a:pt x="10618" y="12558"/>
                </a:cubicBezTo>
                <a:lnTo>
                  <a:pt x="10961" y="12558"/>
                </a:lnTo>
                <a:cubicBezTo>
                  <a:pt x="11235" y="12558"/>
                  <a:pt x="11490" y="11981"/>
                  <a:pt x="11627" y="11057"/>
                </a:cubicBezTo>
                <a:lnTo>
                  <a:pt x="12551" y="4814"/>
                </a:lnTo>
                <a:cubicBezTo>
                  <a:pt x="12672" y="4000"/>
                  <a:pt x="12888" y="3516"/>
                  <a:pt x="13128" y="3516"/>
                </a:cubicBezTo>
                <a:cubicBezTo>
                  <a:pt x="13368" y="3516"/>
                  <a:pt x="13585" y="4000"/>
                  <a:pt x="13705" y="4814"/>
                </a:cubicBezTo>
                <a:lnTo>
                  <a:pt x="14629" y="11057"/>
                </a:lnTo>
                <a:cubicBezTo>
                  <a:pt x="14766" y="11981"/>
                  <a:pt x="15022" y="12558"/>
                  <a:pt x="15295" y="12558"/>
                </a:cubicBezTo>
                <a:lnTo>
                  <a:pt x="15638" y="12558"/>
                </a:lnTo>
                <a:cubicBezTo>
                  <a:pt x="15875" y="12558"/>
                  <a:pt x="16096" y="13055"/>
                  <a:pt x="16215" y="13856"/>
                </a:cubicBezTo>
                <a:lnTo>
                  <a:pt x="17139" y="20100"/>
                </a:lnTo>
                <a:cubicBezTo>
                  <a:pt x="17278" y="21037"/>
                  <a:pt x="17528" y="21600"/>
                  <a:pt x="17805" y="21600"/>
                </a:cubicBezTo>
                <a:cubicBezTo>
                  <a:pt x="18083" y="21600"/>
                  <a:pt x="18332" y="21041"/>
                  <a:pt x="18471" y="20100"/>
                </a:cubicBezTo>
                <a:lnTo>
                  <a:pt x="19396" y="13856"/>
                </a:lnTo>
                <a:cubicBezTo>
                  <a:pt x="19514" y="13055"/>
                  <a:pt x="19735" y="12558"/>
                  <a:pt x="19972" y="12558"/>
                </a:cubicBezTo>
                <a:lnTo>
                  <a:pt x="21592" y="12558"/>
                </a:lnTo>
                <a:lnTo>
                  <a:pt x="21592" y="12157"/>
                </a:lnTo>
                <a:lnTo>
                  <a:pt x="19972" y="12157"/>
                </a:lnTo>
                <a:cubicBezTo>
                  <a:pt x="19721" y="12157"/>
                  <a:pt x="19484" y="12646"/>
                  <a:pt x="19341" y="13442"/>
                </a:cubicBezTo>
                <a:lnTo>
                  <a:pt x="19396" y="13077"/>
                </a:lnTo>
                <a:cubicBezTo>
                  <a:pt x="19514" y="12276"/>
                  <a:pt x="19735" y="11779"/>
                  <a:pt x="19972" y="11779"/>
                </a:cubicBezTo>
                <a:lnTo>
                  <a:pt x="21592" y="11779"/>
                </a:lnTo>
                <a:lnTo>
                  <a:pt x="21592" y="11379"/>
                </a:lnTo>
                <a:lnTo>
                  <a:pt x="19972" y="11379"/>
                </a:lnTo>
                <a:cubicBezTo>
                  <a:pt x="19721" y="11379"/>
                  <a:pt x="19484" y="11867"/>
                  <a:pt x="19341" y="12663"/>
                </a:cubicBezTo>
                <a:lnTo>
                  <a:pt x="19396" y="12298"/>
                </a:lnTo>
                <a:cubicBezTo>
                  <a:pt x="19514" y="11497"/>
                  <a:pt x="19735" y="11000"/>
                  <a:pt x="19972" y="11000"/>
                </a:cubicBezTo>
                <a:lnTo>
                  <a:pt x="21592" y="11000"/>
                </a:lnTo>
                <a:lnTo>
                  <a:pt x="21592" y="10600"/>
                </a:lnTo>
                <a:lnTo>
                  <a:pt x="19972" y="10600"/>
                </a:lnTo>
                <a:cubicBezTo>
                  <a:pt x="19721" y="10600"/>
                  <a:pt x="19484" y="11088"/>
                  <a:pt x="19341" y="11885"/>
                </a:cubicBezTo>
                <a:lnTo>
                  <a:pt x="19396" y="11519"/>
                </a:lnTo>
                <a:cubicBezTo>
                  <a:pt x="19514" y="10719"/>
                  <a:pt x="19735" y="10221"/>
                  <a:pt x="19972" y="10221"/>
                </a:cubicBezTo>
                <a:lnTo>
                  <a:pt x="21592" y="10221"/>
                </a:lnTo>
                <a:lnTo>
                  <a:pt x="21592" y="9821"/>
                </a:lnTo>
                <a:lnTo>
                  <a:pt x="19972" y="9821"/>
                </a:lnTo>
                <a:cubicBezTo>
                  <a:pt x="19721" y="9821"/>
                  <a:pt x="19484" y="10309"/>
                  <a:pt x="19341" y="11106"/>
                </a:cubicBezTo>
                <a:lnTo>
                  <a:pt x="19396" y="10741"/>
                </a:lnTo>
                <a:cubicBezTo>
                  <a:pt x="19522" y="9944"/>
                  <a:pt x="19743" y="9447"/>
                  <a:pt x="19980" y="9447"/>
                </a:cubicBezTo>
                <a:close/>
                <a:moveTo>
                  <a:pt x="17812" y="18489"/>
                </a:moveTo>
                <a:cubicBezTo>
                  <a:pt x="18068" y="18489"/>
                  <a:pt x="18299" y="18014"/>
                  <a:pt x="18443" y="17209"/>
                </a:cubicBezTo>
                <a:lnTo>
                  <a:pt x="18390" y="17570"/>
                </a:lnTo>
                <a:cubicBezTo>
                  <a:pt x="18269" y="18384"/>
                  <a:pt x="18054" y="18868"/>
                  <a:pt x="17813" y="18868"/>
                </a:cubicBezTo>
                <a:cubicBezTo>
                  <a:pt x="17573" y="18868"/>
                  <a:pt x="17356" y="18384"/>
                  <a:pt x="17236" y="17570"/>
                </a:cubicBezTo>
                <a:lnTo>
                  <a:pt x="17183" y="17209"/>
                </a:lnTo>
                <a:cubicBezTo>
                  <a:pt x="17326" y="18014"/>
                  <a:pt x="17557" y="18489"/>
                  <a:pt x="17812" y="18489"/>
                </a:cubicBezTo>
                <a:close/>
                <a:moveTo>
                  <a:pt x="3772" y="1962"/>
                </a:moveTo>
                <a:cubicBezTo>
                  <a:pt x="4013" y="1962"/>
                  <a:pt x="4229" y="2446"/>
                  <a:pt x="4349" y="3260"/>
                </a:cubicBezTo>
                <a:lnTo>
                  <a:pt x="4402" y="3621"/>
                </a:lnTo>
                <a:cubicBezTo>
                  <a:pt x="4259" y="2816"/>
                  <a:pt x="4027" y="2341"/>
                  <a:pt x="3771" y="2341"/>
                </a:cubicBezTo>
                <a:cubicBezTo>
                  <a:pt x="3515" y="2341"/>
                  <a:pt x="3285" y="2816"/>
                  <a:pt x="3140" y="3621"/>
                </a:cubicBezTo>
                <a:lnTo>
                  <a:pt x="3193" y="3260"/>
                </a:lnTo>
                <a:cubicBezTo>
                  <a:pt x="3315" y="2451"/>
                  <a:pt x="3531" y="1962"/>
                  <a:pt x="3772" y="1962"/>
                </a:cubicBezTo>
                <a:close/>
                <a:moveTo>
                  <a:pt x="3141" y="2842"/>
                </a:moveTo>
                <a:lnTo>
                  <a:pt x="3194" y="2482"/>
                </a:lnTo>
                <a:cubicBezTo>
                  <a:pt x="3315" y="1668"/>
                  <a:pt x="3531" y="1184"/>
                  <a:pt x="3771" y="1184"/>
                </a:cubicBezTo>
                <a:cubicBezTo>
                  <a:pt x="4011" y="1184"/>
                  <a:pt x="4228" y="1668"/>
                  <a:pt x="4348" y="2482"/>
                </a:cubicBezTo>
                <a:lnTo>
                  <a:pt x="4401" y="2842"/>
                </a:lnTo>
                <a:cubicBezTo>
                  <a:pt x="4257" y="2037"/>
                  <a:pt x="4026" y="1562"/>
                  <a:pt x="3770" y="1562"/>
                </a:cubicBezTo>
                <a:cubicBezTo>
                  <a:pt x="3516" y="1562"/>
                  <a:pt x="3285" y="2037"/>
                  <a:pt x="3141" y="2842"/>
                </a:cubicBezTo>
                <a:close/>
                <a:moveTo>
                  <a:pt x="5940" y="11009"/>
                </a:moveTo>
                <a:lnTo>
                  <a:pt x="6283" y="11009"/>
                </a:lnTo>
                <a:cubicBezTo>
                  <a:pt x="6521" y="11009"/>
                  <a:pt x="6742" y="11506"/>
                  <a:pt x="6860" y="12307"/>
                </a:cubicBezTo>
                <a:lnTo>
                  <a:pt x="6914" y="12672"/>
                </a:lnTo>
                <a:cubicBezTo>
                  <a:pt x="6771" y="11871"/>
                  <a:pt x="6535" y="11387"/>
                  <a:pt x="6283" y="11387"/>
                </a:cubicBezTo>
                <a:lnTo>
                  <a:pt x="5940" y="11387"/>
                </a:lnTo>
                <a:cubicBezTo>
                  <a:pt x="5703" y="11387"/>
                  <a:pt x="5482" y="10890"/>
                  <a:pt x="5364" y="10089"/>
                </a:cubicBezTo>
                <a:lnTo>
                  <a:pt x="5309" y="9724"/>
                </a:lnTo>
                <a:cubicBezTo>
                  <a:pt x="5452" y="10521"/>
                  <a:pt x="5688" y="11009"/>
                  <a:pt x="5940" y="11009"/>
                </a:cubicBezTo>
                <a:close/>
                <a:moveTo>
                  <a:pt x="5308" y="8941"/>
                </a:moveTo>
                <a:cubicBezTo>
                  <a:pt x="5452" y="9742"/>
                  <a:pt x="5688" y="10226"/>
                  <a:pt x="5939" y="10226"/>
                </a:cubicBezTo>
                <a:lnTo>
                  <a:pt x="6282" y="10226"/>
                </a:lnTo>
                <a:cubicBezTo>
                  <a:pt x="6519" y="10226"/>
                  <a:pt x="6741" y="10723"/>
                  <a:pt x="6859" y="11524"/>
                </a:cubicBezTo>
                <a:lnTo>
                  <a:pt x="6913" y="11889"/>
                </a:lnTo>
                <a:cubicBezTo>
                  <a:pt x="6770" y="11088"/>
                  <a:pt x="6534" y="10604"/>
                  <a:pt x="6282" y="10604"/>
                </a:cubicBezTo>
                <a:lnTo>
                  <a:pt x="5939" y="10604"/>
                </a:lnTo>
                <a:cubicBezTo>
                  <a:pt x="5702" y="10604"/>
                  <a:pt x="5481" y="10107"/>
                  <a:pt x="5362" y="9306"/>
                </a:cubicBezTo>
                <a:lnTo>
                  <a:pt x="5308" y="8941"/>
                </a:lnTo>
                <a:close/>
                <a:moveTo>
                  <a:pt x="8452" y="20051"/>
                </a:moveTo>
                <a:cubicBezTo>
                  <a:pt x="8708" y="20051"/>
                  <a:pt x="8938" y="19576"/>
                  <a:pt x="9083" y="18771"/>
                </a:cubicBezTo>
                <a:lnTo>
                  <a:pt x="9030" y="19132"/>
                </a:lnTo>
                <a:cubicBezTo>
                  <a:pt x="8909" y="19946"/>
                  <a:pt x="8693" y="20430"/>
                  <a:pt x="8453" y="20430"/>
                </a:cubicBezTo>
                <a:cubicBezTo>
                  <a:pt x="8212" y="20430"/>
                  <a:pt x="7996" y="19946"/>
                  <a:pt x="7876" y="19132"/>
                </a:cubicBezTo>
                <a:lnTo>
                  <a:pt x="7823" y="18771"/>
                </a:lnTo>
                <a:cubicBezTo>
                  <a:pt x="7965" y="19576"/>
                  <a:pt x="8197" y="20051"/>
                  <a:pt x="8452" y="20051"/>
                </a:cubicBezTo>
                <a:close/>
                <a:moveTo>
                  <a:pt x="7822" y="17988"/>
                </a:moveTo>
                <a:cubicBezTo>
                  <a:pt x="7965" y="18793"/>
                  <a:pt x="8197" y="19268"/>
                  <a:pt x="8453" y="19268"/>
                </a:cubicBezTo>
                <a:cubicBezTo>
                  <a:pt x="8709" y="19268"/>
                  <a:pt x="8939" y="18793"/>
                  <a:pt x="9084" y="17988"/>
                </a:cubicBezTo>
                <a:lnTo>
                  <a:pt x="9031" y="18348"/>
                </a:lnTo>
                <a:cubicBezTo>
                  <a:pt x="8910" y="19162"/>
                  <a:pt x="8694" y="19646"/>
                  <a:pt x="8454" y="19646"/>
                </a:cubicBezTo>
                <a:cubicBezTo>
                  <a:pt x="8214" y="19646"/>
                  <a:pt x="7997" y="19162"/>
                  <a:pt x="7877" y="18348"/>
                </a:cubicBezTo>
                <a:lnTo>
                  <a:pt x="7822" y="17988"/>
                </a:lnTo>
                <a:close/>
                <a:moveTo>
                  <a:pt x="10043" y="12307"/>
                </a:moveTo>
                <a:cubicBezTo>
                  <a:pt x="10162" y="11506"/>
                  <a:pt x="10383" y="11009"/>
                  <a:pt x="10620" y="11009"/>
                </a:cubicBezTo>
                <a:lnTo>
                  <a:pt x="10963" y="11009"/>
                </a:lnTo>
                <a:cubicBezTo>
                  <a:pt x="11215" y="11009"/>
                  <a:pt x="11452" y="10521"/>
                  <a:pt x="11594" y="9724"/>
                </a:cubicBezTo>
                <a:lnTo>
                  <a:pt x="11540" y="10089"/>
                </a:lnTo>
                <a:cubicBezTo>
                  <a:pt x="11421" y="10890"/>
                  <a:pt x="11200" y="11387"/>
                  <a:pt x="10963" y="11387"/>
                </a:cubicBezTo>
                <a:lnTo>
                  <a:pt x="10620" y="11387"/>
                </a:lnTo>
                <a:cubicBezTo>
                  <a:pt x="10368" y="11387"/>
                  <a:pt x="10131" y="11876"/>
                  <a:pt x="9989" y="12672"/>
                </a:cubicBezTo>
                <a:lnTo>
                  <a:pt x="10043" y="12307"/>
                </a:lnTo>
                <a:close/>
                <a:moveTo>
                  <a:pt x="9989" y="11889"/>
                </a:moveTo>
                <a:lnTo>
                  <a:pt x="10043" y="11524"/>
                </a:lnTo>
                <a:cubicBezTo>
                  <a:pt x="10162" y="10723"/>
                  <a:pt x="10383" y="10226"/>
                  <a:pt x="10620" y="10226"/>
                </a:cubicBezTo>
                <a:lnTo>
                  <a:pt x="10963" y="10226"/>
                </a:lnTo>
                <a:cubicBezTo>
                  <a:pt x="11215" y="10226"/>
                  <a:pt x="11452" y="9737"/>
                  <a:pt x="11594" y="8941"/>
                </a:cubicBezTo>
                <a:lnTo>
                  <a:pt x="11540" y="9306"/>
                </a:lnTo>
                <a:cubicBezTo>
                  <a:pt x="11421" y="10107"/>
                  <a:pt x="11200" y="10604"/>
                  <a:pt x="10963" y="10604"/>
                </a:cubicBezTo>
                <a:lnTo>
                  <a:pt x="10620" y="10604"/>
                </a:lnTo>
                <a:cubicBezTo>
                  <a:pt x="10368" y="10604"/>
                  <a:pt x="10132" y="11093"/>
                  <a:pt x="9989" y="11889"/>
                </a:cubicBezTo>
                <a:close/>
                <a:moveTo>
                  <a:pt x="12555" y="3265"/>
                </a:moveTo>
                <a:cubicBezTo>
                  <a:pt x="12675" y="2451"/>
                  <a:pt x="12891" y="1967"/>
                  <a:pt x="13131" y="1967"/>
                </a:cubicBezTo>
                <a:cubicBezTo>
                  <a:pt x="13372" y="1967"/>
                  <a:pt x="13588" y="2451"/>
                  <a:pt x="13708" y="3265"/>
                </a:cubicBezTo>
                <a:lnTo>
                  <a:pt x="13761" y="3626"/>
                </a:lnTo>
                <a:cubicBezTo>
                  <a:pt x="13618" y="2820"/>
                  <a:pt x="13386" y="2345"/>
                  <a:pt x="13130" y="2345"/>
                </a:cubicBezTo>
                <a:cubicBezTo>
                  <a:pt x="12874" y="2345"/>
                  <a:pt x="12644" y="2820"/>
                  <a:pt x="12499" y="3626"/>
                </a:cubicBezTo>
                <a:lnTo>
                  <a:pt x="12555" y="3265"/>
                </a:lnTo>
                <a:close/>
                <a:moveTo>
                  <a:pt x="12502" y="2842"/>
                </a:moveTo>
                <a:lnTo>
                  <a:pt x="12555" y="2482"/>
                </a:lnTo>
                <a:cubicBezTo>
                  <a:pt x="12675" y="1668"/>
                  <a:pt x="12891" y="1184"/>
                  <a:pt x="13131" y="1184"/>
                </a:cubicBezTo>
                <a:cubicBezTo>
                  <a:pt x="13372" y="1184"/>
                  <a:pt x="13588" y="1668"/>
                  <a:pt x="13708" y="2482"/>
                </a:cubicBezTo>
                <a:lnTo>
                  <a:pt x="13761" y="2842"/>
                </a:lnTo>
                <a:cubicBezTo>
                  <a:pt x="13618" y="2037"/>
                  <a:pt x="13386" y="1562"/>
                  <a:pt x="13130" y="1562"/>
                </a:cubicBezTo>
                <a:cubicBezTo>
                  <a:pt x="12876" y="1562"/>
                  <a:pt x="12645" y="2037"/>
                  <a:pt x="12502" y="2842"/>
                </a:cubicBezTo>
                <a:close/>
                <a:moveTo>
                  <a:pt x="15301" y="11009"/>
                </a:moveTo>
                <a:lnTo>
                  <a:pt x="15644" y="11009"/>
                </a:lnTo>
                <a:cubicBezTo>
                  <a:pt x="15881" y="11009"/>
                  <a:pt x="16102" y="11506"/>
                  <a:pt x="16221" y="12307"/>
                </a:cubicBezTo>
                <a:lnTo>
                  <a:pt x="16275" y="12672"/>
                </a:lnTo>
                <a:cubicBezTo>
                  <a:pt x="16131" y="11871"/>
                  <a:pt x="15896" y="11387"/>
                  <a:pt x="15644" y="11387"/>
                </a:cubicBezTo>
                <a:lnTo>
                  <a:pt x="15301" y="11387"/>
                </a:lnTo>
                <a:cubicBezTo>
                  <a:pt x="15064" y="11387"/>
                  <a:pt x="14842" y="10890"/>
                  <a:pt x="14724" y="10089"/>
                </a:cubicBezTo>
                <a:lnTo>
                  <a:pt x="14670" y="9724"/>
                </a:lnTo>
                <a:cubicBezTo>
                  <a:pt x="14812" y="10521"/>
                  <a:pt x="15048" y="11009"/>
                  <a:pt x="15301" y="11009"/>
                </a:cubicBezTo>
                <a:close/>
                <a:moveTo>
                  <a:pt x="14669" y="8941"/>
                </a:moveTo>
                <a:cubicBezTo>
                  <a:pt x="14812" y="9742"/>
                  <a:pt x="15048" y="10226"/>
                  <a:pt x="15300" y="10226"/>
                </a:cubicBezTo>
                <a:lnTo>
                  <a:pt x="15643" y="10226"/>
                </a:lnTo>
                <a:cubicBezTo>
                  <a:pt x="15880" y="10226"/>
                  <a:pt x="16101" y="10723"/>
                  <a:pt x="16219" y="11524"/>
                </a:cubicBezTo>
                <a:lnTo>
                  <a:pt x="16274" y="11889"/>
                </a:lnTo>
                <a:cubicBezTo>
                  <a:pt x="16130" y="11088"/>
                  <a:pt x="15894" y="10604"/>
                  <a:pt x="15643" y="10604"/>
                </a:cubicBezTo>
                <a:lnTo>
                  <a:pt x="15300" y="10604"/>
                </a:lnTo>
                <a:cubicBezTo>
                  <a:pt x="15063" y="10604"/>
                  <a:pt x="14841" y="10107"/>
                  <a:pt x="14723" y="9306"/>
                </a:cubicBezTo>
                <a:lnTo>
                  <a:pt x="14669" y="8941"/>
                </a:lnTo>
                <a:close/>
                <a:moveTo>
                  <a:pt x="17812" y="19646"/>
                </a:moveTo>
                <a:cubicBezTo>
                  <a:pt x="17572" y="19646"/>
                  <a:pt x="17355" y="19162"/>
                  <a:pt x="17235" y="18348"/>
                </a:cubicBezTo>
                <a:lnTo>
                  <a:pt x="17182" y="17988"/>
                </a:lnTo>
                <a:cubicBezTo>
                  <a:pt x="17326" y="18793"/>
                  <a:pt x="17557" y="19268"/>
                  <a:pt x="17813" y="19268"/>
                </a:cubicBezTo>
                <a:cubicBezTo>
                  <a:pt x="18069" y="19268"/>
                  <a:pt x="18300" y="18793"/>
                  <a:pt x="18444" y="17988"/>
                </a:cubicBezTo>
                <a:lnTo>
                  <a:pt x="18391" y="18348"/>
                </a:lnTo>
                <a:cubicBezTo>
                  <a:pt x="18269" y="19162"/>
                  <a:pt x="18054" y="19646"/>
                  <a:pt x="17812" y="19646"/>
                </a:cubicBezTo>
                <a:close/>
                <a:moveTo>
                  <a:pt x="18443" y="18771"/>
                </a:moveTo>
                <a:lnTo>
                  <a:pt x="18390" y="19132"/>
                </a:lnTo>
                <a:cubicBezTo>
                  <a:pt x="18269" y="19946"/>
                  <a:pt x="18054" y="20430"/>
                  <a:pt x="17813" y="20430"/>
                </a:cubicBezTo>
                <a:cubicBezTo>
                  <a:pt x="17573" y="20430"/>
                  <a:pt x="17356" y="19946"/>
                  <a:pt x="17236" y="19132"/>
                </a:cubicBezTo>
                <a:lnTo>
                  <a:pt x="17183" y="18771"/>
                </a:lnTo>
                <a:cubicBezTo>
                  <a:pt x="17327" y="19576"/>
                  <a:pt x="17558" y="20051"/>
                  <a:pt x="17814" y="20051"/>
                </a:cubicBezTo>
                <a:cubicBezTo>
                  <a:pt x="18068" y="20051"/>
                  <a:pt x="18300" y="19576"/>
                  <a:pt x="18443" y="18771"/>
                </a:cubicBezTo>
                <a:close/>
                <a:moveTo>
                  <a:pt x="15301" y="9447"/>
                </a:moveTo>
                <a:lnTo>
                  <a:pt x="15644" y="9447"/>
                </a:lnTo>
                <a:cubicBezTo>
                  <a:pt x="15881" y="9447"/>
                  <a:pt x="16102" y="9944"/>
                  <a:pt x="16221" y="10745"/>
                </a:cubicBezTo>
                <a:lnTo>
                  <a:pt x="16275" y="11110"/>
                </a:lnTo>
                <a:cubicBezTo>
                  <a:pt x="16131" y="10309"/>
                  <a:pt x="15896" y="9825"/>
                  <a:pt x="15644" y="9825"/>
                </a:cubicBezTo>
                <a:lnTo>
                  <a:pt x="15301" y="9825"/>
                </a:lnTo>
                <a:cubicBezTo>
                  <a:pt x="15064" y="9825"/>
                  <a:pt x="14842" y="9328"/>
                  <a:pt x="14724" y="8527"/>
                </a:cubicBezTo>
                <a:lnTo>
                  <a:pt x="14670" y="8162"/>
                </a:lnTo>
                <a:cubicBezTo>
                  <a:pt x="14812" y="8959"/>
                  <a:pt x="15048" y="9447"/>
                  <a:pt x="15301" y="9447"/>
                </a:cubicBezTo>
                <a:close/>
                <a:moveTo>
                  <a:pt x="13132" y="400"/>
                </a:moveTo>
                <a:cubicBezTo>
                  <a:pt x="13373" y="400"/>
                  <a:pt x="13590" y="884"/>
                  <a:pt x="13709" y="1698"/>
                </a:cubicBezTo>
                <a:lnTo>
                  <a:pt x="13762" y="2059"/>
                </a:lnTo>
                <a:cubicBezTo>
                  <a:pt x="13619" y="1254"/>
                  <a:pt x="13388" y="779"/>
                  <a:pt x="13131" y="779"/>
                </a:cubicBezTo>
                <a:cubicBezTo>
                  <a:pt x="12875" y="779"/>
                  <a:pt x="12645" y="1254"/>
                  <a:pt x="12500" y="2059"/>
                </a:cubicBezTo>
                <a:lnTo>
                  <a:pt x="12553" y="1698"/>
                </a:lnTo>
                <a:cubicBezTo>
                  <a:pt x="12675" y="889"/>
                  <a:pt x="12891" y="400"/>
                  <a:pt x="13132" y="400"/>
                </a:cubicBezTo>
                <a:close/>
                <a:moveTo>
                  <a:pt x="10620" y="9447"/>
                </a:moveTo>
                <a:lnTo>
                  <a:pt x="10963" y="9447"/>
                </a:lnTo>
                <a:cubicBezTo>
                  <a:pt x="11215" y="9447"/>
                  <a:pt x="11452" y="8959"/>
                  <a:pt x="11594" y="8162"/>
                </a:cubicBezTo>
                <a:lnTo>
                  <a:pt x="11540" y="8527"/>
                </a:lnTo>
                <a:cubicBezTo>
                  <a:pt x="11421" y="9328"/>
                  <a:pt x="11200" y="9825"/>
                  <a:pt x="10963" y="9825"/>
                </a:cubicBezTo>
                <a:lnTo>
                  <a:pt x="10620" y="9825"/>
                </a:lnTo>
                <a:cubicBezTo>
                  <a:pt x="10368" y="9825"/>
                  <a:pt x="10131" y="10314"/>
                  <a:pt x="9989" y="11110"/>
                </a:cubicBezTo>
                <a:lnTo>
                  <a:pt x="10043" y="10745"/>
                </a:lnTo>
                <a:cubicBezTo>
                  <a:pt x="10162" y="9944"/>
                  <a:pt x="10383" y="9447"/>
                  <a:pt x="10620" y="9447"/>
                </a:cubicBezTo>
                <a:close/>
                <a:moveTo>
                  <a:pt x="8452" y="18489"/>
                </a:moveTo>
                <a:cubicBezTo>
                  <a:pt x="8708" y="18489"/>
                  <a:pt x="8938" y="18014"/>
                  <a:pt x="9083" y="17209"/>
                </a:cubicBezTo>
                <a:lnTo>
                  <a:pt x="9030" y="17570"/>
                </a:lnTo>
                <a:cubicBezTo>
                  <a:pt x="8909" y="18384"/>
                  <a:pt x="8693" y="18868"/>
                  <a:pt x="8453" y="18868"/>
                </a:cubicBezTo>
                <a:cubicBezTo>
                  <a:pt x="8212" y="18868"/>
                  <a:pt x="7996" y="18384"/>
                  <a:pt x="7876" y="17570"/>
                </a:cubicBezTo>
                <a:lnTo>
                  <a:pt x="7823" y="17209"/>
                </a:lnTo>
                <a:cubicBezTo>
                  <a:pt x="7965" y="18014"/>
                  <a:pt x="8197" y="18489"/>
                  <a:pt x="8452" y="18489"/>
                </a:cubicBezTo>
                <a:close/>
                <a:moveTo>
                  <a:pt x="5940" y="9447"/>
                </a:moveTo>
                <a:lnTo>
                  <a:pt x="6283" y="9447"/>
                </a:lnTo>
                <a:cubicBezTo>
                  <a:pt x="6521" y="9447"/>
                  <a:pt x="6742" y="9944"/>
                  <a:pt x="6860" y="10745"/>
                </a:cubicBezTo>
                <a:lnTo>
                  <a:pt x="6914" y="11110"/>
                </a:lnTo>
                <a:cubicBezTo>
                  <a:pt x="6771" y="10309"/>
                  <a:pt x="6535" y="9825"/>
                  <a:pt x="6283" y="9825"/>
                </a:cubicBezTo>
                <a:lnTo>
                  <a:pt x="5940" y="9825"/>
                </a:lnTo>
                <a:cubicBezTo>
                  <a:pt x="5703" y="9825"/>
                  <a:pt x="5482" y="9328"/>
                  <a:pt x="5364" y="8527"/>
                </a:cubicBezTo>
                <a:lnTo>
                  <a:pt x="5309" y="8162"/>
                </a:lnTo>
                <a:cubicBezTo>
                  <a:pt x="5452" y="8959"/>
                  <a:pt x="5688" y="9447"/>
                  <a:pt x="5940" y="9447"/>
                </a:cubicBezTo>
                <a:close/>
                <a:moveTo>
                  <a:pt x="3772" y="400"/>
                </a:moveTo>
                <a:cubicBezTo>
                  <a:pt x="4013" y="400"/>
                  <a:pt x="4229" y="884"/>
                  <a:pt x="4349" y="1698"/>
                </a:cubicBezTo>
                <a:lnTo>
                  <a:pt x="4402" y="2059"/>
                </a:lnTo>
                <a:cubicBezTo>
                  <a:pt x="4259" y="1254"/>
                  <a:pt x="4027" y="779"/>
                  <a:pt x="3771" y="779"/>
                </a:cubicBezTo>
                <a:cubicBezTo>
                  <a:pt x="3515" y="779"/>
                  <a:pt x="3285" y="1254"/>
                  <a:pt x="3140" y="2059"/>
                </a:cubicBezTo>
                <a:lnTo>
                  <a:pt x="3193" y="1698"/>
                </a:lnTo>
                <a:cubicBezTo>
                  <a:pt x="3315" y="889"/>
                  <a:pt x="3531" y="400"/>
                  <a:pt x="3772" y="400"/>
                </a:cubicBezTo>
                <a:close/>
                <a:moveTo>
                  <a:pt x="3772" y="3124"/>
                </a:moveTo>
                <a:cubicBezTo>
                  <a:pt x="3516" y="3124"/>
                  <a:pt x="3286" y="3599"/>
                  <a:pt x="3141" y="4404"/>
                </a:cubicBezTo>
                <a:lnTo>
                  <a:pt x="3194" y="4044"/>
                </a:lnTo>
                <a:cubicBezTo>
                  <a:pt x="3315" y="3230"/>
                  <a:pt x="3531" y="2746"/>
                  <a:pt x="3771" y="2746"/>
                </a:cubicBezTo>
                <a:cubicBezTo>
                  <a:pt x="4011" y="2746"/>
                  <a:pt x="4228" y="3230"/>
                  <a:pt x="4348" y="4044"/>
                </a:cubicBezTo>
                <a:lnTo>
                  <a:pt x="4401" y="4404"/>
                </a:lnTo>
                <a:cubicBezTo>
                  <a:pt x="4259" y="3599"/>
                  <a:pt x="4027" y="3124"/>
                  <a:pt x="3772" y="3124"/>
                </a:cubicBezTo>
                <a:close/>
                <a:moveTo>
                  <a:pt x="6283" y="12166"/>
                </a:moveTo>
                <a:lnTo>
                  <a:pt x="5940" y="12166"/>
                </a:lnTo>
                <a:cubicBezTo>
                  <a:pt x="5703" y="12166"/>
                  <a:pt x="5482" y="11669"/>
                  <a:pt x="5364" y="10868"/>
                </a:cubicBezTo>
                <a:lnTo>
                  <a:pt x="5309" y="10503"/>
                </a:lnTo>
                <a:cubicBezTo>
                  <a:pt x="5453" y="11304"/>
                  <a:pt x="5689" y="11788"/>
                  <a:pt x="5940" y="11788"/>
                </a:cubicBezTo>
                <a:lnTo>
                  <a:pt x="6283" y="11788"/>
                </a:lnTo>
                <a:cubicBezTo>
                  <a:pt x="6521" y="11788"/>
                  <a:pt x="6742" y="12285"/>
                  <a:pt x="6860" y="13086"/>
                </a:cubicBezTo>
                <a:lnTo>
                  <a:pt x="6914" y="13451"/>
                </a:lnTo>
                <a:cubicBezTo>
                  <a:pt x="6772" y="12655"/>
                  <a:pt x="6536" y="12166"/>
                  <a:pt x="6283" y="12166"/>
                </a:cubicBezTo>
                <a:close/>
                <a:moveTo>
                  <a:pt x="8452" y="21208"/>
                </a:moveTo>
                <a:cubicBezTo>
                  <a:pt x="8211" y="21208"/>
                  <a:pt x="7995" y="20724"/>
                  <a:pt x="7875" y="19910"/>
                </a:cubicBezTo>
                <a:lnTo>
                  <a:pt x="7822" y="19550"/>
                </a:lnTo>
                <a:cubicBezTo>
                  <a:pt x="7965" y="20355"/>
                  <a:pt x="8197" y="20830"/>
                  <a:pt x="8453" y="20830"/>
                </a:cubicBezTo>
                <a:cubicBezTo>
                  <a:pt x="8709" y="20830"/>
                  <a:pt x="8939" y="20355"/>
                  <a:pt x="9084" y="19550"/>
                </a:cubicBezTo>
                <a:lnTo>
                  <a:pt x="9031" y="19910"/>
                </a:lnTo>
                <a:cubicBezTo>
                  <a:pt x="8909" y="20724"/>
                  <a:pt x="8693" y="21208"/>
                  <a:pt x="8452" y="21208"/>
                </a:cubicBezTo>
                <a:close/>
                <a:moveTo>
                  <a:pt x="10964" y="12166"/>
                </a:moveTo>
                <a:lnTo>
                  <a:pt x="10621" y="12166"/>
                </a:lnTo>
                <a:cubicBezTo>
                  <a:pt x="10369" y="12166"/>
                  <a:pt x="10132" y="12655"/>
                  <a:pt x="9990" y="13451"/>
                </a:cubicBezTo>
                <a:lnTo>
                  <a:pt x="10044" y="13086"/>
                </a:lnTo>
                <a:cubicBezTo>
                  <a:pt x="10163" y="12285"/>
                  <a:pt x="10384" y="11788"/>
                  <a:pt x="10621" y="11788"/>
                </a:cubicBezTo>
                <a:lnTo>
                  <a:pt x="10964" y="11788"/>
                </a:lnTo>
                <a:cubicBezTo>
                  <a:pt x="11216" y="11788"/>
                  <a:pt x="11453" y="11299"/>
                  <a:pt x="11595" y="10503"/>
                </a:cubicBezTo>
                <a:lnTo>
                  <a:pt x="11541" y="10868"/>
                </a:lnTo>
                <a:cubicBezTo>
                  <a:pt x="11422" y="11669"/>
                  <a:pt x="11201" y="12166"/>
                  <a:pt x="10964" y="12166"/>
                </a:cubicBezTo>
                <a:close/>
                <a:moveTo>
                  <a:pt x="13132" y="3124"/>
                </a:moveTo>
                <a:cubicBezTo>
                  <a:pt x="12876" y="3124"/>
                  <a:pt x="12646" y="3599"/>
                  <a:pt x="12502" y="4404"/>
                </a:cubicBezTo>
                <a:lnTo>
                  <a:pt x="12555" y="4044"/>
                </a:lnTo>
                <a:cubicBezTo>
                  <a:pt x="12675" y="3230"/>
                  <a:pt x="12891" y="2746"/>
                  <a:pt x="13131" y="2746"/>
                </a:cubicBezTo>
                <a:cubicBezTo>
                  <a:pt x="13372" y="2746"/>
                  <a:pt x="13588" y="3230"/>
                  <a:pt x="13708" y="4044"/>
                </a:cubicBezTo>
                <a:lnTo>
                  <a:pt x="13761" y="4404"/>
                </a:lnTo>
                <a:cubicBezTo>
                  <a:pt x="13619" y="3599"/>
                  <a:pt x="13388" y="3124"/>
                  <a:pt x="13132" y="3124"/>
                </a:cubicBezTo>
                <a:close/>
                <a:moveTo>
                  <a:pt x="15644" y="12166"/>
                </a:moveTo>
                <a:lnTo>
                  <a:pt x="15301" y="12166"/>
                </a:lnTo>
                <a:cubicBezTo>
                  <a:pt x="15064" y="12166"/>
                  <a:pt x="14842" y="11669"/>
                  <a:pt x="14724" y="10868"/>
                </a:cubicBezTo>
                <a:lnTo>
                  <a:pt x="14670" y="10503"/>
                </a:lnTo>
                <a:cubicBezTo>
                  <a:pt x="14813" y="11304"/>
                  <a:pt x="15049" y="11788"/>
                  <a:pt x="15301" y="11788"/>
                </a:cubicBezTo>
                <a:lnTo>
                  <a:pt x="15644" y="11788"/>
                </a:lnTo>
                <a:cubicBezTo>
                  <a:pt x="15881" y="11788"/>
                  <a:pt x="16102" y="12285"/>
                  <a:pt x="16221" y="13086"/>
                </a:cubicBezTo>
                <a:lnTo>
                  <a:pt x="16275" y="13451"/>
                </a:lnTo>
                <a:cubicBezTo>
                  <a:pt x="16133" y="12655"/>
                  <a:pt x="15897" y="12166"/>
                  <a:pt x="15644" y="12166"/>
                </a:cubicBezTo>
                <a:close/>
                <a:moveTo>
                  <a:pt x="17812" y="21208"/>
                </a:moveTo>
                <a:cubicBezTo>
                  <a:pt x="17572" y="21208"/>
                  <a:pt x="17355" y="20724"/>
                  <a:pt x="17235" y="19910"/>
                </a:cubicBezTo>
                <a:lnTo>
                  <a:pt x="17182" y="19550"/>
                </a:lnTo>
                <a:cubicBezTo>
                  <a:pt x="17326" y="20355"/>
                  <a:pt x="17557" y="20830"/>
                  <a:pt x="17813" y="20830"/>
                </a:cubicBezTo>
                <a:cubicBezTo>
                  <a:pt x="18069" y="20830"/>
                  <a:pt x="18300" y="20355"/>
                  <a:pt x="18444" y="19550"/>
                </a:cubicBezTo>
                <a:lnTo>
                  <a:pt x="18391" y="19910"/>
                </a:lnTo>
                <a:cubicBezTo>
                  <a:pt x="18269" y="20724"/>
                  <a:pt x="18054" y="21208"/>
                  <a:pt x="17812" y="21208"/>
                </a:cubicBezTo>
                <a:close/>
              </a:path>
            </a:pathLst>
          </a:custGeom>
          <a:solidFill>
            <a:schemeClr val="bg1">
              <a:lumMod val="75000"/>
            </a:schemeClr>
          </a:solidFill>
          <a:ln w="12700">
            <a:miter lim="400000"/>
          </a:ln>
        </p:spPr>
        <p:txBody>
          <a:bodyPr lIns="28575" tIns="28575" rIns="28575" bIns="28575" anchor="ctr"/>
          <a:lstStyle/>
          <a:p>
            <a:pPr>
              <a:defRPr sz="3000">
                <a:solidFill>
                  <a:srgbClr val="FFFFFF"/>
                </a:solidFill>
              </a:defRPr>
            </a:pPr>
            <a:endParaRPr sz="2250"/>
          </a:p>
        </p:txBody>
      </p:sp>
      <p:sp>
        <p:nvSpPr>
          <p:cNvPr id="3" name="Shape">
            <a:extLst>
              <a:ext uri="{FF2B5EF4-FFF2-40B4-BE49-F238E27FC236}">
                <a16:creationId xmlns:a16="http://schemas.microsoft.com/office/drawing/2014/main" id="{47A857D9-C18D-1825-EF54-40BA811D11E6}"/>
              </a:ext>
            </a:extLst>
          </p:cNvPr>
          <p:cNvSpPr/>
          <p:nvPr/>
        </p:nvSpPr>
        <p:spPr>
          <a:xfrm>
            <a:off x="2313829" y="2872401"/>
            <a:ext cx="1232180" cy="1113197"/>
          </a:xfrm>
          <a:custGeom>
            <a:avLst/>
            <a:gdLst/>
            <a:ahLst/>
            <a:cxnLst>
              <a:cxn ang="0">
                <a:pos x="wd2" y="hd2"/>
              </a:cxn>
              <a:cxn ang="5400000">
                <a:pos x="wd2" y="hd2"/>
              </a:cxn>
              <a:cxn ang="10800000">
                <a:pos x="wd2" y="hd2"/>
              </a:cxn>
              <a:cxn ang="16200000">
                <a:pos x="wd2" y="hd2"/>
              </a:cxn>
            </a:cxnLst>
            <a:rect l="0" t="0" r="r" b="b"/>
            <a:pathLst>
              <a:path w="20189" h="21055" extrusionOk="0">
                <a:moveTo>
                  <a:pt x="10106" y="21055"/>
                </a:moveTo>
                <a:lnTo>
                  <a:pt x="2833" y="21055"/>
                </a:lnTo>
                <a:cubicBezTo>
                  <a:pt x="656" y="21055"/>
                  <a:pt x="-706" y="18335"/>
                  <a:pt x="382" y="16166"/>
                </a:cubicBezTo>
                <a:lnTo>
                  <a:pt x="4015" y="8899"/>
                </a:lnTo>
                <a:lnTo>
                  <a:pt x="7647" y="1633"/>
                </a:lnTo>
                <a:cubicBezTo>
                  <a:pt x="8736" y="-545"/>
                  <a:pt x="11452" y="-545"/>
                  <a:pt x="12541" y="1633"/>
                </a:cubicBezTo>
                <a:lnTo>
                  <a:pt x="16173" y="8899"/>
                </a:lnTo>
                <a:lnTo>
                  <a:pt x="19806" y="16166"/>
                </a:lnTo>
                <a:cubicBezTo>
                  <a:pt x="20894" y="18344"/>
                  <a:pt x="19532" y="21055"/>
                  <a:pt x="17355" y="21055"/>
                </a:cubicBezTo>
                <a:lnTo>
                  <a:pt x="10106" y="21055"/>
                </a:lnTo>
                <a:close/>
              </a:path>
            </a:pathLst>
          </a:custGeom>
          <a:solidFill>
            <a:schemeClr val="accent2"/>
          </a:solidFill>
          <a:ln w="12700">
            <a:miter lim="400000"/>
          </a:ln>
        </p:spPr>
        <p:txBody>
          <a:bodyPr lIns="28575" tIns="28575" rIns="28575" bIns="28575" anchor="ctr"/>
          <a:lstStyle/>
          <a:p>
            <a:pPr>
              <a:defRPr sz="3000">
                <a:solidFill>
                  <a:srgbClr val="FFFFFF"/>
                </a:solidFill>
              </a:defRPr>
            </a:pPr>
            <a:endParaRPr sz="2250"/>
          </a:p>
        </p:txBody>
      </p:sp>
      <p:pic>
        <p:nvPicPr>
          <p:cNvPr id="4" name="Graphic 3" descr="Rocket">
            <a:extLst>
              <a:ext uri="{FF2B5EF4-FFF2-40B4-BE49-F238E27FC236}">
                <a16:creationId xmlns:a16="http://schemas.microsoft.com/office/drawing/2014/main" id="{B9DEEECE-A612-6AEC-A9DC-7C3181D0898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25845" y="3234877"/>
            <a:ext cx="608147" cy="608147"/>
          </a:xfrm>
          <a:prstGeom prst="rect">
            <a:avLst/>
          </a:prstGeom>
        </p:spPr>
      </p:pic>
      <p:sp>
        <p:nvSpPr>
          <p:cNvPr id="7" name="Shape">
            <a:extLst>
              <a:ext uri="{FF2B5EF4-FFF2-40B4-BE49-F238E27FC236}">
                <a16:creationId xmlns:a16="http://schemas.microsoft.com/office/drawing/2014/main" id="{05684AE0-B521-1C60-7EF2-3149BB57ECF0}"/>
              </a:ext>
            </a:extLst>
          </p:cNvPr>
          <p:cNvSpPr/>
          <p:nvPr/>
        </p:nvSpPr>
        <p:spPr>
          <a:xfrm>
            <a:off x="4244294" y="2872401"/>
            <a:ext cx="1232180" cy="1113197"/>
          </a:xfrm>
          <a:custGeom>
            <a:avLst/>
            <a:gdLst/>
            <a:ahLst/>
            <a:cxnLst>
              <a:cxn ang="0">
                <a:pos x="wd2" y="hd2"/>
              </a:cxn>
              <a:cxn ang="5400000">
                <a:pos x="wd2" y="hd2"/>
              </a:cxn>
              <a:cxn ang="10800000">
                <a:pos x="wd2" y="hd2"/>
              </a:cxn>
              <a:cxn ang="16200000">
                <a:pos x="wd2" y="hd2"/>
              </a:cxn>
            </a:cxnLst>
            <a:rect l="0" t="0" r="r" b="b"/>
            <a:pathLst>
              <a:path w="20189" h="21055" extrusionOk="0">
                <a:moveTo>
                  <a:pt x="10082" y="0"/>
                </a:moveTo>
                <a:lnTo>
                  <a:pt x="17355" y="0"/>
                </a:lnTo>
                <a:cubicBezTo>
                  <a:pt x="19532" y="0"/>
                  <a:pt x="20894" y="2720"/>
                  <a:pt x="19806" y="4889"/>
                </a:cubicBezTo>
                <a:lnTo>
                  <a:pt x="16173" y="12156"/>
                </a:lnTo>
                <a:lnTo>
                  <a:pt x="12541" y="19422"/>
                </a:lnTo>
                <a:cubicBezTo>
                  <a:pt x="11452" y="21600"/>
                  <a:pt x="8736" y="21600"/>
                  <a:pt x="7647" y="19422"/>
                </a:cubicBezTo>
                <a:lnTo>
                  <a:pt x="4015" y="12156"/>
                </a:lnTo>
                <a:lnTo>
                  <a:pt x="382" y="4889"/>
                </a:lnTo>
                <a:cubicBezTo>
                  <a:pt x="-706" y="2711"/>
                  <a:pt x="656" y="0"/>
                  <a:pt x="2833" y="0"/>
                </a:cubicBezTo>
                <a:lnTo>
                  <a:pt x="10082" y="0"/>
                </a:lnTo>
                <a:close/>
              </a:path>
            </a:pathLst>
          </a:custGeom>
          <a:solidFill>
            <a:schemeClr val="accent6"/>
          </a:solidFill>
          <a:ln w="12700">
            <a:miter lim="400000"/>
          </a:ln>
        </p:spPr>
        <p:txBody>
          <a:bodyPr lIns="28575" tIns="28575" rIns="28575" bIns="28575" anchor="ctr"/>
          <a:lstStyle/>
          <a:p>
            <a:pPr>
              <a:defRPr sz="3000">
                <a:solidFill>
                  <a:srgbClr val="FFFFFF"/>
                </a:solidFill>
              </a:defRPr>
            </a:pPr>
            <a:endParaRPr sz="2250"/>
          </a:p>
        </p:txBody>
      </p:sp>
      <p:pic>
        <p:nvPicPr>
          <p:cNvPr id="8" name="Graphic 7" descr="Users">
            <a:extLst>
              <a:ext uri="{FF2B5EF4-FFF2-40B4-BE49-F238E27FC236}">
                <a16:creationId xmlns:a16="http://schemas.microsoft.com/office/drawing/2014/main" id="{B8C5940A-BDE9-B005-8F55-9D762000165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56310" y="3014100"/>
            <a:ext cx="608147" cy="608147"/>
          </a:xfrm>
          <a:prstGeom prst="rect">
            <a:avLst/>
          </a:prstGeom>
        </p:spPr>
      </p:pic>
      <p:sp>
        <p:nvSpPr>
          <p:cNvPr id="9" name="Shape">
            <a:extLst>
              <a:ext uri="{FF2B5EF4-FFF2-40B4-BE49-F238E27FC236}">
                <a16:creationId xmlns:a16="http://schemas.microsoft.com/office/drawing/2014/main" id="{F230150A-AA93-6A6C-98E3-AA353E178FC2}"/>
              </a:ext>
            </a:extLst>
          </p:cNvPr>
          <p:cNvSpPr/>
          <p:nvPr/>
        </p:nvSpPr>
        <p:spPr>
          <a:xfrm>
            <a:off x="6242494" y="2872401"/>
            <a:ext cx="1232180" cy="1113197"/>
          </a:xfrm>
          <a:custGeom>
            <a:avLst/>
            <a:gdLst/>
            <a:ahLst/>
            <a:cxnLst>
              <a:cxn ang="0">
                <a:pos x="wd2" y="hd2"/>
              </a:cxn>
              <a:cxn ang="5400000">
                <a:pos x="wd2" y="hd2"/>
              </a:cxn>
              <a:cxn ang="10800000">
                <a:pos x="wd2" y="hd2"/>
              </a:cxn>
              <a:cxn ang="16200000">
                <a:pos x="wd2" y="hd2"/>
              </a:cxn>
            </a:cxnLst>
            <a:rect l="0" t="0" r="r" b="b"/>
            <a:pathLst>
              <a:path w="20189" h="21055" extrusionOk="0">
                <a:moveTo>
                  <a:pt x="10106" y="21055"/>
                </a:moveTo>
                <a:lnTo>
                  <a:pt x="2833" y="21055"/>
                </a:lnTo>
                <a:cubicBezTo>
                  <a:pt x="656" y="21055"/>
                  <a:pt x="-706" y="18335"/>
                  <a:pt x="382" y="16166"/>
                </a:cubicBezTo>
                <a:lnTo>
                  <a:pt x="4015" y="8899"/>
                </a:lnTo>
                <a:lnTo>
                  <a:pt x="7647" y="1633"/>
                </a:lnTo>
                <a:cubicBezTo>
                  <a:pt x="8736" y="-545"/>
                  <a:pt x="11452" y="-545"/>
                  <a:pt x="12541" y="1633"/>
                </a:cubicBezTo>
                <a:lnTo>
                  <a:pt x="16173" y="8899"/>
                </a:lnTo>
                <a:lnTo>
                  <a:pt x="19806" y="16166"/>
                </a:lnTo>
                <a:cubicBezTo>
                  <a:pt x="20894" y="18344"/>
                  <a:pt x="19532" y="21055"/>
                  <a:pt x="17355" y="21055"/>
                </a:cubicBezTo>
                <a:lnTo>
                  <a:pt x="10106" y="21055"/>
                </a:lnTo>
                <a:close/>
              </a:path>
            </a:pathLst>
          </a:custGeom>
          <a:solidFill>
            <a:schemeClr val="accent3"/>
          </a:solidFill>
          <a:ln w="12700">
            <a:miter lim="400000"/>
          </a:ln>
        </p:spPr>
        <p:txBody>
          <a:bodyPr lIns="28575" tIns="28575" rIns="28575" bIns="28575" anchor="ctr"/>
          <a:lstStyle/>
          <a:p>
            <a:pPr>
              <a:defRPr sz="3000">
                <a:solidFill>
                  <a:srgbClr val="FFFFFF"/>
                </a:solidFill>
              </a:defRPr>
            </a:pPr>
            <a:endParaRPr sz="2250"/>
          </a:p>
        </p:txBody>
      </p:sp>
      <p:pic>
        <p:nvPicPr>
          <p:cNvPr id="10" name="Graphic 9" descr="Puzzle">
            <a:extLst>
              <a:ext uri="{FF2B5EF4-FFF2-40B4-BE49-F238E27FC236}">
                <a16:creationId xmlns:a16="http://schemas.microsoft.com/office/drawing/2014/main" id="{0EB972AA-7E89-367F-8A01-10DE9A504BD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54510" y="3292161"/>
            <a:ext cx="608147" cy="608147"/>
          </a:xfrm>
          <a:prstGeom prst="rect">
            <a:avLst/>
          </a:prstGeom>
        </p:spPr>
      </p:pic>
      <p:pic>
        <p:nvPicPr>
          <p:cNvPr id="11" name="Picture 10">
            <a:extLst>
              <a:ext uri="{FF2B5EF4-FFF2-40B4-BE49-F238E27FC236}">
                <a16:creationId xmlns:a16="http://schemas.microsoft.com/office/drawing/2014/main" id="{9438D9EE-BF9A-DABF-215D-AAD0B3963B10}"/>
              </a:ext>
            </a:extLst>
          </p:cNvPr>
          <p:cNvPicPr>
            <a:picLocks noChangeAspect="1"/>
          </p:cNvPicPr>
          <p:nvPr/>
        </p:nvPicPr>
        <p:blipFill>
          <a:blip r:embed="rId8"/>
          <a:stretch>
            <a:fillRect/>
          </a:stretch>
        </p:blipFill>
        <p:spPr>
          <a:xfrm>
            <a:off x="8240694" y="2978069"/>
            <a:ext cx="1237595" cy="1121761"/>
          </a:xfrm>
          <a:prstGeom prst="rect">
            <a:avLst/>
          </a:prstGeom>
        </p:spPr>
      </p:pic>
      <p:sp>
        <p:nvSpPr>
          <p:cNvPr id="12" name="TextBox 11">
            <a:extLst>
              <a:ext uri="{FF2B5EF4-FFF2-40B4-BE49-F238E27FC236}">
                <a16:creationId xmlns:a16="http://schemas.microsoft.com/office/drawing/2014/main" id="{D1FC01FE-4DF7-7AB9-70A6-C71DE9800E16}"/>
              </a:ext>
            </a:extLst>
          </p:cNvPr>
          <p:cNvSpPr txBox="1"/>
          <p:nvPr/>
        </p:nvSpPr>
        <p:spPr>
          <a:xfrm>
            <a:off x="1832638" y="3943890"/>
            <a:ext cx="2194560" cy="523220"/>
          </a:xfrm>
          <a:prstGeom prst="rect">
            <a:avLst/>
          </a:prstGeom>
          <a:noFill/>
        </p:spPr>
        <p:txBody>
          <a:bodyPr wrap="square" lIns="0" rIns="0" rtlCol="0" anchor="b">
            <a:spAutoFit/>
          </a:bodyPr>
          <a:lstStyle/>
          <a:p>
            <a:pPr algn="ctr"/>
            <a:r>
              <a:rPr lang="en-US" sz="2800" b="1" noProof="1">
                <a:solidFill>
                  <a:srgbClr val="31D1FF"/>
                </a:solidFill>
                <a:latin typeface="Calibri" panose="020F0502020204030204"/>
              </a:rPr>
              <a:t>Scalablity</a:t>
            </a:r>
          </a:p>
        </p:txBody>
      </p:sp>
      <p:sp>
        <p:nvSpPr>
          <p:cNvPr id="13" name="TextBox 12">
            <a:extLst>
              <a:ext uri="{FF2B5EF4-FFF2-40B4-BE49-F238E27FC236}">
                <a16:creationId xmlns:a16="http://schemas.microsoft.com/office/drawing/2014/main" id="{FBAEDA14-4CF3-9BF5-F699-4D5A13D9BB15}"/>
              </a:ext>
            </a:extLst>
          </p:cNvPr>
          <p:cNvSpPr txBox="1"/>
          <p:nvPr/>
        </p:nvSpPr>
        <p:spPr>
          <a:xfrm>
            <a:off x="3763103" y="1082054"/>
            <a:ext cx="2194560" cy="523220"/>
          </a:xfrm>
          <a:prstGeom prst="rect">
            <a:avLst/>
          </a:prstGeom>
          <a:noFill/>
        </p:spPr>
        <p:txBody>
          <a:bodyPr wrap="square" lIns="0" rIns="0" rtlCol="0" anchor="b">
            <a:spAutoFit/>
          </a:bodyPr>
          <a:lstStyle/>
          <a:p>
            <a:pPr algn="ctr"/>
            <a:r>
              <a:rPr lang="en-US" sz="2800" b="1" noProof="1">
                <a:solidFill>
                  <a:srgbClr val="FFB500"/>
                </a:solidFill>
                <a:latin typeface="Calibri" panose="020F0502020204030204"/>
              </a:rPr>
              <a:t>Resiliency</a:t>
            </a:r>
          </a:p>
        </p:txBody>
      </p:sp>
      <p:sp>
        <p:nvSpPr>
          <p:cNvPr id="14" name="TextBox 13">
            <a:extLst>
              <a:ext uri="{FF2B5EF4-FFF2-40B4-BE49-F238E27FC236}">
                <a16:creationId xmlns:a16="http://schemas.microsoft.com/office/drawing/2014/main" id="{F3C6D685-97CB-6635-62C2-E3036F85C1F1}"/>
              </a:ext>
            </a:extLst>
          </p:cNvPr>
          <p:cNvSpPr txBox="1"/>
          <p:nvPr/>
        </p:nvSpPr>
        <p:spPr>
          <a:xfrm>
            <a:off x="5761303" y="3943890"/>
            <a:ext cx="2194560" cy="523220"/>
          </a:xfrm>
          <a:prstGeom prst="rect">
            <a:avLst/>
          </a:prstGeom>
          <a:noFill/>
        </p:spPr>
        <p:txBody>
          <a:bodyPr wrap="square" lIns="0" rIns="0" rtlCol="0" anchor="b">
            <a:spAutoFit/>
          </a:bodyPr>
          <a:lstStyle/>
          <a:p>
            <a:pPr algn="ctr"/>
            <a:r>
              <a:rPr lang="en-US" sz="2800" b="1" noProof="1">
                <a:solidFill>
                  <a:srgbClr val="EF5F17"/>
                </a:solidFill>
                <a:latin typeface="Calibri" panose="020F0502020204030204"/>
              </a:rPr>
              <a:t>Costing</a:t>
            </a:r>
          </a:p>
        </p:txBody>
      </p:sp>
      <p:sp>
        <p:nvSpPr>
          <p:cNvPr id="15" name="TextBox 14">
            <a:extLst>
              <a:ext uri="{FF2B5EF4-FFF2-40B4-BE49-F238E27FC236}">
                <a16:creationId xmlns:a16="http://schemas.microsoft.com/office/drawing/2014/main" id="{767E314F-E431-9775-D827-0B90FD0FD2AD}"/>
              </a:ext>
            </a:extLst>
          </p:cNvPr>
          <p:cNvSpPr txBox="1"/>
          <p:nvPr/>
        </p:nvSpPr>
        <p:spPr>
          <a:xfrm>
            <a:off x="7762211" y="1079143"/>
            <a:ext cx="2194560" cy="523220"/>
          </a:xfrm>
          <a:prstGeom prst="rect">
            <a:avLst/>
          </a:prstGeom>
          <a:noFill/>
        </p:spPr>
        <p:txBody>
          <a:bodyPr wrap="square" lIns="0" rIns="0" rtlCol="0" anchor="b">
            <a:spAutoFit/>
          </a:bodyPr>
          <a:lstStyle/>
          <a:p>
            <a:pPr algn="ctr"/>
            <a:r>
              <a:rPr lang="en-US" sz="2800" b="1" noProof="1">
                <a:solidFill>
                  <a:srgbClr val="C13018"/>
                </a:solidFill>
                <a:latin typeface="Calibri" panose="020F0502020204030204"/>
              </a:rPr>
              <a:t>Security</a:t>
            </a:r>
          </a:p>
        </p:txBody>
      </p:sp>
      <p:sp>
        <p:nvSpPr>
          <p:cNvPr id="16" name="TextBox 15">
            <a:extLst>
              <a:ext uri="{FF2B5EF4-FFF2-40B4-BE49-F238E27FC236}">
                <a16:creationId xmlns:a16="http://schemas.microsoft.com/office/drawing/2014/main" id="{1678C648-8D63-958F-CDA1-DE4778EE4BB4}"/>
              </a:ext>
            </a:extLst>
          </p:cNvPr>
          <p:cNvSpPr txBox="1"/>
          <p:nvPr/>
        </p:nvSpPr>
        <p:spPr>
          <a:xfrm>
            <a:off x="1558318" y="4491320"/>
            <a:ext cx="2743200" cy="186204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b="1" dirty="0">
                <a:solidFill>
                  <a:srgbClr val="444444"/>
                </a:solidFill>
                <a:latin typeface="Calibri"/>
                <a:cs typeface="Arial"/>
              </a:rPr>
              <a:t>Adaptable for various use cases</a:t>
            </a:r>
            <a:endParaRPr lang="en-US" dirty="0"/>
          </a:p>
          <a:p>
            <a:pPr marL="228600" lvl="1" indent="-228600">
              <a:buFont typeface=""/>
              <a:buChar char="•"/>
            </a:pPr>
            <a:r>
              <a:rPr lang="en-US" sz="1100" b="1" dirty="0">
                <a:solidFill>
                  <a:srgbClr val="444444"/>
                </a:solidFill>
                <a:latin typeface="Calibri"/>
                <a:cs typeface="Arial"/>
              </a:rPr>
              <a:t>Auto-scaling </a:t>
            </a:r>
            <a:r>
              <a:rPr lang="en-US" sz="1100" dirty="0">
                <a:solidFill>
                  <a:srgbClr val="444444"/>
                </a:solidFill>
                <a:latin typeface="Calibri"/>
                <a:cs typeface="Arial"/>
              </a:rPr>
              <a:t>in Azure Data Explorer (ADX) and Azure Machine Learning ensures your system can </a:t>
            </a:r>
            <a:r>
              <a:rPr lang="en-US" sz="1100" b="1" dirty="0">
                <a:solidFill>
                  <a:srgbClr val="444444"/>
                </a:solidFill>
                <a:latin typeface="Calibri"/>
                <a:cs typeface="Arial"/>
              </a:rPr>
              <a:t>handle increased log volume </a:t>
            </a:r>
            <a:r>
              <a:rPr lang="en-US" sz="1100" dirty="0">
                <a:solidFill>
                  <a:srgbClr val="444444"/>
                </a:solidFill>
                <a:latin typeface="Calibri"/>
                <a:cs typeface="Arial"/>
              </a:rPr>
              <a:t>without manual intervention.</a:t>
            </a:r>
            <a:endParaRPr lang="en-US" dirty="0"/>
          </a:p>
          <a:p>
            <a:pPr marL="228600" lvl="1" indent="-228600">
              <a:buFont typeface=""/>
              <a:buChar char="•"/>
            </a:pPr>
            <a:r>
              <a:rPr lang="en-US" sz="1100" b="1" dirty="0">
                <a:solidFill>
                  <a:srgbClr val="444444"/>
                </a:solidFill>
                <a:latin typeface="Calibri"/>
                <a:cs typeface="Arial"/>
              </a:rPr>
              <a:t>Distributed architecture </a:t>
            </a:r>
            <a:r>
              <a:rPr lang="en-US" sz="1100" dirty="0">
                <a:solidFill>
                  <a:srgbClr val="444444"/>
                </a:solidFill>
                <a:latin typeface="Calibri"/>
                <a:cs typeface="Arial"/>
              </a:rPr>
              <a:t>for both ingestion and analytics, </a:t>
            </a:r>
            <a:r>
              <a:rPr lang="en-US" sz="1100" b="1" dirty="0">
                <a:solidFill>
                  <a:srgbClr val="444444"/>
                </a:solidFill>
                <a:latin typeface="Calibri"/>
                <a:cs typeface="Arial"/>
              </a:rPr>
              <a:t>enabling</a:t>
            </a:r>
            <a:r>
              <a:rPr lang="en-US" sz="1100" dirty="0">
                <a:solidFill>
                  <a:srgbClr val="444444"/>
                </a:solidFill>
                <a:latin typeface="Calibri"/>
                <a:cs typeface="Arial"/>
              </a:rPr>
              <a:t> </a:t>
            </a:r>
            <a:r>
              <a:rPr lang="en-US" sz="1100" b="1" dirty="0">
                <a:solidFill>
                  <a:srgbClr val="444444"/>
                </a:solidFill>
                <a:latin typeface="Calibri"/>
                <a:cs typeface="Arial"/>
              </a:rPr>
              <a:t>horizontal scaling </a:t>
            </a:r>
            <a:r>
              <a:rPr lang="en-US" sz="1100" dirty="0">
                <a:solidFill>
                  <a:srgbClr val="444444"/>
                </a:solidFill>
                <a:latin typeface="Calibri"/>
                <a:cs typeface="Arial"/>
              </a:rPr>
              <a:t>across services.</a:t>
            </a:r>
          </a:p>
          <a:p>
            <a:pPr marL="228600" lvl="1" indent="-228600">
              <a:buFont typeface=""/>
              <a:buChar char="•"/>
            </a:pPr>
            <a:r>
              <a:rPr lang="en-US" sz="1100" b="1" dirty="0">
                <a:solidFill>
                  <a:srgbClr val="444444"/>
                </a:solidFill>
                <a:latin typeface="Calibri"/>
                <a:cs typeface="Arial"/>
              </a:rPr>
              <a:t>Global deployment </a:t>
            </a:r>
            <a:r>
              <a:rPr lang="en-US" sz="1100" dirty="0">
                <a:solidFill>
                  <a:srgbClr val="444444"/>
                </a:solidFill>
                <a:latin typeface="Calibri"/>
                <a:cs typeface="Arial"/>
              </a:rPr>
              <a:t>across regions with </a:t>
            </a:r>
            <a:r>
              <a:rPr lang="en-US" sz="1100" b="1" dirty="0">
                <a:solidFill>
                  <a:srgbClr val="444444"/>
                </a:solidFill>
                <a:latin typeface="Calibri"/>
                <a:cs typeface="Arial"/>
              </a:rPr>
              <a:t>Azure AI Service</a:t>
            </a:r>
            <a:r>
              <a:rPr lang="en-US" sz="1100" dirty="0">
                <a:solidFill>
                  <a:srgbClr val="444444"/>
                </a:solidFill>
                <a:latin typeface="Calibri"/>
                <a:cs typeface="Arial"/>
              </a:rPr>
              <a:t>, allowing for </a:t>
            </a:r>
            <a:r>
              <a:rPr lang="en-US" sz="1100" b="1" dirty="0">
                <a:solidFill>
                  <a:srgbClr val="444444"/>
                </a:solidFill>
                <a:latin typeface="Calibri"/>
                <a:cs typeface="Arial"/>
              </a:rPr>
              <a:t>scaling user requests and AI-driven processing.</a:t>
            </a:r>
          </a:p>
        </p:txBody>
      </p:sp>
      <p:sp>
        <p:nvSpPr>
          <p:cNvPr id="17" name="TextBox 16">
            <a:extLst>
              <a:ext uri="{FF2B5EF4-FFF2-40B4-BE49-F238E27FC236}">
                <a16:creationId xmlns:a16="http://schemas.microsoft.com/office/drawing/2014/main" id="{5ACDBC8F-9F27-255C-361F-6342022E020D}"/>
              </a:ext>
            </a:extLst>
          </p:cNvPr>
          <p:cNvSpPr txBox="1"/>
          <p:nvPr/>
        </p:nvSpPr>
        <p:spPr>
          <a:xfrm>
            <a:off x="3451963" y="1575546"/>
            <a:ext cx="2816839" cy="101566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b="1">
                <a:solidFill>
                  <a:srgbClr val="444444"/>
                </a:solidFill>
                <a:latin typeface="Calibri"/>
                <a:cs typeface="Arial"/>
              </a:rPr>
              <a:t>Built-in fault tolerance </a:t>
            </a:r>
            <a:r>
              <a:rPr lang="en-US" sz="1100">
                <a:solidFill>
                  <a:srgbClr val="444444"/>
                </a:solidFill>
                <a:latin typeface="Calibri"/>
                <a:cs typeface="Arial"/>
              </a:rPr>
              <a:t>across all Azure services with </a:t>
            </a:r>
            <a:r>
              <a:rPr lang="en-US" sz="1100" b="1">
                <a:solidFill>
                  <a:srgbClr val="444444"/>
                </a:solidFill>
                <a:latin typeface="Calibri"/>
                <a:cs typeface="Arial"/>
              </a:rPr>
              <a:t>high availability </a:t>
            </a:r>
            <a:r>
              <a:rPr lang="en-US" sz="1100">
                <a:solidFill>
                  <a:srgbClr val="444444"/>
                </a:solidFill>
                <a:latin typeface="Calibri"/>
                <a:cs typeface="Arial"/>
              </a:rPr>
              <a:t>(HA) zones and </a:t>
            </a:r>
            <a:r>
              <a:rPr lang="en-US" sz="1100" b="1">
                <a:solidFill>
                  <a:srgbClr val="444444"/>
                </a:solidFill>
                <a:latin typeface="Calibri"/>
                <a:cs typeface="Arial"/>
              </a:rPr>
              <a:t>redundancy</a:t>
            </a:r>
            <a:r>
              <a:rPr lang="en-US" sz="1100">
                <a:solidFill>
                  <a:srgbClr val="444444"/>
                </a:solidFill>
                <a:latin typeface="Calibri"/>
                <a:cs typeface="Arial"/>
              </a:rPr>
              <a:t> (ADX, Azure ML, AI Service).</a:t>
            </a:r>
          </a:p>
          <a:p>
            <a:pPr marL="228600" lvl="1" indent="-228600">
              <a:buFont typeface=""/>
              <a:buChar char="•"/>
            </a:pPr>
            <a:r>
              <a:rPr lang="en-US" sz="1100" b="1">
                <a:solidFill>
                  <a:srgbClr val="444444"/>
                </a:solidFill>
                <a:latin typeface="Calibri"/>
                <a:cs typeface="Arial"/>
              </a:rPr>
              <a:t>Disaster Recovery </a:t>
            </a:r>
            <a:r>
              <a:rPr lang="en-US" sz="1100">
                <a:solidFill>
                  <a:srgbClr val="444444"/>
                </a:solidFill>
                <a:latin typeface="Calibri"/>
                <a:cs typeface="Arial"/>
              </a:rPr>
              <a:t>options with </a:t>
            </a:r>
            <a:r>
              <a:rPr lang="en-US" sz="1100" b="1">
                <a:solidFill>
                  <a:srgbClr val="444444"/>
                </a:solidFill>
                <a:latin typeface="Calibri"/>
                <a:cs typeface="Arial"/>
              </a:rPr>
              <a:t>geo-replication</a:t>
            </a:r>
            <a:r>
              <a:rPr lang="en-US" sz="1100">
                <a:solidFill>
                  <a:srgbClr val="444444"/>
                </a:solidFill>
                <a:latin typeface="Calibri"/>
                <a:cs typeface="Arial"/>
              </a:rPr>
              <a:t> and </a:t>
            </a:r>
            <a:r>
              <a:rPr lang="en-US" sz="1100" b="1">
                <a:solidFill>
                  <a:srgbClr val="444444"/>
                </a:solidFill>
                <a:latin typeface="Calibri"/>
                <a:cs typeface="Arial"/>
              </a:rPr>
              <a:t>automated</a:t>
            </a:r>
            <a:r>
              <a:rPr lang="en-US" sz="1100">
                <a:solidFill>
                  <a:srgbClr val="444444"/>
                </a:solidFill>
                <a:latin typeface="Calibri"/>
                <a:cs typeface="Arial"/>
              </a:rPr>
              <a:t> </a:t>
            </a:r>
            <a:r>
              <a:rPr lang="en-US" sz="1100" b="1">
                <a:solidFill>
                  <a:srgbClr val="444444"/>
                </a:solidFill>
                <a:latin typeface="Calibri"/>
                <a:cs typeface="Arial"/>
              </a:rPr>
              <a:t>failover</a:t>
            </a:r>
            <a:r>
              <a:rPr lang="en-US" sz="1100">
                <a:solidFill>
                  <a:srgbClr val="444444"/>
                </a:solidFill>
                <a:latin typeface="Calibri"/>
                <a:cs typeface="Arial"/>
              </a:rPr>
              <a:t> in case of regional outages.</a:t>
            </a:r>
          </a:p>
        </p:txBody>
      </p:sp>
      <p:sp>
        <p:nvSpPr>
          <p:cNvPr id="18" name="TextBox 17">
            <a:extLst>
              <a:ext uri="{FF2B5EF4-FFF2-40B4-BE49-F238E27FC236}">
                <a16:creationId xmlns:a16="http://schemas.microsoft.com/office/drawing/2014/main" id="{D556BACE-3673-5A12-E4FE-411F50404C2D}"/>
              </a:ext>
            </a:extLst>
          </p:cNvPr>
          <p:cNvSpPr txBox="1"/>
          <p:nvPr/>
        </p:nvSpPr>
        <p:spPr>
          <a:xfrm>
            <a:off x="7451071" y="1575546"/>
            <a:ext cx="2816839" cy="101566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b="1">
                <a:solidFill>
                  <a:srgbClr val="444444"/>
                </a:solidFill>
                <a:latin typeface="Calibri"/>
                <a:cs typeface="Arial"/>
              </a:rPr>
              <a:t>Azure Active Directory (AAD)</a:t>
            </a:r>
            <a:r>
              <a:rPr lang="en-US" sz="1100">
                <a:solidFill>
                  <a:srgbClr val="444444"/>
                </a:solidFill>
                <a:latin typeface="Calibri"/>
                <a:cs typeface="Arial"/>
              </a:rPr>
              <a:t> integration for </a:t>
            </a:r>
            <a:r>
              <a:rPr lang="en-US" sz="1100" b="1">
                <a:solidFill>
                  <a:srgbClr val="444444"/>
                </a:solidFill>
                <a:latin typeface="Calibri"/>
                <a:cs typeface="Arial"/>
              </a:rPr>
              <a:t>role-based access control </a:t>
            </a:r>
            <a:r>
              <a:rPr lang="en-US" sz="1100">
                <a:solidFill>
                  <a:srgbClr val="444444"/>
                </a:solidFill>
                <a:latin typeface="Calibri"/>
                <a:cs typeface="Arial"/>
              </a:rPr>
              <a:t>(RBAC) </a:t>
            </a:r>
            <a:r>
              <a:rPr lang="en-US" sz="1100" b="1">
                <a:solidFill>
                  <a:srgbClr val="444444"/>
                </a:solidFill>
                <a:latin typeface="Calibri"/>
                <a:cs typeface="Arial"/>
              </a:rPr>
              <a:t>to secure access</a:t>
            </a:r>
            <a:r>
              <a:rPr lang="en-US" sz="1100">
                <a:solidFill>
                  <a:srgbClr val="444444"/>
                </a:solidFill>
                <a:latin typeface="Calibri"/>
                <a:cs typeface="Arial"/>
              </a:rPr>
              <a:t> to data and logs.</a:t>
            </a:r>
          </a:p>
          <a:p>
            <a:pPr marL="228600" lvl="1" indent="-228600">
              <a:buFont typeface=""/>
              <a:buChar char="•"/>
            </a:pPr>
            <a:r>
              <a:rPr lang="en-US" sz="1100" b="1">
                <a:solidFill>
                  <a:srgbClr val="444444"/>
                </a:solidFill>
                <a:latin typeface="Calibri"/>
                <a:cs typeface="Arial"/>
              </a:rPr>
              <a:t>Data encryption</a:t>
            </a:r>
            <a:r>
              <a:rPr lang="en-US" sz="1100">
                <a:solidFill>
                  <a:srgbClr val="444444"/>
                </a:solidFill>
                <a:latin typeface="Calibri"/>
                <a:cs typeface="Arial"/>
              </a:rPr>
              <a:t> at rest and in transit, ensuring </a:t>
            </a:r>
            <a:r>
              <a:rPr lang="en-US" sz="1100" b="1">
                <a:solidFill>
                  <a:srgbClr val="444444"/>
                </a:solidFill>
                <a:latin typeface="Calibri"/>
                <a:cs typeface="Arial"/>
              </a:rPr>
              <a:t>secure log storage and transmission</a:t>
            </a:r>
            <a:r>
              <a:rPr lang="en-US" sz="1100">
                <a:solidFill>
                  <a:srgbClr val="444444"/>
                </a:solidFill>
                <a:latin typeface="Calibri"/>
                <a:cs typeface="Arial"/>
              </a:rPr>
              <a:t>.</a:t>
            </a:r>
          </a:p>
        </p:txBody>
      </p:sp>
      <p:sp>
        <p:nvSpPr>
          <p:cNvPr id="19" name="TextBox 18">
            <a:extLst>
              <a:ext uri="{FF2B5EF4-FFF2-40B4-BE49-F238E27FC236}">
                <a16:creationId xmlns:a16="http://schemas.microsoft.com/office/drawing/2014/main" id="{92CCA800-FCC5-7DDA-D3AB-1F1DD022C125}"/>
              </a:ext>
            </a:extLst>
          </p:cNvPr>
          <p:cNvSpPr txBox="1"/>
          <p:nvPr/>
        </p:nvSpPr>
        <p:spPr>
          <a:xfrm>
            <a:off x="5486983" y="4496246"/>
            <a:ext cx="2743200" cy="135421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sz="1100" b="1">
                <a:solidFill>
                  <a:srgbClr val="444444"/>
                </a:solidFill>
                <a:latin typeface="Calibri"/>
                <a:cs typeface="Arial"/>
              </a:rPr>
              <a:t>Auto-scaling reduces cost overhead</a:t>
            </a:r>
            <a:r>
              <a:rPr lang="en-US" sz="1100">
                <a:solidFill>
                  <a:srgbClr val="444444"/>
                </a:solidFill>
                <a:latin typeface="Calibri"/>
                <a:cs typeface="Arial"/>
              </a:rPr>
              <a:t>: Only pay for the resources used during peak times.</a:t>
            </a:r>
          </a:p>
          <a:p>
            <a:pPr marL="228600" lvl="1" indent="-228600">
              <a:buFont typeface=""/>
              <a:buChar char="•"/>
            </a:pPr>
            <a:r>
              <a:rPr lang="en-US" sz="1100" b="1">
                <a:solidFill>
                  <a:srgbClr val="444444"/>
                </a:solidFill>
                <a:latin typeface="Calibri"/>
                <a:cs typeface="Arial"/>
              </a:rPr>
              <a:t>Optimized storage in ADX </a:t>
            </a:r>
            <a:r>
              <a:rPr lang="en-US" sz="1100">
                <a:solidFill>
                  <a:srgbClr val="444444"/>
                </a:solidFill>
                <a:latin typeface="Calibri"/>
                <a:cs typeface="Arial"/>
              </a:rPr>
              <a:t>for large datasets with </a:t>
            </a:r>
            <a:r>
              <a:rPr lang="en-US" sz="1100" b="1">
                <a:solidFill>
                  <a:srgbClr val="444444"/>
                </a:solidFill>
                <a:latin typeface="Calibri"/>
                <a:cs typeface="Arial"/>
              </a:rPr>
              <a:t>tiered data storage</a:t>
            </a:r>
            <a:r>
              <a:rPr lang="en-US" sz="1100">
                <a:solidFill>
                  <a:srgbClr val="444444"/>
                </a:solidFill>
                <a:latin typeface="Calibri"/>
                <a:cs typeface="Arial"/>
              </a:rPr>
              <a:t> (hot, cold) based on usage.</a:t>
            </a:r>
          </a:p>
          <a:p>
            <a:pPr marL="228600" lvl="1" indent="-228600">
              <a:buFont typeface=""/>
              <a:buChar char="•"/>
            </a:pPr>
            <a:r>
              <a:rPr lang="en-US" sz="1100" b="1">
                <a:solidFill>
                  <a:srgbClr val="444444"/>
                </a:solidFill>
                <a:latin typeface="Calibri"/>
                <a:cs typeface="Arial"/>
              </a:rPr>
              <a:t>Reduces</a:t>
            </a:r>
            <a:r>
              <a:rPr lang="en-US" sz="1100">
                <a:solidFill>
                  <a:srgbClr val="444444"/>
                </a:solidFill>
                <a:latin typeface="Calibri"/>
                <a:cs typeface="Arial"/>
              </a:rPr>
              <a:t> </a:t>
            </a:r>
            <a:r>
              <a:rPr lang="en-US" sz="1100" b="1">
                <a:solidFill>
                  <a:srgbClr val="444444"/>
                </a:solidFill>
                <a:latin typeface="Calibri"/>
                <a:cs typeface="Arial"/>
              </a:rPr>
              <a:t>Manual</a:t>
            </a:r>
            <a:r>
              <a:rPr lang="en-US" sz="1100">
                <a:solidFill>
                  <a:srgbClr val="444444"/>
                </a:solidFill>
                <a:latin typeface="Calibri"/>
                <a:cs typeface="Arial"/>
              </a:rPr>
              <a:t> </a:t>
            </a:r>
            <a:r>
              <a:rPr lang="en-US" sz="1100" b="1">
                <a:solidFill>
                  <a:srgbClr val="444444"/>
                </a:solidFill>
                <a:latin typeface="Calibri"/>
                <a:cs typeface="Arial"/>
              </a:rPr>
              <a:t>effort</a:t>
            </a:r>
            <a:r>
              <a:rPr lang="en-US" sz="1100">
                <a:solidFill>
                  <a:srgbClr val="444444"/>
                </a:solidFill>
                <a:latin typeface="Calibri"/>
                <a:cs typeface="Arial"/>
              </a:rPr>
              <a:t> for root cause analysis</a:t>
            </a:r>
          </a:p>
        </p:txBody>
      </p:sp>
    </p:spTree>
    <p:extLst>
      <p:ext uri="{BB962C8B-B14F-4D97-AF65-F5344CB8AC3E}">
        <p14:creationId xmlns:p14="http://schemas.microsoft.com/office/powerpoint/2010/main" val="26237877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280823C-6D11-5EB9-FE7D-C204410D88A4}"/>
              </a:ext>
            </a:extLst>
          </p:cNvPr>
          <p:cNvSpPr txBox="1">
            <a:spLocks/>
          </p:cNvSpPr>
          <p:nvPr/>
        </p:nvSpPr>
        <p:spPr>
          <a:xfrm>
            <a:off x="990381" y="2609155"/>
            <a:ext cx="5217905" cy="125228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400" b="1" kern="1200">
                <a:solidFill>
                  <a:srgbClr val="FFFFFF"/>
                </a:solidFill>
                <a:latin typeface="+mj-lt"/>
                <a:ea typeface="+mj-ea"/>
                <a:cs typeface="+mj-cs"/>
              </a:defRPr>
            </a:lvl1pPr>
          </a:lstStyle>
          <a:p>
            <a:r>
              <a:rPr lang="en-US" altLang="zh-CN">
                <a:latin typeface="Calibri"/>
                <a:ea typeface="黑体"/>
                <a:cs typeface="Calibri"/>
              </a:rPr>
              <a:t>Thank You</a:t>
            </a:r>
            <a:endParaRPr lang="zh-CN" altLang="en-US">
              <a:latin typeface="Calibri"/>
              <a:ea typeface="黑体"/>
              <a:cs typeface="Calibri"/>
            </a:endParaRPr>
          </a:p>
        </p:txBody>
      </p:sp>
    </p:spTree>
    <p:extLst>
      <p:ext uri="{BB962C8B-B14F-4D97-AF65-F5344CB8AC3E}">
        <p14:creationId xmlns:p14="http://schemas.microsoft.com/office/powerpoint/2010/main" val="33179356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VCT_SHOW_CA" val="False"/>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rgbClr val="555555"/>
      </a:dk1>
      <a:lt1>
        <a:srgbClr val="FFFFFF"/>
      </a:lt1>
      <a:dk2>
        <a:srgbClr val="060A45"/>
      </a:dk2>
      <a:lt2>
        <a:srgbClr val="FFFFFF"/>
      </a:lt2>
      <a:accent1>
        <a:srgbClr val="2C6DF6"/>
      </a:accent1>
      <a:accent2>
        <a:srgbClr val="31D1FF"/>
      </a:accent2>
      <a:accent3>
        <a:srgbClr val="EF5F17"/>
      </a:accent3>
      <a:accent4>
        <a:srgbClr val="59AD00"/>
      </a:accent4>
      <a:accent5>
        <a:srgbClr val="EF5890"/>
      </a:accent5>
      <a:accent6>
        <a:srgbClr val="FFB500"/>
      </a:accent6>
      <a:hlink>
        <a:srgbClr val="2C6DF6"/>
      </a:hlink>
      <a:folHlink>
        <a:srgbClr val="2C6DF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noFill/>
        <a:ln w="9525" cap="flat" cmpd="sng">
          <a:solidFill>
            <a:schemeClr val="tx1"/>
          </a:solidFill>
          <a:prstDash val="solid"/>
          <a:round/>
          <a:headEnd type="none" w="med" len="med"/>
          <a:tailEnd type="none" w="med" len="med"/>
        </a:ln>
      </a:spPr>
      <a:bodyPr/>
      <a:lstStyle/>
    </a:lnDef>
    <a:txDef>
      <a:spPr>
        <a:noFill/>
      </a:spPr>
      <a:bodyPr wrap="square" lIns="0" tIns="0" rIns="0" bIns="0" rtlCol="0">
        <a:spAutoFit/>
      </a:bodyPr>
      <a:lstStyle>
        <a:defPPr algn="l">
          <a:defRPr sz="1600" dirty="0" smtClean="0"/>
        </a:defPPr>
      </a:lstStyle>
    </a:txDef>
  </a:objectDefaults>
  <a:extraClrSchemeLst/>
  <a:custClrLst>
    <a:custClr name="Chart Violet">
      <a:srgbClr val="675895"/>
    </a:custClr>
    <a:custClr name="Chart Blue">
      <a:srgbClr val="4697E2"/>
    </a:custClr>
    <a:custClr name="Chart Pink">
      <a:srgbClr val="CB4B7A"/>
    </a:custClr>
    <a:custClr name="Chart Yellow">
      <a:srgbClr val="FFB500"/>
    </a:custClr>
    <a:custClr name="Chart Navy">
      <a:srgbClr val="204188"/>
    </a:custClr>
    <a:custClr name="Chart Orange">
      <a:srgbClr val="F06E2D"/>
    </a:custClr>
    <a:custClr name="Chart Green">
      <a:srgbClr val="03A577"/>
    </a:custClr>
    <a:custClr name="Chart Sapphire">
      <a:srgbClr val="3265D2"/>
    </a:custClr>
    <a:custClr name="Chart Terracotta">
      <a:srgbClr val="CA5113"/>
    </a:custClr>
    <a:custClr name="Chart Forest">
      <a:srgbClr val="0C644A"/>
    </a:custClr>
    <a:custClr name="Chart Lavender">
      <a:srgbClr val="A082F3"/>
    </a:custClr>
    <a:custClr name="Chart Sand">
      <a:srgbClr val="B37F01"/>
    </a:custClr>
    <a:custClr name="Chart Mulberry">
      <a:srgbClr val="83304E"/>
    </a:custClr>
    <a:custClr name="Chart Turquoise">
      <a:srgbClr val="23A9B2"/>
    </a:custClr>
    <a:custClr name="Chart Midnight">
      <a:srgbClr val="292D5F"/>
    </a:custClr>
    <a:custClr name="Chart Fern">
      <a:srgbClr val="4D9300"/>
    </a:custClr>
    <a:custClr name="spacer">
      <a:srgbClr val="FFFFFF"/>
    </a:custClr>
    <a:custClr name="spacer">
      <a:srgbClr val="FFFFFF"/>
    </a:custClr>
    <a:custClr name="spacer">
      <a:srgbClr val="FFFFFF"/>
    </a:custClr>
    <a:custClr name="spacer">
      <a:srgbClr val="FFFFFF"/>
    </a:custClr>
    <a:custClr name="Threshold Positive">
      <a:srgbClr val="008A28"/>
    </a:custClr>
    <a:custClr name="Threshold Positive Subtle">
      <a:srgbClr val="E6E6E6"/>
    </a:custClr>
    <a:custClr name="Threshold Negative">
      <a:srgbClr val="AA213F"/>
    </a:custClr>
    <a:custClr name="Threshold Negative Subtle">
      <a:srgbClr val="F2DEE2"/>
    </a:custClr>
    <a:custClr name="Threshold Neutral">
      <a:srgbClr val="8C8C8C"/>
    </a:custClr>
    <a:custClr name="Threshold Neutral Subtle">
      <a:srgbClr val="E6E6E6"/>
    </a:custClr>
  </a:custClrLst>
  <a:extLst>
    <a:ext uri="{05A4C25C-085E-4340-85A3-A5531E510DB2}">
      <thm15:themeFamily xmlns:thm15="http://schemas.microsoft.com/office/thememl/2012/main" name="Office Theme" id="{31C12076-F06A-484B-B321-324C4288A3F6}" vid="{ADE2F160-FD49-47F0-8061-011A7B757352}"/>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1_3YP">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4.xml><?xml version="1.0" encoding="utf-8"?>
<a:theme xmlns:a="http://schemas.openxmlformats.org/drawingml/2006/main" name="2_Content">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5.xml><?xml version="1.0" encoding="utf-8"?>
<a:theme xmlns:a="http://schemas.openxmlformats.org/drawingml/2006/main" name="3_Content">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6.xml><?xml version="1.0" encoding="utf-8"?>
<a:theme xmlns:a="http://schemas.openxmlformats.org/drawingml/2006/main" name="2_Office Theme">
  <a:themeElements>
    <a:clrScheme name="Custom 24">
      <a:dk1>
        <a:srgbClr val="555555"/>
      </a:dk1>
      <a:lt1>
        <a:srgbClr val="FFFFFF"/>
      </a:lt1>
      <a:dk2>
        <a:srgbClr val="060A45"/>
      </a:dk2>
      <a:lt2>
        <a:srgbClr val="FFFFFF"/>
      </a:lt2>
      <a:accent1>
        <a:srgbClr val="2C6DF6"/>
      </a:accent1>
      <a:accent2>
        <a:srgbClr val="31D1FF"/>
      </a:accent2>
      <a:accent3>
        <a:srgbClr val="EF5F17"/>
      </a:accent3>
      <a:accent4>
        <a:srgbClr val="59AD00"/>
      </a:accent4>
      <a:accent5>
        <a:srgbClr val="EF5890"/>
      </a:accent5>
      <a:accent6>
        <a:srgbClr val="FFB500"/>
      </a:accent6>
      <a:hlink>
        <a:srgbClr val="2C6DF6"/>
      </a:hlink>
      <a:folHlink>
        <a:srgbClr val="2C6DF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noFill/>
        <a:ln w="9525" cap="flat" cmpd="sng">
          <a:solidFill>
            <a:schemeClr val="tx1"/>
          </a:solidFill>
          <a:prstDash val="solid"/>
          <a:round/>
          <a:headEnd type="none" w="med" len="med"/>
          <a:tailEnd type="none" w="med" len="med"/>
        </a:ln>
      </a:spPr>
      <a:bodyPr/>
      <a:lstStyle/>
    </a:lnDef>
    <a:txDef>
      <a:spPr>
        <a:noFill/>
      </a:spPr>
      <a:bodyPr wrap="square" lIns="0" tIns="0" rIns="0" bIns="0" rtlCol="0">
        <a:spAutoFit/>
      </a:bodyPr>
      <a:lstStyle>
        <a:defPPr algn="l">
          <a:defRPr sz="1600" dirty="0" smtClean="0"/>
        </a:defPPr>
      </a:lstStyle>
    </a:txDef>
  </a:objectDefaults>
  <a:extraClrSchemeLst/>
  <a:custClrLst>
    <a:custClr name="Chart Violet">
      <a:srgbClr val="675895"/>
    </a:custClr>
    <a:custClr name="Chart Blue">
      <a:srgbClr val="4697E2"/>
    </a:custClr>
    <a:custClr name="Chart Pink">
      <a:srgbClr val="CB4B7A"/>
    </a:custClr>
    <a:custClr name="Chart Yellow">
      <a:srgbClr val="FFB500"/>
    </a:custClr>
    <a:custClr name="Chart Navy">
      <a:srgbClr val="204188"/>
    </a:custClr>
    <a:custClr name="Chart Orange">
      <a:srgbClr val="F06E2D"/>
    </a:custClr>
    <a:custClr name="Chart Green">
      <a:srgbClr val="03A577"/>
    </a:custClr>
    <a:custClr name="Chart Sapphire">
      <a:srgbClr val="3265D2"/>
    </a:custClr>
    <a:custClr name="Chart Terracotta">
      <a:srgbClr val="CA5113"/>
    </a:custClr>
    <a:custClr name="Chart Forest">
      <a:srgbClr val="0C644A"/>
    </a:custClr>
    <a:custClr name="Chart Lavender">
      <a:srgbClr val="A082F3"/>
    </a:custClr>
    <a:custClr name="Chart Sand">
      <a:srgbClr val="B37F01"/>
    </a:custClr>
    <a:custClr name="Chart Mulberry">
      <a:srgbClr val="83304E"/>
    </a:custClr>
    <a:custClr name="Chart Turquoise">
      <a:srgbClr val="23A9B2"/>
    </a:custClr>
    <a:custClr name="Chart Midnight">
      <a:srgbClr val="292D5F"/>
    </a:custClr>
    <a:custClr name="Chart Fern">
      <a:srgbClr val="4D9300"/>
    </a:custClr>
    <a:custClr name="spacer">
      <a:srgbClr val="FFFFFF"/>
    </a:custClr>
    <a:custClr name="spacer">
      <a:srgbClr val="FFFFFF"/>
    </a:custClr>
    <a:custClr name="spacer">
      <a:srgbClr val="FFFFFF"/>
    </a:custClr>
    <a:custClr name="spacer">
      <a:srgbClr val="FFFFFF"/>
    </a:custClr>
    <a:custClr name="Threshold Positive">
      <a:srgbClr val="008A28"/>
    </a:custClr>
    <a:custClr name="Threshold Positive Subtle">
      <a:srgbClr val="E6E6E6"/>
    </a:custClr>
    <a:custClr name="Threshold Negative">
      <a:srgbClr val="AA213F"/>
    </a:custClr>
    <a:custClr name="Threshold Negative Subtle">
      <a:srgbClr val="F2DEE2"/>
    </a:custClr>
    <a:custClr name="Threshold Neutral">
      <a:srgbClr val="8C8C8C"/>
    </a:custClr>
    <a:custClr name="Threshold Neutral Subtle">
      <a:srgbClr val="E6E6E6"/>
    </a:custClr>
  </a:custClrLst>
  <a:extLst>
    <a:ext uri="{05A4C25C-085E-4340-85A3-A5531E510DB2}">
      <thm15:themeFamily xmlns:thm15="http://schemas.microsoft.com/office/thememl/2012/main" name="Office Theme" id="{31C12076-F06A-484B-B321-324C4288A3F6}" vid="{ADE2F160-FD49-47F0-8061-011A7B757352}"/>
    </a:ext>
  </a:extLst>
</a:theme>
</file>

<file path=ppt/theme/theme7.xml><?xml version="1.0" encoding="utf-8"?>
<a:theme xmlns:a="http://schemas.openxmlformats.org/drawingml/2006/main" name="Content">
  <a:themeElements>
    <a:clrScheme name="Red Violet">
      <a:dk1>
        <a:sysClr val="windowText" lastClr="000000"/>
      </a:dk1>
      <a:lt1>
        <a:sysClr val="window" lastClr="FFFFFF"/>
      </a:lt1>
      <a:dk2>
        <a:srgbClr val="454551"/>
      </a:dk2>
      <a:lt2>
        <a:srgbClr val="D8D9DC"/>
      </a:lt2>
      <a:accent1>
        <a:srgbClr val="E32D91"/>
      </a:accent1>
      <a:accent2>
        <a:srgbClr val="C830CC"/>
      </a:accent2>
      <a:accent3>
        <a:srgbClr val="4EA6DC"/>
      </a:accent3>
      <a:accent4>
        <a:srgbClr val="4775E7"/>
      </a:accent4>
      <a:accent5>
        <a:srgbClr val="8971E1"/>
      </a:accent5>
      <a:accent6>
        <a:srgbClr val="D54773"/>
      </a:accent6>
      <a:hlink>
        <a:srgbClr val="6B9F25"/>
      </a:hlink>
      <a:folHlink>
        <a:srgbClr val="8C8C8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8.xml><?xml version="1.0" encoding="utf-8"?>
<a:theme xmlns:a="http://schemas.openxmlformats.org/drawingml/2006/main" name="Office Theme">
  <a:themeElements>
    <a:clrScheme name="GfK">
      <a:dk1>
        <a:srgbClr val="3B4145"/>
      </a:dk1>
      <a:lt1>
        <a:srgbClr val="FFFFFF"/>
      </a:lt1>
      <a:dk2>
        <a:srgbClr val="EA5B0C"/>
      </a:dk2>
      <a:lt2>
        <a:srgbClr val="D6D9DC"/>
      </a:lt2>
      <a:accent1>
        <a:srgbClr val="6A757C"/>
      </a:accent1>
      <a:accent2>
        <a:srgbClr val="4368BD"/>
      </a:accent2>
      <a:accent3>
        <a:srgbClr val="54B9B1"/>
      </a:accent3>
      <a:accent4>
        <a:srgbClr val="FFA52F"/>
      </a:accent4>
      <a:accent5>
        <a:srgbClr val="D2335F"/>
      </a:accent5>
      <a:accent6>
        <a:srgbClr val="7B4DB3"/>
      </a:accent6>
      <a:hlink>
        <a:srgbClr val="EA5B0C"/>
      </a:hlink>
      <a:folHlink>
        <a:srgbClr val="6A757C"/>
      </a:folHlink>
    </a:clrScheme>
    <a:fontScheme name="GfK">
      <a:majorFont>
        <a:latin typeface="Lato Heavy"/>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GfK">
      <a:dk1>
        <a:srgbClr val="3B4145"/>
      </a:dk1>
      <a:lt1>
        <a:srgbClr val="FFFFFF"/>
      </a:lt1>
      <a:dk2>
        <a:srgbClr val="EA5B0C"/>
      </a:dk2>
      <a:lt2>
        <a:srgbClr val="D6D9DC"/>
      </a:lt2>
      <a:accent1>
        <a:srgbClr val="6A757C"/>
      </a:accent1>
      <a:accent2>
        <a:srgbClr val="4368BD"/>
      </a:accent2>
      <a:accent3>
        <a:srgbClr val="54B9B1"/>
      </a:accent3>
      <a:accent4>
        <a:srgbClr val="FFA52F"/>
      </a:accent4>
      <a:accent5>
        <a:srgbClr val="D2335F"/>
      </a:accent5>
      <a:accent6>
        <a:srgbClr val="7B4DB3"/>
      </a:accent6>
      <a:hlink>
        <a:srgbClr val="EA5B0C"/>
      </a:hlink>
      <a:folHlink>
        <a:srgbClr val="6A757C"/>
      </a:folHlink>
    </a:clrScheme>
    <a:fontScheme name="GfK">
      <a:majorFont>
        <a:latin typeface="Lato Heavy"/>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bb425f6-db08-450f-b491-c5ec981b08fc" xsi:nil="true"/>
  </documentManagement>
</p:properties>
</file>

<file path=customXml/item2.xml><?xml version="1.0" encoding="utf-8"?>
<TemplafySlideTemplateConfiguration><![CDATA[{"slideVersion":2,"isValidatorEnabled":false,"isLocked":false,"elementsMetadata":[],"slideId":"638266032347014493","enableDocumentContentUpdater":false,"version":"2.0"}]]></TemplafySlideTemplateConfiguration>
</file>

<file path=customXml/item3.xml><?xml version="1.0" encoding="utf-8"?>
<TemplafySlideFormConfiguration><![CDATA[{"formFields":[],"formDataEntries":[]}]]></TemplafySlideFormConfiguration>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ct:contentTypeSchema xmlns:ct="http://schemas.microsoft.com/office/2006/metadata/contentType" xmlns:ma="http://schemas.microsoft.com/office/2006/metadata/properties/metaAttributes" ct:_="" ma:_="" ma:contentTypeName="Document" ma:contentTypeID="0x010100B462AE89871B7C40BCF1E925C469A69D" ma:contentTypeVersion="15" ma:contentTypeDescription="Create a new document." ma:contentTypeScope="" ma:versionID="d636bc8e607bb978243a365c1fc139d0">
  <xsd:schema xmlns:xsd="http://www.w3.org/2001/XMLSchema" xmlns:xs="http://www.w3.org/2001/XMLSchema" xmlns:p="http://schemas.microsoft.com/office/2006/metadata/properties" xmlns:ns3="dbb425f6-db08-450f-b491-c5ec981b08fc" xmlns:ns4="5cf2a90e-0983-440e-ac14-8dd9128a9587" targetNamespace="http://schemas.microsoft.com/office/2006/metadata/properties" ma:root="true" ma:fieldsID="1293e23fd56017f5a176c9f26c4941b3" ns3:_="" ns4:_="">
    <xsd:import namespace="dbb425f6-db08-450f-b491-c5ec981b08fc"/>
    <xsd:import namespace="5cf2a90e-0983-440e-ac14-8dd9128a9587"/>
    <xsd:element name="properties">
      <xsd:complexType>
        <xsd:sequence>
          <xsd:element name="documentManagement">
            <xsd:complexType>
              <xsd:all>
                <xsd:element ref="ns3:_activity" minOccurs="0"/>
                <xsd:element ref="ns4:SharedWithUsers" minOccurs="0"/>
                <xsd:element ref="ns4:SharedWithDetails" minOccurs="0"/>
                <xsd:element ref="ns4:SharingHintHash" minOccurs="0"/>
                <xsd:element ref="ns3:MediaServiceMetadata" minOccurs="0"/>
                <xsd:element ref="ns3:MediaServiceFastMetadata" minOccurs="0"/>
                <xsd:element ref="ns3:MediaServiceObjectDetectorVersion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SystemTags" minOccurs="0"/>
                <xsd:element ref="ns3:MediaLengthInSecond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b425f6-db08-450f-b491-c5ec981b08fc" elementFormDefault="qualified">
    <xsd:import namespace="http://schemas.microsoft.com/office/2006/documentManagement/types"/>
    <xsd:import namespace="http://schemas.microsoft.com/office/infopath/2007/PartnerControls"/>
    <xsd:element name="_activity" ma:index="8" nillable="true" ma:displayName="_activity" ma:hidden="true" ma:internalName="_activity">
      <xsd:simpleType>
        <xsd:restriction base="dms:Note"/>
      </xsd:simple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SystemTags" ma:index="20" nillable="true" ma:displayName="MediaServiceSystemTags" ma:hidden="true" ma:internalName="MediaServiceSystemTags" ma:readOnly="true">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f2a90e-0983-440e-ac14-8dd9128a9587" elementFormDefault="qualified">
    <xsd:import namespace="http://schemas.microsoft.com/office/2006/documentManagement/types"/>
    <xsd:import namespace="http://schemas.microsoft.com/office/infopath/2007/PartnerControls"/>
    <xsd:element name="SharedWithUsers" ma:index="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SharingHintHash" ma:index="11"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21B1081-0ED2-4CEE-A996-FFB01E03219A}">
  <ds:schemaRefs>
    <ds:schemaRef ds:uri="http://schemas.microsoft.com/office/2006/documentManagement/types"/>
    <ds:schemaRef ds:uri="http://purl.org/dc/dcmitype/"/>
    <ds:schemaRef ds:uri="http://purl.org/dc/terms/"/>
    <ds:schemaRef ds:uri="http://schemas.openxmlformats.org/package/2006/metadata/core-properties"/>
    <ds:schemaRef ds:uri="http://schemas.microsoft.com/office/2006/metadata/properties"/>
    <ds:schemaRef ds:uri="http://www.w3.org/XML/1998/namespace"/>
    <ds:schemaRef ds:uri="http://schemas.microsoft.com/office/infopath/2007/PartnerControls"/>
    <ds:schemaRef ds:uri="http://purl.org/dc/elements/1.1/"/>
    <ds:schemaRef ds:uri="5cf2a90e-0983-440e-ac14-8dd9128a9587"/>
    <ds:schemaRef ds:uri="dbb425f6-db08-450f-b491-c5ec981b08fc"/>
  </ds:schemaRefs>
</ds:datastoreItem>
</file>

<file path=customXml/itemProps2.xml><?xml version="1.0" encoding="utf-8"?>
<ds:datastoreItem xmlns:ds="http://schemas.openxmlformats.org/officeDocument/2006/customXml" ds:itemID="{20FF570B-B088-4178-92C5-9DD645602796}">
  <ds:schemaRefs/>
</ds:datastoreItem>
</file>

<file path=customXml/itemProps3.xml><?xml version="1.0" encoding="utf-8"?>
<ds:datastoreItem xmlns:ds="http://schemas.openxmlformats.org/officeDocument/2006/customXml" ds:itemID="{7910F9AD-BDCD-4356-80FA-91D051D19E2B}">
  <ds:schemaRefs/>
</ds:datastoreItem>
</file>

<file path=customXml/itemProps4.xml><?xml version="1.0" encoding="utf-8"?>
<ds:datastoreItem xmlns:ds="http://schemas.openxmlformats.org/officeDocument/2006/customXml" ds:itemID="{1C74484B-0715-47A7-B4B5-EDB404F4B417}">
  <ds:schemaRefs>
    <ds:schemaRef ds:uri="http://schemas.microsoft.com/sharepoint/v3/contenttype/forms"/>
  </ds:schemaRefs>
</ds:datastoreItem>
</file>

<file path=customXml/itemProps5.xml><?xml version="1.0" encoding="utf-8"?>
<ds:datastoreItem xmlns:ds="http://schemas.openxmlformats.org/officeDocument/2006/customXml" ds:itemID="{2265418C-C351-4255-B8E3-DF766C7E4F77}">
  <ds:schemaRefs>
    <ds:schemaRef ds:uri="5cf2a90e-0983-440e-ac14-8dd9128a9587"/>
    <ds:schemaRef ds:uri="dbb425f6-db08-450f-b491-c5ec981b08f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Default Theme</Template>
  <TotalTime>1</TotalTime>
  <Words>3695</Words>
  <Application>Microsoft Office PowerPoint</Application>
  <PresentationFormat>Widescreen</PresentationFormat>
  <Paragraphs>486</Paragraphs>
  <Slides>36</Slides>
  <Notes>6</Notes>
  <HiddenSlides>0</HiddenSlides>
  <MMClips>0</MMClips>
  <ScaleCrop>false</ScaleCrop>
  <HeadingPairs>
    <vt:vector size="8" baseType="variant">
      <vt:variant>
        <vt:lpstr>Fonts Used</vt:lpstr>
      </vt:variant>
      <vt:variant>
        <vt:i4>15</vt:i4>
      </vt:variant>
      <vt:variant>
        <vt:lpstr>Theme</vt:lpstr>
      </vt:variant>
      <vt:variant>
        <vt:i4>7</vt:i4>
      </vt:variant>
      <vt:variant>
        <vt:lpstr>Embedded OLE Servers</vt:lpstr>
      </vt:variant>
      <vt:variant>
        <vt:i4>1</vt:i4>
      </vt:variant>
      <vt:variant>
        <vt:lpstr>Slide Titles</vt:lpstr>
      </vt:variant>
      <vt:variant>
        <vt:i4>36</vt:i4>
      </vt:variant>
    </vt:vector>
  </HeadingPairs>
  <TitlesOfParts>
    <vt:vector size="59" baseType="lpstr">
      <vt:lpstr>Aptos</vt:lpstr>
      <vt:lpstr>Arial</vt:lpstr>
      <vt:lpstr>Arial,Sans-Serif</vt:lpstr>
      <vt:lpstr>Calibri</vt:lpstr>
      <vt:lpstr>Cambria</vt:lpstr>
      <vt:lpstr>Georgia</vt:lpstr>
      <vt:lpstr>Lato</vt:lpstr>
      <vt:lpstr>Lato Light</vt:lpstr>
      <vt:lpstr>Lora</vt:lpstr>
      <vt:lpstr>Montserrat</vt:lpstr>
      <vt:lpstr>Montserrat Light</vt:lpstr>
      <vt:lpstr>Roboto</vt:lpstr>
      <vt:lpstr>System Font Regular</vt:lpstr>
      <vt:lpstr>Verdana Pro</vt:lpstr>
      <vt:lpstr>Wingdings</vt:lpstr>
      <vt:lpstr>Office Theme</vt:lpstr>
      <vt:lpstr>Custom Design</vt:lpstr>
      <vt:lpstr>1_3YP</vt:lpstr>
      <vt:lpstr>2_Content</vt:lpstr>
      <vt:lpstr>3_Content</vt:lpstr>
      <vt:lpstr>2_Office Theme</vt:lpstr>
      <vt:lpstr>Content</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kan, Deepanjali (GfK)</dc:creator>
  <cp:lastModifiedBy>Vigneshwararaj Sathianarayanan</cp:lastModifiedBy>
  <cp:revision>2</cp:revision>
  <dcterms:created xsi:type="dcterms:W3CDTF">2024-10-10T01:06:08Z</dcterms:created>
  <dcterms:modified xsi:type="dcterms:W3CDTF">2024-11-18T11:33: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462AE89871B7C40BCF1E925C469A69D</vt:lpwstr>
  </property>
  <property fmtid="{D5CDD505-2E9C-101B-9397-08002B2CF9AE}" pid="3" name="MediaServiceImageTags">
    <vt:lpwstr/>
  </property>
</Properties>
</file>